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76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66.xml" ContentType="application/vnd.openxmlformats-officedocument.presentationml.tags+xml"/>
  <Override PartName="/ppt/notesSlides/notesSlide76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331" r:id="rId7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76.xml" Id="rId79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80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76.xml.rels>&#65279;<?xml version="1.0" encoding="utf-8"?><Relationships xmlns="http://schemas.openxmlformats.org/package/2006/relationships"><Relationship Type="http://schemas.openxmlformats.org/officeDocument/2006/relationships/slide" Target="/ppt/slides/slide76.xml" Id="rId2" /><Relationship Type="http://schemas.openxmlformats.org/officeDocument/2006/relationships/notesMaster" Target="/ppt/notesMasters/notesMaster1.xml" Id="rId1" /></Relationship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160156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76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66.xml" Id="rId2" /><Relationship Type="http://schemas.openxmlformats.org/officeDocument/2006/relationships/vmlDrawing" Target="/ppt/drawings/vmlDrawing80.vml" Id="rId1" /><Relationship Type="http://schemas.openxmlformats.org/officeDocument/2006/relationships/image" Target="/ppt/media/image92.emf" Id="rId6" /><Relationship Type="http://schemas.openxmlformats.org/officeDocument/2006/relationships/oleObject" Target="/ppt/embeddings/oleObject80.bin" Id="rId5" /><Relationship Type="http://schemas.openxmlformats.org/officeDocument/2006/relationships/notesSlide" Target="/ppt/notesSlides/notesSlide76.xml" Id="rId4" /></Relationships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B5D0488-5B54-E06F-C149-4CEB9F8465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800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9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5D0488-5B54-E06F-C149-4CEB9F8465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4263746" y="1160823"/>
            <a:ext cx="3664259" cy="4907254"/>
            <a:chOff x="3366645" y="2581680"/>
            <a:chExt cx="7359460" cy="9852739"/>
          </a:xfrm>
          <a:solidFill>
            <a:schemeClr val="bg2"/>
          </a:solidFill>
        </p:grpSpPr>
        <p:sp>
          <p:nvSpPr>
            <p:cNvPr id="6" name="Freeform 5"/>
            <p:cNvSpPr>
              <a:spLocks noChangeArrowheads="1"/>
            </p:cNvSpPr>
            <p:nvPr/>
          </p:nvSpPr>
          <p:spPr bwMode="auto">
            <a:xfrm>
              <a:off x="7853453" y="3772691"/>
              <a:ext cx="1824" cy="182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" name="Freeform 6"/>
            <p:cNvSpPr>
              <a:spLocks noChangeArrowheads="1"/>
            </p:cNvSpPr>
            <p:nvPr/>
          </p:nvSpPr>
          <p:spPr bwMode="auto">
            <a:xfrm>
              <a:off x="7853453" y="3772691"/>
              <a:ext cx="3648" cy="5471"/>
            </a:xfrm>
            <a:custGeom>
              <a:avLst/>
              <a:gdLst>
                <a:gd name="T0" fmla="*/ 0 w 9"/>
                <a:gd name="T1" fmla="*/ 0 h 16"/>
                <a:gd name="T2" fmla="*/ 0 w 9"/>
                <a:gd name="T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6">
                  <a:moveTo>
                    <a:pt x="0" y="0"/>
                  </a:moveTo>
                  <a:cubicBezTo>
                    <a:pt x="0" y="0"/>
                    <a:pt x="8" y="15"/>
                    <a:pt x="0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" name="Freeform 7"/>
            <p:cNvSpPr>
              <a:spLocks noChangeArrowheads="1"/>
            </p:cNvSpPr>
            <p:nvPr/>
          </p:nvSpPr>
          <p:spPr bwMode="auto">
            <a:xfrm>
              <a:off x="7851630" y="3754452"/>
              <a:ext cx="3648" cy="18239"/>
            </a:xfrm>
            <a:custGeom>
              <a:avLst/>
              <a:gdLst>
                <a:gd name="T0" fmla="*/ 7 w 8"/>
                <a:gd name="T1" fmla="*/ 44 h 45"/>
                <a:gd name="T2" fmla="*/ 7 w 8"/>
                <a:gd name="T3" fmla="*/ 44 h 45"/>
                <a:gd name="T4" fmla="*/ 7 w 8"/>
                <a:gd name="T5" fmla="*/ 22 h 45"/>
                <a:gd name="T6" fmla="*/ 0 w 8"/>
                <a:gd name="T7" fmla="*/ 0 h 45"/>
                <a:gd name="T8" fmla="*/ 7 w 8"/>
                <a:gd name="T9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5">
                  <a:moveTo>
                    <a:pt x="7" y="44"/>
                  </a:moveTo>
                  <a:lnTo>
                    <a:pt x="7" y="44"/>
                  </a:lnTo>
                  <a:cubicBezTo>
                    <a:pt x="7" y="37"/>
                    <a:pt x="7" y="30"/>
                    <a:pt x="7" y="22"/>
                  </a:cubicBezTo>
                  <a:cubicBezTo>
                    <a:pt x="7" y="8"/>
                    <a:pt x="0" y="0"/>
                    <a:pt x="0" y="0"/>
                  </a:cubicBezTo>
                  <a:cubicBezTo>
                    <a:pt x="0" y="0"/>
                    <a:pt x="7" y="22"/>
                    <a:pt x="7" y="4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" name="Freeform 11"/>
            <p:cNvSpPr>
              <a:spLocks noChangeArrowheads="1"/>
            </p:cNvSpPr>
            <p:nvPr/>
          </p:nvSpPr>
          <p:spPr bwMode="auto">
            <a:xfrm>
              <a:off x="3693125" y="9424974"/>
              <a:ext cx="871827" cy="673022"/>
            </a:xfrm>
            <a:custGeom>
              <a:avLst/>
              <a:gdLst>
                <a:gd name="T0" fmla="*/ 2169 w 2266"/>
                <a:gd name="T1" fmla="*/ 923 h 1767"/>
                <a:gd name="T2" fmla="*/ 2169 w 2266"/>
                <a:gd name="T3" fmla="*/ 923 h 1767"/>
                <a:gd name="T4" fmla="*/ 2045 w 2266"/>
                <a:gd name="T5" fmla="*/ 842 h 1767"/>
                <a:gd name="T6" fmla="*/ 1971 w 2266"/>
                <a:gd name="T7" fmla="*/ 725 h 1767"/>
                <a:gd name="T8" fmla="*/ 2023 w 2266"/>
                <a:gd name="T9" fmla="*/ 622 h 1767"/>
                <a:gd name="T10" fmla="*/ 2008 w 2266"/>
                <a:gd name="T11" fmla="*/ 461 h 1767"/>
                <a:gd name="T12" fmla="*/ 2037 w 2266"/>
                <a:gd name="T13" fmla="*/ 337 h 1767"/>
                <a:gd name="T14" fmla="*/ 1935 w 2266"/>
                <a:gd name="T15" fmla="*/ 263 h 1767"/>
                <a:gd name="T16" fmla="*/ 1796 w 2266"/>
                <a:gd name="T17" fmla="*/ 205 h 1767"/>
                <a:gd name="T18" fmla="*/ 1715 w 2266"/>
                <a:gd name="T19" fmla="*/ 183 h 1767"/>
                <a:gd name="T20" fmla="*/ 1583 w 2266"/>
                <a:gd name="T21" fmla="*/ 110 h 1767"/>
                <a:gd name="T22" fmla="*/ 1459 w 2266"/>
                <a:gd name="T23" fmla="*/ 14 h 1767"/>
                <a:gd name="T24" fmla="*/ 1231 w 2266"/>
                <a:gd name="T25" fmla="*/ 66 h 1767"/>
                <a:gd name="T26" fmla="*/ 1034 w 2266"/>
                <a:gd name="T27" fmla="*/ 161 h 1767"/>
                <a:gd name="T28" fmla="*/ 880 w 2266"/>
                <a:gd name="T29" fmla="*/ 241 h 1767"/>
                <a:gd name="T30" fmla="*/ 755 w 2266"/>
                <a:gd name="T31" fmla="*/ 300 h 1767"/>
                <a:gd name="T32" fmla="*/ 609 w 2266"/>
                <a:gd name="T33" fmla="*/ 315 h 1767"/>
                <a:gd name="T34" fmla="*/ 499 w 2266"/>
                <a:gd name="T35" fmla="*/ 373 h 1767"/>
                <a:gd name="T36" fmla="*/ 389 w 2266"/>
                <a:gd name="T37" fmla="*/ 329 h 1767"/>
                <a:gd name="T38" fmla="*/ 132 w 2266"/>
                <a:gd name="T39" fmla="*/ 278 h 1767"/>
                <a:gd name="T40" fmla="*/ 8 w 2266"/>
                <a:gd name="T41" fmla="*/ 300 h 1767"/>
                <a:gd name="T42" fmla="*/ 8 w 2266"/>
                <a:gd name="T43" fmla="*/ 366 h 1767"/>
                <a:gd name="T44" fmla="*/ 132 w 2266"/>
                <a:gd name="T45" fmla="*/ 535 h 1767"/>
                <a:gd name="T46" fmla="*/ 279 w 2266"/>
                <a:gd name="T47" fmla="*/ 586 h 1767"/>
                <a:gd name="T48" fmla="*/ 418 w 2266"/>
                <a:gd name="T49" fmla="*/ 710 h 1767"/>
                <a:gd name="T50" fmla="*/ 469 w 2266"/>
                <a:gd name="T51" fmla="*/ 842 h 1767"/>
                <a:gd name="T52" fmla="*/ 469 w 2266"/>
                <a:gd name="T53" fmla="*/ 908 h 1767"/>
                <a:gd name="T54" fmla="*/ 521 w 2266"/>
                <a:gd name="T55" fmla="*/ 1040 h 1767"/>
                <a:gd name="T56" fmla="*/ 675 w 2266"/>
                <a:gd name="T57" fmla="*/ 1245 h 1767"/>
                <a:gd name="T58" fmla="*/ 770 w 2266"/>
                <a:gd name="T59" fmla="*/ 1370 h 1767"/>
                <a:gd name="T60" fmla="*/ 755 w 2266"/>
                <a:gd name="T61" fmla="*/ 1465 h 1767"/>
                <a:gd name="T62" fmla="*/ 858 w 2266"/>
                <a:gd name="T63" fmla="*/ 1568 h 1767"/>
                <a:gd name="T64" fmla="*/ 968 w 2266"/>
                <a:gd name="T65" fmla="*/ 1619 h 1767"/>
                <a:gd name="T66" fmla="*/ 1063 w 2266"/>
                <a:gd name="T67" fmla="*/ 1495 h 1767"/>
                <a:gd name="T68" fmla="*/ 1041 w 2266"/>
                <a:gd name="T69" fmla="*/ 1392 h 1767"/>
                <a:gd name="T70" fmla="*/ 1231 w 2266"/>
                <a:gd name="T71" fmla="*/ 1385 h 1767"/>
                <a:gd name="T72" fmla="*/ 1400 w 2266"/>
                <a:gd name="T73" fmla="*/ 1472 h 1767"/>
                <a:gd name="T74" fmla="*/ 1459 w 2266"/>
                <a:gd name="T75" fmla="*/ 1656 h 1767"/>
                <a:gd name="T76" fmla="*/ 1561 w 2266"/>
                <a:gd name="T77" fmla="*/ 1663 h 1767"/>
                <a:gd name="T78" fmla="*/ 1664 w 2266"/>
                <a:gd name="T79" fmla="*/ 1663 h 1767"/>
                <a:gd name="T80" fmla="*/ 1913 w 2266"/>
                <a:gd name="T81" fmla="*/ 1736 h 1767"/>
                <a:gd name="T82" fmla="*/ 2037 w 2266"/>
                <a:gd name="T83" fmla="*/ 1714 h 1767"/>
                <a:gd name="T84" fmla="*/ 2125 w 2266"/>
                <a:gd name="T85" fmla="*/ 1619 h 1767"/>
                <a:gd name="T86" fmla="*/ 2111 w 2266"/>
                <a:gd name="T87" fmla="*/ 1538 h 1767"/>
                <a:gd name="T88" fmla="*/ 2008 w 2266"/>
                <a:gd name="T89" fmla="*/ 1436 h 1767"/>
                <a:gd name="T90" fmla="*/ 2037 w 2266"/>
                <a:gd name="T91" fmla="*/ 1311 h 1767"/>
                <a:gd name="T92" fmla="*/ 2133 w 2266"/>
                <a:gd name="T93" fmla="*/ 1209 h 1767"/>
                <a:gd name="T94" fmla="*/ 2206 w 2266"/>
                <a:gd name="T95" fmla="*/ 1165 h 1767"/>
                <a:gd name="T96" fmla="*/ 2257 w 2266"/>
                <a:gd name="T97" fmla="*/ 1003 h 1767"/>
                <a:gd name="T98" fmla="*/ 2169 w 2266"/>
                <a:gd name="T99" fmla="*/ 923 h 1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66" h="1767">
                  <a:moveTo>
                    <a:pt x="2169" y="923"/>
                  </a:moveTo>
                  <a:lnTo>
                    <a:pt x="2169" y="923"/>
                  </a:lnTo>
                  <a:cubicBezTo>
                    <a:pt x="2111" y="930"/>
                    <a:pt x="2052" y="872"/>
                    <a:pt x="2045" y="842"/>
                  </a:cubicBezTo>
                  <a:cubicBezTo>
                    <a:pt x="2037" y="820"/>
                    <a:pt x="2023" y="776"/>
                    <a:pt x="1971" y="725"/>
                  </a:cubicBezTo>
                  <a:cubicBezTo>
                    <a:pt x="1920" y="674"/>
                    <a:pt x="1949" y="652"/>
                    <a:pt x="2023" y="622"/>
                  </a:cubicBezTo>
                  <a:cubicBezTo>
                    <a:pt x="2089" y="600"/>
                    <a:pt x="1994" y="512"/>
                    <a:pt x="2008" y="461"/>
                  </a:cubicBezTo>
                  <a:cubicBezTo>
                    <a:pt x="2030" y="410"/>
                    <a:pt x="2045" y="373"/>
                    <a:pt x="2037" y="337"/>
                  </a:cubicBezTo>
                  <a:cubicBezTo>
                    <a:pt x="2030" y="293"/>
                    <a:pt x="1971" y="249"/>
                    <a:pt x="1935" y="263"/>
                  </a:cubicBezTo>
                  <a:cubicBezTo>
                    <a:pt x="1898" y="286"/>
                    <a:pt x="1832" y="256"/>
                    <a:pt x="1796" y="205"/>
                  </a:cubicBezTo>
                  <a:cubicBezTo>
                    <a:pt x="1766" y="153"/>
                    <a:pt x="1744" y="131"/>
                    <a:pt x="1715" y="183"/>
                  </a:cubicBezTo>
                  <a:cubicBezTo>
                    <a:pt x="1678" y="234"/>
                    <a:pt x="1627" y="139"/>
                    <a:pt x="1583" y="110"/>
                  </a:cubicBezTo>
                  <a:cubicBezTo>
                    <a:pt x="1547" y="88"/>
                    <a:pt x="1510" y="22"/>
                    <a:pt x="1459" y="14"/>
                  </a:cubicBezTo>
                  <a:cubicBezTo>
                    <a:pt x="1407" y="0"/>
                    <a:pt x="1312" y="22"/>
                    <a:pt x="1231" y="66"/>
                  </a:cubicBezTo>
                  <a:cubicBezTo>
                    <a:pt x="1144" y="102"/>
                    <a:pt x="1092" y="131"/>
                    <a:pt x="1034" y="161"/>
                  </a:cubicBezTo>
                  <a:cubicBezTo>
                    <a:pt x="975" y="198"/>
                    <a:pt x="924" y="234"/>
                    <a:pt x="880" y="241"/>
                  </a:cubicBezTo>
                  <a:cubicBezTo>
                    <a:pt x="836" y="249"/>
                    <a:pt x="806" y="263"/>
                    <a:pt x="755" y="300"/>
                  </a:cubicBezTo>
                  <a:cubicBezTo>
                    <a:pt x="704" y="337"/>
                    <a:pt x="653" y="263"/>
                    <a:pt x="609" y="315"/>
                  </a:cubicBezTo>
                  <a:cubicBezTo>
                    <a:pt x="565" y="366"/>
                    <a:pt x="521" y="373"/>
                    <a:pt x="499" y="373"/>
                  </a:cubicBezTo>
                  <a:cubicBezTo>
                    <a:pt x="469" y="373"/>
                    <a:pt x="447" y="315"/>
                    <a:pt x="389" y="329"/>
                  </a:cubicBezTo>
                  <a:cubicBezTo>
                    <a:pt x="330" y="337"/>
                    <a:pt x="206" y="307"/>
                    <a:pt x="132" y="278"/>
                  </a:cubicBezTo>
                  <a:cubicBezTo>
                    <a:pt x="88" y="256"/>
                    <a:pt x="37" y="278"/>
                    <a:pt x="8" y="300"/>
                  </a:cubicBezTo>
                  <a:cubicBezTo>
                    <a:pt x="0" y="322"/>
                    <a:pt x="0" y="344"/>
                    <a:pt x="8" y="366"/>
                  </a:cubicBezTo>
                  <a:cubicBezTo>
                    <a:pt x="30" y="417"/>
                    <a:pt x="30" y="586"/>
                    <a:pt x="132" y="535"/>
                  </a:cubicBezTo>
                  <a:cubicBezTo>
                    <a:pt x="235" y="476"/>
                    <a:pt x="235" y="564"/>
                    <a:pt x="279" y="586"/>
                  </a:cubicBezTo>
                  <a:cubicBezTo>
                    <a:pt x="323" y="615"/>
                    <a:pt x="440" y="659"/>
                    <a:pt x="418" y="710"/>
                  </a:cubicBezTo>
                  <a:cubicBezTo>
                    <a:pt x="396" y="769"/>
                    <a:pt x="425" y="813"/>
                    <a:pt x="469" y="842"/>
                  </a:cubicBezTo>
                  <a:cubicBezTo>
                    <a:pt x="521" y="864"/>
                    <a:pt x="506" y="872"/>
                    <a:pt x="469" y="908"/>
                  </a:cubicBezTo>
                  <a:cubicBezTo>
                    <a:pt x="440" y="938"/>
                    <a:pt x="462" y="974"/>
                    <a:pt x="521" y="1040"/>
                  </a:cubicBezTo>
                  <a:cubicBezTo>
                    <a:pt x="572" y="1113"/>
                    <a:pt x="675" y="1179"/>
                    <a:pt x="675" y="1245"/>
                  </a:cubicBezTo>
                  <a:cubicBezTo>
                    <a:pt x="675" y="1311"/>
                    <a:pt x="711" y="1392"/>
                    <a:pt x="770" y="1370"/>
                  </a:cubicBezTo>
                  <a:cubicBezTo>
                    <a:pt x="821" y="1348"/>
                    <a:pt x="770" y="1392"/>
                    <a:pt x="755" y="1465"/>
                  </a:cubicBezTo>
                  <a:cubicBezTo>
                    <a:pt x="748" y="1531"/>
                    <a:pt x="777" y="1553"/>
                    <a:pt x="858" y="1568"/>
                  </a:cubicBezTo>
                  <a:cubicBezTo>
                    <a:pt x="938" y="1575"/>
                    <a:pt x="924" y="1619"/>
                    <a:pt x="968" y="1619"/>
                  </a:cubicBezTo>
                  <a:cubicBezTo>
                    <a:pt x="1019" y="1619"/>
                    <a:pt x="1070" y="1538"/>
                    <a:pt x="1063" y="1495"/>
                  </a:cubicBezTo>
                  <a:cubicBezTo>
                    <a:pt x="1048" y="1450"/>
                    <a:pt x="997" y="1407"/>
                    <a:pt x="1041" y="1392"/>
                  </a:cubicBezTo>
                  <a:cubicBezTo>
                    <a:pt x="1085" y="1385"/>
                    <a:pt x="1173" y="1348"/>
                    <a:pt x="1231" y="1385"/>
                  </a:cubicBezTo>
                  <a:cubicBezTo>
                    <a:pt x="1290" y="1414"/>
                    <a:pt x="1371" y="1392"/>
                    <a:pt x="1400" y="1472"/>
                  </a:cubicBezTo>
                  <a:cubicBezTo>
                    <a:pt x="1437" y="1553"/>
                    <a:pt x="1437" y="1590"/>
                    <a:pt x="1459" y="1656"/>
                  </a:cubicBezTo>
                  <a:cubicBezTo>
                    <a:pt x="1480" y="1722"/>
                    <a:pt x="1561" y="1722"/>
                    <a:pt x="1561" y="1663"/>
                  </a:cubicBezTo>
                  <a:cubicBezTo>
                    <a:pt x="1561" y="1612"/>
                    <a:pt x="1605" y="1619"/>
                    <a:pt x="1664" y="1663"/>
                  </a:cubicBezTo>
                  <a:cubicBezTo>
                    <a:pt x="1722" y="1714"/>
                    <a:pt x="1854" y="1766"/>
                    <a:pt x="1913" y="1736"/>
                  </a:cubicBezTo>
                  <a:cubicBezTo>
                    <a:pt x="1971" y="1700"/>
                    <a:pt x="1979" y="1766"/>
                    <a:pt x="2037" y="1714"/>
                  </a:cubicBezTo>
                  <a:cubicBezTo>
                    <a:pt x="2067" y="1678"/>
                    <a:pt x="2103" y="1641"/>
                    <a:pt x="2125" y="1619"/>
                  </a:cubicBezTo>
                  <a:cubicBezTo>
                    <a:pt x="2118" y="1582"/>
                    <a:pt x="2118" y="1560"/>
                    <a:pt x="2111" y="1538"/>
                  </a:cubicBezTo>
                  <a:cubicBezTo>
                    <a:pt x="2103" y="1502"/>
                    <a:pt x="2052" y="1487"/>
                    <a:pt x="2008" y="1436"/>
                  </a:cubicBezTo>
                  <a:cubicBezTo>
                    <a:pt x="1971" y="1392"/>
                    <a:pt x="1994" y="1370"/>
                    <a:pt x="2037" y="1311"/>
                  </a:cubicBezTo>
                  <a:cubicBezTo>
                    <a:pt x="2081" y="1253"/>
                    <a:pt x="2089" y="1245"/>
                    <a:pt x="2133" y="1209"/>
                  </a:cubicBezTo>
                  <a:cubicBezTo>
                    <a:pt x="2169" y="1179"/>
                    <a:pt x="2169" y="1201"/>
                    <a:pt x="2206" y="1165"/>
                  </a:cubicBezTo>
                  <a:cubicBezTo>
                    <a:pt x="2243" y="1136"/>
                    <a:pt x="2250" y="1055"/>
                    <a:pt x="2257" y="1003"/>
                  </a:cubicBezTo>
                  <a:cubicBezTo>
                    <a:pt x="2265" y="952"/>
                    <a:pt x="2235" y="916"/>
                    <a:pt x="2169" y="9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" name="Freeform 12"/>
            <p:cNvSpPr>
              <a:spLocks noChangeArrowheads="1"/>
            </p:cNvSpPr>
            <p:nvPr/>
          </p:nvSpPr>
          <p:spPr bwMode="auto">
            <a:xfrm>
              <a:off x="4595957" y="9242584"/>
              <a:ext cx="2558940" cy="2910954"/>
            </a:xfrm>
            <a:custGeom>
              <a:avLst/>
              <a:gdLst>
                <a:gd name="T0" fmla="*/ 3824 w 6660"/>
                <a:gd name="T1" fmla="*/ 7181 h 7659"/>
                <a:gd name="T2" fmla="*/ 3055 w 6660"/>
                <a:gd name="T3" fmla="*/ 7079 h 7659"/>
                <a:gd name="T4" fmla="*/ 2916 w 6660"/>
                <a:gd name="T5" fmla="*/ 7064 h 7659"/>
                <a:gd name="T6" fmla="*/ 2637 w 6660"/>
                <a:gd name="T7" fmla="*/ 6932 h 7659"/>
                <a:gd name="T8" fmla="*/ 2506 w 6660"/>
                <a:gd name="T9" fmla="*/ 6727 h 7659"/>
                <a:gd name="T10" fmla="*/ 2125 w 6660"/>
                <a:gd name="T11" fmla="*/ 6896 h 7659"/>
                <a:gd name="T12" fmla="*/ 2403 w 6660"/>
                <a:gd name="T13" fmla="*/ 7013 h 7659"/>
                <a:gd name="T14" fmla="*/ 2403 w 6660"/>
                <a:gd name="T15" fmla="*/ 7306 h 7659"/>
                <a:gd name="T16" fmla="*/ 2146 w 6660"/>
                <a:gd name="T17" fmla="*/ 7394 h 7659"/>
                <a:gd name="T18" fmla="*/ 930 w 6660"/>
                <a:gd name="T19" fmla="*/ 7475 h 7659"/>
                <a:gd name="T20" fmla="*/ 344 w 6660"/>
                <a:gd name="T21" fmla="*/ 7467 h 7659"/>
                <a:gd name="T22" fmla="*/ 263 w 6660"/>
                <a:gd name="T23" fmla="*/ 7379 h 7659"/>
                <a:gd name="T24" fmla="*/ 80 w 6660"/>
                <a:gd name="T25" fmla="*/ 6786 h 7659"/>
                <a:gd name="T26" fmla="*/ 271 w 6660"/>
                <a:gd name="T27" fmla="*/ 5994 h 7659"/>
                <a:gd name="T28" fmla="*/ 366 w 6660"/>
                <a:gd name="T29" fmla="*/ 5203 h 7659"/>
                <a:gd name="T30" fmla="*/ 593 w 6660"/>
                <a:gd name="T31" fmla="*/ 4448 h 7659"/>
                <a:gd name="T32" fmla="*/ 1157 w 6660"/>
                <a:gd name="T33" fmla="*/ 3415 h 7659"/>
                <a:gd name="T34" fmla="*/ 1604 w 6660"/>
                <a:gd name="T35" fmla="*/ 2777 h 7659"/>
                <a:gd name="T36" fmla="*/ 1963 w 6660"/>
                <a:gd name="T37" fmla="*/ 2184 h 7659"/>
                <a:gd name="T38" fmla="*/ 2205 w 6660"/>
                <a:gd name="T39" fmla="*/ 1664 h 7659"/>
                <a:gd name="T40" fmla="*/ 2271 w 6660"/>
                <a:gd name="T41" fmla="*/ 1217 h 7659"/>
                <a:gd name="T42" fmla="*/ 2103 w 6660"/>
                <a:gd name="T43" fmla="*/ 704 h 7659"/>
                <a:gd name="T44" fmla="*/ 2183 w 6660"/>
                <a:gd name="T45" fmla="*/ 667 h 7659"/>
                <a:gd name="T46" fmla="*/ 2506 w 6660"/>
                <a:gd name="T47" fmla="*/ 616 h 7659"/>
                <a:gd name="T48" fmla="*/ 2975 w 6660"/>
                <a:gd name="T49" fmla="*/ 880 h 7659"/>
                <a:gd name="T50" fmla="*/ 3055 w 6660"/>
                <a:gd name="T51" fmla="*/ 1092 h 7659"/>
                <a:gd name="T52" fmla="*/ 3187 w 6660"/>
                <a:gd name="T53" fmla="*/ 1165 h 7659"/>
                <a:gd name="T54" fmla="*/ 3444 w 6660"/>
                <a:gd name="T55" fmla="*/ 953 h 7659"/>
                <a:gd name="T56" fmla="*/ 3583 w 6660"/>
                <a:gd name="T57" fmla="*/ 748 h 7659"/>
                <a:gd name="T58" fmla="*/ 3766 w 6660"/>
                <a:gd name="T59" fmla="*/ 740 h 7659"/>
                <a:gd name="T60" fmla="*/ 4227 w 6660"/>
                <a:gd name="T61" fmla="*/ 447 h 7659"/>
                <a:gd name="T62" fmla="*/ 4081 w 6660"/>
                <a:gd name="T63" fmla="*/ 257 h 7659"/>
                <a:gd name="T64" fmla="*/ 4337 w 6660"/>
                <a:gd name="T65" fmla="*/ 66 h 7659"/>
                <a:gd name="T66" fmla="*/ 4506 w 6660"/>
                <a:gd name="T67" fmla="*/ 103 h 7659"/>
                <a:gd name="T68" fmla="*/ 4733 w 6660"/>
                <a:gd name="T69" fmla="*/ 8 h 7659"/>
                <a:gd name="T70" fmla="*/ 4909 w 6660"/>
                <a:gd name="T71" fmla="*/ 308 h 7659"/>
                <a:gd name="T72" fmla="*/ 5173 w 6660"/>
                <a:gd name="T73" fmla="*/ 403 h 7659"/>
                <a:gd name="T74" fmla="*/ 5187 w 6660"/>
                <a:gd name="T75" fmla="*/ 777 h 7659"/>
                <a:gd name="T76" fmla="*/ 5495 w 6660"/>
                <a:gd name="T77" fmla="*/ 997 h 7659"/>
                <a:gd name="T78" fmla="*/ 5774 w 6660"/>
                <a:gd name="T79" fmla="*/ 1070 h 7659"/>
                <a:gd name="T80" fmla="*/ 5876 w 6660"/>
                <a:gd name="T81" fmla="*/ 1341 h 7659"/>
                <a:gd name="T82" fmla="*/ 6111 w 6660"/>
                <a:gd name="T83" fmla="*/ 2155 h 7659"/>
                <a:gd name="T84" fmla="*/ 6162 w 6660"/>
                <a:gd name="T85" fmla="*/ 2477 h 7659"/>
                <a:gd name="T86" fmla="*/ 6505 w 6660"/>
                <a:gd name="T87" fmla="*/ 3488 h 7659"/>
                <a:gd name="T88" fmla="*/ 6513 w 6660"/>
                <a:gd name="T89" fmla="*/ 3730 h 7659"/>
                <a:gd name="T90" fmla="*/ 6140 w 6660"/>
                <a:gd name="T91" fmla="*/ 3730 h 7659"/>
                <a:gd name="T92" fmla="*/ 6265 w 6660"/>
                <a:gd name="T93" fmla="*/ 4214 h 7659"/>
                <a:gd name="T94" fmla="*/ 6162 w 6660"/>
                <a:gd name="T95" fmla="*/ 4316 h 7659"/>
                <a:gd name="T96" fmla="*/ 5810 w 6660"/>
                <a:gd name="T97" fmla="*/ 4390 h 7659"/>
                <a:gd name="T98" fmla="*/ 5759 w 6660"/>
                <a:gd name="T99" fmla="*/ 5013 h 7659"/>
                <a:gd name="T100" fmla="*/ 5803 w 6660"/>
                <a:gd name="T101" fmla="*/ 6053 h 7659"/>
                <a:gd name="T102" fmla="*/ 5876 w 6660"/>
                <a:gd name="T103" fmla="*/ 6595 h 7659"/>
                <a:gd name="T104" fmla="*/ 5781 w 6660"/>
                <a:gd name="T105" fmla="*/ 7079 h 7659"/>
                <a:gd name="T106" fmla="*/ 5202 w 6660"/>
                <a:gd name="T107" fmla="*/ 7152 h 7659"/>
                <a:gd name="T108" fmla="*/ 4806 w 6660"/>
                <a:gd name="T109" fmla="*/ 7394 h 7659"/>
                <a:gd name="T110" fmla="*/ 4982 w 6660"/>
                <a:gd name="T111" fmla="*/ 7599 h 7659"/>
                <a:gd name="T112" fmla="*/ 4462 w 6660"/>
                <a:gd name="T113" fmla="*/ 7658 h 7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660" h="7659">
                  <a:moveTo>
                    <a:pt x="4462" y="7658"/>
                  </a:moveTo>
                  <a:lnTo>
                    <a:pt x="4462" y="7658"/>
                  </a:lnTo>
                  <a:cubicBezTo>
                    <a:pt x="4455" y="7658"/>
                    <a:pt x="4440" y="7658"/>
                    <a:pt x="4433" y="7658"/>
                  </a:cubicBezTo>
                  <a:cubicBezTo>
                    <a:pt x="4367" y="7650"/>
                    <a:pt x="4301" y="7548"/>
                    <a:pt x="4213" y="7350"/>
                  </a:cubicBezTo>
                  <a:cubicBezTo>
                    <a:pt x="4191" y="7306"/>
                    <a:pt x="4037" y="7255"/>
                    <a:pt x="3934" y="7218"/>
                  </a:cubicBezTo>
                  <a:cubicBezTo>
                    <a:pt x="3883" y="7203"/>
                    <a:pt x="3846" y="7189"/>
                    <a:pt x="3824" y="7181"/>
                  </a:cubicBezTo>
                  <a:cubicBezTo>
                    <a:pt x="3766" y="7145"/>
                    <a:pt x="3619" y="7086"/>
                    <a:pt x="3509" y="7064"/>
                  </a:cubicBezTo>
                  <a:cubicBezTo>
                    <a:pt x="3495" y="7064"/>
                    <a:pt x="3473" y="7057"/>
                    <a:pt x="3451" y="7057"/>
                  </a:cubicBezTo>
                  <a:cubicBezTo>
                    <a:pt x="3377" y="7057"/>
                    <a:pt x="3304" y="7086"/>
                    <a:pt x="3231" y="7130"/>
                  </a:cubicBezTo>
                  <a:cubicBezTo>
                    <a:pt x="3194" y="7152"/>
                    <a:pt x="3165" y="7167"/>
                    <a:pt x="3136" y="7167"/>
                  </a:cubicBezTo>
                  <a:cubicBezTo>
                    <a:pt x="3106" y="7167"/>
                    <a:pt x="3084" y="7152"/>
                    <a:pt x="3070" y="7137"/>
                  </a:cubicBezTo>
                  <a:cubicBezTo>
                    <a:pt x="3055" y="7123"/>
                    <a:pt x="3055" y="7101"/>
                    <a:pt x="3055" y="7079"/>
                  </a:cubicBezTo>
                  <a:cubicBezTo>
                    <a:pt x="3070" y="7027"/>
                    <a:pt x="3055" y="6991"/>
                    <a:pt x="2975" y="6940"/>
                  </a:cubicBezTo>
                  <a:cubicBezTo>
                    <a:pt x="2938" y="6918"/>
                    <a:pt x="2916" y="6910"/>
                    <a:pt x="2908" y="6910"/>
                  </a:cubicBezTo>
                  <a:cubicBezTo>
                    <a:pt x="2901" y="6910"/>
                    <a:pt x="2901" y="6910"/>
                    <a:pt x="2901" y="6910"/>
                  </a:cubicBezTo>
                  <a:cubicBezTo>
                    <a:pt x="2894" y="6918"/>
                    <a:pt x="2901" y="6925"/>
                    <a:pt x="2916" y="6940"/>
                  </a:cubicBezTo>
                  <a:cubicBezTo>
                    <a:pt x="2945" y="6969"/>
                    <a:pt x="2960" y="7013"/>
                    <a:pt x="2953" y="7042"/>
                  </a:cubicBezTo>
                  <a:cubicBezTo>
                    <a:pt x="2945" y="7057"/>
                    <a:pt x="2930" y="7064"/>
                    <a:pt x="2916" y="7064"/>
                  </a:cubicBezTo>
                  <a:cubicBezTo>
                    <a:pt x="2894" y="7064"/>
                    <a:pt x="2879" y="7057"/>
                    <a:pt x="2857" y="7042"/>
                  </a:cubicBezTo>
                  <a:cubicBezTo>
                    <a:pt x="2843" y="7035"/>
                    <a:pt x="2821" y="7020"/>
                    <a:pt x="2799" y="7020"/>
                  </a:cubicBezTo>
                  <a:cubicBezTo>
                    <a:pt x="2799" y="7020"/>
                    <a:pt x="2799" y="7020"/>
                    <a:pt x="2791" y="7020"/>
                  </a:cubicBezTo>
                  <a:cubicBezTo>
                    <a:pt x="2784" y="7027"/>
                    <a:pt x="2769" y="7027"/>
                    <a:pt x="2755" y="7027"/>
                  </a:cubicBezTo>
                  <a:cubicBezTo>
                    <a:pt x="2733" y="7027"/>
                    <a:pt x="2674" y="7020"/>
                    <a:pt x="2645" y="6984"/>
                  </a:cubicBezTo>
                  <a:cubicBezTo>
                    <a:pt x="2637" y="6976"/>
                    <a:pt x="2630" y="6962"/>
                    <a:pt x="2637" y="6932"/>
                  </a:cubicBezTo>
                  <a:cubicBezTo>
                    <a:pt x="2652" y="6888"/>
                    <a:pt x="2689" y="6874"/>
                    <a:pt x="2718" y="6859"/>
                  </a:cubicBezTo>
                  <a:cubicBezTo>
                    <a:pt x="2740" y="6844"/>
                    <a:pt x="2769" y="6837"/>
                    <a:pt x="2791" y="6808"/>
                  </a:cubicBezTo>
                  <a:cubicBezTo>
                    <a:pt x="2791" y="6800"/>
                    <a:pt x="2791" y="6793"/>
                    <a:pt x="2791" y="6793"/>
                  </a:cubicBezTo>
                  <a:cubicBezTo>
                    <a:pt x="2777" y="6756"/>
                    <a:pt x="2689" y="6713"/>
                    <a:pt x="2623" y="6690"/>
                  </a:cubicBezTo>
                  <a:cubicBezTo>
                    <a:pt x="2615" y="6742"/>
                    <a:pt x="2579" y="6778"/>
                    <a:pt x="2549" y="6778"/>
                  </a:cubicBezTo>
                  <a:cubicBezTo>
                    <a:pt x="2542" y="6778"/>
                    <a:pt x="2513" y="6778"/>
                    <a:pt x="2506" y="6727"/>
                  </a:cubicBezTo>
                  <a:cubicBezTo>
                    <a:pt x="2498" y="6698"/>
                    <a:pt x="2484" y="6661"/>
                    <a:pt x="2454" y="6661"/>
                  </a:cubicBezTo>
                  <a:cubicBezTo>
                    <a:pt x="2439" y="6661"/>
                    <a:pt x="2417" y="6668"/>
                    <a:pt x="2403" y="6676"/>
                  </a:cubicBezTo>
                  <a:cubicBezTo>
                    <a:pt x="2366" y="6698"/>
                    <a:pt x="2322" y="6713"/>
                    <a:pt x="2286" y="6720"/>
                  </a:cubicBezTo>
                  <a:cubicBezTo>
                    <a:pt x="2242" y="6727"/>
                    <a:pt x="2205" y="6734"/>
                    <a:pt x="2205" y="6749"/>
                  </a:cubicBezTo>
                  <a:cubicBezTo>
                    <a:pt x="2198" y="6756"/>
                    <a:pt x="2198" y="6764"/>
                    <a:pt x="2198" y="6778"/>
                  </a:cubicBezTo>
                  <a:cubicBezTo>
                    <a:pt x="2190" y="6822"/>
                    <a:pt x="2183" y="6874"/>
                    <a:pt x="2125" y="6896"/>
                  </a:cubicBezTo>
                  <a:cubicBezTo>
                    <a:pt x="2103" y="6903"/>
                    <a:pt x="2088" y="6932"/>
                    <a:pt x="2080" y="6962"/>
                  </a:cubicBezTo>
                  <a:cubicBezTo>
                    <a:pt x="2066" y="7006"/>
                    <a:pt x="2073" y="7049"/>
                    <a:pt x="2095" y="7079"/>
                  </a:cubicBezTo>
                  <a:cubicBezTo>
                    <a:pt x="2132" y="7115"/>
                    <a:pt x="2168" y="7123"/>
                    <a:pt x="2198" y="7123"/>
                  </a:cubicBezTo>
                  <a:cubicBezTo>
                    <a:pt x="2234" y="7123"/>
                    <a:pt x="2271" y="7108"/>
                    <a:pt x="2293" y="7094"/>
                  </a:cubicBezTo>
                  <a:cubicBezTo>
                    <a:pt x="2308" y="7086"/>
                    <a:pt x="2315" y="7072"/>
                    <a:pt x="2330" y="7064"/>
                  </a:cubicBezTo>
                  <a:cubicBezTo>
                    <a:pt x="2344" y="7042"/>
                    <a:pt x="2359" y="7013"/>
                    <a:pt x="2403" y="7013"/>
                  </a:cubicBezTo>
                  <a:cubicBezTo>
                    <a:pt x="2425" y="7013"/>
                    <a:pt x="2447" y="7020"/>
                    <a:pt x="2476" y="7035"/>
                  </a:cubicBezTo>
                  <a:cubicBezTo>
                    <a:pt x="2520" y="7057"/>
                    <a:pt x="2542" y="7079"/>
                    <a:pt x="2549" y="7094"/>
                  </a:cubicBezTo>
                  <a:cubicBezTo>
                    <a:pt x="2557" y="7115"/>
                    <a:pt x="2542" y="7137"/>
                    <a:pt x="2535" y="7152"/>
                  </a:cubicBezTo>
                  <a:cubicBezTo>
                    <a:pt x="2520" y="7174"/>
                    <a:pt x="2513" y="7189"/>
                    <a:pt x="2513" y="7211"/>
                  </a:cubicBezTo>
                  <a:cubicBezTo>
                    <a:pt x="2498" y="7284"/>
                    <a:pt x="2447" y="7306"/>
                    <a:pt x="2417" y="7306"/>
                  </a:cubicBezTo>
                  <a:cubicBezTo>
                    <a:pt x="2403" y="7306"/>
                    <a:pt x="2403" y="7306"/>
                    <a:pt x="2403" y="7306"/>
                  </a:cubicBezTo>
                  <a:cubicBezTo>
                    <a:pt x="2403" y="7291"/>
                    <a:pt x="2403" y="7291"/>
                    <a:pt x="2403" y="7291"/>
                  </a:cubicBezTo>
                  <a:cubicBezTo>
                    <a:pt x="2396" y="7277"/>
                    <a:pt x="2352" y="7233"/>
                    <a:pt x="2286" y="7233"/>
                  </a:cubicBezTo>
                  <a:cubicBezTo>
                    <a:pt x="2264" y="7233"/>
                    <a:pt x="2249" y="7240"/>
                    <a:pt x="2227" y="7247"/>
                  </a:cubicBezTo>
                  <a:cubicBezTo>
                    <a:pt x="2139" y="7284"/>
                    <a:pt x="2154" y="7372"/>
                    <a:pt x="2161" y="7379"/>
                  </a:cubicBezTo>
                  <a:cubicBezTo>
                    <a:pt x="2161" y="7394"/>
                    <a:pt x="2161" y="7394"/>
                    <a:pt x="2161" y="7394"/>
                  </a:cubicBezTo>
                  <a:cubicBezTo>
                    <a:pt x="2146" y="7394"/>
                    <a:pt x="2146" y="7394"/>
                    <a:pt x="2146" y="7394"/>
                  </a:cubicBezTo>
                  <a:cubicBezTo>
                    <a:pt x="2073" y="7408"/>
                    <a:pt x="2015" y="7416"/>
                    <a:pt x="1971" y="7416"/>
                  </a:cubicBezTo>
                  <a:cubicBezTo>
                    <a:pt x="1861" y="7416"/>
                    <a:pt x="1795" y="7372"/>
                    <a:pt x="1758" y="7284"/>
                  </a:cubicBezTo>
                  <a:cubicBezTo>
                    <a:pt x="1744" y="7262"/>
                    <a:pt x="1722" y="7255"/>
                    <a:pt x="1685" y="7255"/>
                  </a:cubicBezTo>
                  <a:cubicBezTo>
                    <a:pt x="1589" y="7255"/>
                    <a:pt x="1436" y="7328"/>
                    <a:pt x="1370" y="7394"/>
                  </a:cubicBezTo>
                  <a:cubicBezTo>
                    <a:pt x="1289" y="7475"/>
                    <a:pt x="1055" y="7482"/>
                    <a:pt x="1011" y="7482"/>
                  </a:cubicBezTo>
                  <a:cubicBezTo>
                    <a:pt x="974" y="7482"/>
                    <a:pt x="937" y="7475"/>
                    <a:pt x="930" y="7475"/>
                  </a:cubicBezTo>
                  <a:cubicBezTo>
                    <a:pt x="894" y="7467"/>
                    <a:pt x="886" y="7431"/>
                    <a:pt x="879" y="7394"/>
                  </a:cubicBezTo>
                  <a:cubicBezTo>
                    <a:pt x="864" y="7357"/>
                    <a:pt x="857" y="7328"/>
                    <a:pt x="842" y="7328"/>
                  </a:cubicBezTo>
                  <a:cubicBezTo>
                    <a:pt x="806" y="7328"/>
                    <a:pt x="725" y="7379"/>
                    <a:pt x="652" y="7416"/>
                  </a:cubicBezTo>
                  <a:cubicBezTo>
                    <a:pt x="600" y="7445"/>
                    <a:pt x="549" y="7482"/>
                    <a:pt x="505" y="7496"/>
                  </a:cubicBezTo>
                  <a:cubicBezTo>
                    <a:pt x="483" y="7504"/>
                    <a:pt x="461" y="7511"/>
                    <a:pt x="432" y="7511"/>
                  </a:cubicBezTo>
                  <a:cubicBezTo>
                    <a:pt x="395" y="7511"/>
                    <a:pt x="358" y="7496"/>
                    <a:pt x="344" y="7467"/>
                  </a:cubicBezTo>
                  <a:cubicBezTo>
                    <a:pt x="329" y="7445"/>
                    <a:pt x="329" y="7423"/>
                    <a:pt x="337" y="7408"/>
                  </a:cubicBezTo>
                  <a:cubicBezTo>
                    <a:pt x="344" y="7387"/>
                    <a:pt x="358" y="7372"/>
                    <a:pt x="373" y="7357"/>
                  </a:cubicBezTo>
                  <a:cubicBezTo>
                    <a:pt x="395" y="7335"/>
                    <a:pt x="410" y="7306"/>
                    <a:pt x="403" y="7291"/>
                  </a:cubicBezTo>
                  <a:cubicBezTo>
                    <a:pt x="403" y="7284"/>
                    <a:pt x="403" y="7284"/>
                    <a:pt x="395" y="7284"/>
                  </a:cubicBezTo>
                  <a:cubicBezTo>
                    <a:pt x="395" y="7284"/>
                    <a:pt x="373" y="7284"/>
                    <a:pt x="344" y="7335"/>
                  </a:cubicBezTo>
                  <a:cubicBezTo>
                    <a:pt x="322" y="7365"/>
                    <a:pt x="293" y="7379"/>
                    <a:pt x="263" y="7379"/>
                  </a:cubicBezTo>
                  <a:cubicBezTo>
                    <a:pt x="227" y="7379"/>
                    <a:pt x="197" y="7350"/>
                    <a:pt x="190" y="7328"/>
                  </a:cubicBezTo>
                  <a:cubicBezTo>
                    <a:pt x="190" y="7321"/>
                    <a:pt x="183" y="7306"/>
                    <a:pt x="183" y="7291"/>
                  </a:cubicBezTo>
                  <a:cubicBezTo>
                    <a:pt x="183" y="7262"/>
                    <a:pt x="183" y="7211"/>
                    <a:pt x="117" y="7152"/>
                  </a:cubicBezTo>
                  <a:cubicBezTo>
                    <a:pt x="29" y="7079"/>
                    <a:pt x="0" y="6991"/>
                    <a:pt x="44" y="6910"/>
                  </a:cubicBezTo>
                  <a:cubicBezTo>
                    <a:pt x="51" y="6896"/>
                    <a:pt x="58" y="6881"/>
                    <a:pt x="65" y="6866"/>
                  </a:cubicBezTo>
                  <a:cubicBezTo>
                    <a:pt x="87" y="6830"/>
                    <a:pt x="95" y="6822"/>
                    <a:pt x="80" y="6786"/>
                  </a:cubicBezTo>
                  <a:cubicBezTo>
                    <a:pt x="51" y="6720"/>
                    <a:pt x="58" y="6654"/>
                    <a:pt x="102" y="6588"/>
                  </a:cubicBezTo>
                  <a:cubicBezTo>
                    <a:pt x="117" y="6566"/>
                    <a:pt x="117" y="6566"/>
                    <a:pt x="117" y="6566"/>
                  </a:cubicBezTo>
                  <a:cubicBezTo>
                    <a:pt x="146" y="6522"/>
                    <a:pt x="153" y="6515"/>
                    <a:pt x="132" y="6456"/>
                  </a:cubicBezTo>
                  <a:cubicBezTo>
                    <a:pt x="109" y="6383"/>
                    <a:pt x="161" y="6309"/>
                    <a:pt x="175" y="6287"/>
                  </a:cubicBezTo>
                  <a:cubicBezTo>
                    <a:pt x="168" y="6236"/>
                    <a:pt x="190" y="6170"/>
                    <a:pt x="241" y="6126"/>
                  </a:cubicBezTo>
                  <a:cubicBezTo>
                    <a:pt x="278" y="6082"/>
                    <a:pt x="293" y="6031"/>
                    <a:pt x="271" y="5994"/>
                  </a:cubicBezTo>
                  <a:cubicBezTo>
                    <a:pt x="263" y="5980"/>
                    <a:pt x="256" y="5972"/>
                    <a:pt x="249" y="5958"/>
                  </a:cubicBezTo>
                  <a:cubicBezTo>
                    <a:pt x="219" y="5906"/>
                    <a:pt x="183" y="5840"/>
                    <a:pt x="168" y="5760"/>
                  </a:cubicBezTo>
                  <a:cubicBezTo>
                    <a:pt x="146" y="5650"/>
                    <a:pt x="183" y="5547"/>
                    <a:pt x="212" y="5503"/>
                  </a:cubicBezTo>
                  <a:cubicBezTo>
                    <a:pt x="234" y="5481"/>
                    <a:pt x="241" y="5452"/>
                    <a:pt x="256" y="5415"/>
                  </a:cubicBezTo>
                  <a:cubicBezTo>
                    <a:pt x="271" y="5386"/>
                    <a:pt x="285" y="5342"/>
                    <a:pt x="315" y="5291"/>
                  </a:cubicBezTo>
                  <a:cubicBezTo>
                    <a:pt x="337" y="5254"/>
                    <a:pt x="351" y="5225"/>
                    <a:pt x="366" y="5203"/>
                  </a:cubicBezTo>
                  <a:cubicBezTo>
                    <a:pt x="403" y="5152"/>
                    <a:pt x="425" y="5115"/>
                    <a:pt x="439" y="5049"/>
                  </a:cubicBezTo>
                  <a:cubicBezTo>
                    <a:pt x="461" y="4961"/>
                    <a:pt x="498" y="4932"/>
                    <a:pt x="542" y="4903"/>
                  </a:cubicBezTo>
                  <a:cubicBezTo>
                    <a:pt x="549" y="4895"/>
                    <a:pt x="549" y="4895"/>
                    <a:pt x="549" y="4895"/>
                  </a:cubicBezTo>
                  <a:cubicBezTo>
                    <a:pt x="571" y="4881"/>
                    <a:pt x="571" y="4771"/>
                    <a:pt x="571" y="4690"/>
                  </a:cubicBezTo>
                  <a:cubicBezTo>
                    <a:pt x="578" y="4624"/>
                    <a:pt x="578" y="4565"/>
                    <a:pt x="586" y="4529"/>
                  </a:cubicBezTo>
                  <a:cubicBezTo>
                    <a:pt x="593" y="4507"/>
                    <a:pt x="593" y="4477"/>
                    <a:pt x="593" y="4448"/>
                  </a:cubicBezTo>
                  <a:cubicBezTo>
                    <a:pt x="593" y="4404"/>
                    <a:pt x="586" y="4360"/>
                    <a:pt x="637" y="4316"/>
                  </a:cubicBezTo>
                  <a:cubicBezTo>
                    <a:pt x="703" y="4265"/>
                    <a:pt x="732" y="4184"/>
                    <a:pt x="732" y="4067"/>
                  </a:cubicBezTo>
                  <a:cubicBezTo>
                    <a:pt x="732" y="3943"/>
                    <a:pt x="820" y="3818"/>
                    <a:pt x="886" y="3767"/>
                  </a:cubicBezTo>
                  <a:cubicBezTo>
                    <a:pt x="945" y="3723"/>
                    <a:pt x="1018" y="3642"/>
                    <a:pt x="1040" y="3606"/>
                  </a:cubicBezTo>
                  <a:cubicBezTo>
                    <a:pt x="1047" y="3598"/>
                    <a:pt x="1062" y="3576"/>
                    <a:pt x="1069" y="3554"/>
                  </a:cubicBezTo>
                  <a:cubicBezTo>
                    <a:pt x="1099" y="3510"/>
                    <a:pt x="1128" y="3452"/>
                    <a:pt x="1157" y="3415"/>
                  </a:cubicBezTo>
                  <a:cubicBezTo>
                    <a:pt x="1201" y="3356"/>
                    <a:pt x="1245" y="3327"/>
                    <a:pt x="1326" y="3305"/>
                  </a:cubicBezTo>
                  <a:cubicBezTo>
                    <a:pt x="1370" y="3290"/>
                    <a:pt x="1392" y="3210"/>
                    <a:pt x="1414" y="3137"/>
                  </a:cubicBezTo>
                  <a:cubicBezTo>
                    <a:pt x="1421" y="3100"/>
                    <a:pt x="1428" y="3071"/>
                    <a:pt x="1436" y="3041"/>
                  </a:cubicBezTo>
                  <a:cubicBezTo>
                    <a:pt x="1465" y="2968"/>
                    <a:pt x="1568" y="2851"/>
                    <a:pt x="1604" y="2814"/>
                  </a:cubicBezTo>
                  <a:cubicBezTo>
                    <a:pt x="1626" y="2792"/>
                    <a:pt x="1626" y="2792"/>
                    <a:pt x="1626" y="2792"/>
                  </a:cubicBezTo>
                  <a:cubicBezTo>
                    <a:pt x="1604" y="2777"/>
                    <a:pt x="1604" y="2777"/>
                    <a:pt x="1604" y="2777"/>
                  </a:cubicBezTo>
                  <a:cubicBezTo>
                    <a:pt x="1670" y="2741"/>
                    <a:pt x="1670" y="2741"/>
                    <a:pt x="1670" y="2741"/>
                  </a:cubicBezTo>
                  <a:cubicBezTo>
                    <a:pt x="1677" y="2741"/>
                    <a:pt x="1677" y="2741"/>
                    <a:pt x="1677" y="2741"/>
                  </a:cubicBezTo>
                  <a:cubicBezTo>
                    <a:pt x="1677" y="2741"/>
                    <a:pt x="1736" y="2734"/>
                    <a:pt x="1787" y="2602"/>
                  </a:cubicBezTo>
                  <a:cubicBezTo>
                    <a:pt x="1824" y="2514"/>
                    <a:pt x="1868" y="2455"/>
                    <a:pt x="1897" y="2404"/>
                  </a:cubicBezTo>
                  <a:cubicBezTo>
                    <a:pt x="1927" y="2353"/>
                    <a:pt x="1956" y="2316"/>
                    <a:pt x="1956" y="2279"/>
                  </a:cubicBezTo>
                  <a:cubicBezTo>
                    <a:pt x="1963" y="2243"/>
                    <a:pt x="1963" y="2213"/>
                    <a:pt x="1963" y="2184"/>
                  </a:cubicBezTo>
                  <a:cubicBezTo>
                    <a:pt x="1956" y="2147"/>
                    <a:pt x="1956" y="2111"/>
                    <a:pt x="1971" y="2089"/>
                  </a:cubicBezTo>
                  <a:cubicBezTo>
                    <a:pt x="1978" y="2081"/>
                    <a:pt x="1985" y="2067"/>
                    <a:pt x="2000" y="2059"/>
                  </a:cubicBezTo>
                  <a:cubicBezTo>
                    <a:pt x="2022" y="2037"/>
                    <a:pt x="2051" y="2008"/>
                    <a:pt x="2037" y="1964"/>
                  </a:cubicBezTo>
                  <a:cubicBezTo>
                    <a:pt x="2022" y="1920"/>
                    <a:pt x="2022" y="1847"/>
                    <a:pt x="2125" y="1781"/>
                  </a:cubicBezTo>
                  <a:cubicBezTo>
                    <a:pt x="2139" y="1766"/>
                    <a:pt x="2154" y="1759"/>
                    <a:pt x="2161" y="1759"/>
                  </a:cubicBezTo>
                  <a:cubicBezTo>
                    <a:pt x="2198" y="1737"/>
                    <a:pt x="2205" y="1730"/>
                    <a:pt x="2205" y="1664"/>
                  </a:cubicBezTo>
                  <a:cubicBezTo>
                    <a:pt x="2205" y="1627"/>
                    <a:pt x="2198" y="1620"/>
                    <a:pt x="2183" y="1605"/>
                  </a:cubicBezTo>
                  <a:cubicBezTo>
                    <a:pt x="2168" y="1590"/>
                    <a:pt x="2161" y="1576"/>
                    <a:pt x="2176" y="1539"/>
                  </a:cubicBezTo>
                  <a:cubicBezTo>
                    <a:pt x="2183" y="1503"/>
                    <a:pt x="2205" y="1480"/>
                    <a:pt x="2220" y="1466"/>
                  </a:cubicBezTo>
                  <a:cubicBezTo>
                    <a:pt x="2242" y="1444"/>
                    <a:pt x="2256" y="1429"/>
                    <a:pt x="2256" y="1407"/>
                  </a:cubicBezTo>
                  <a:cubicBezTo>
                    <a:pt x="2256" y="1385"/>
                    <a:pt x="2256" y="1356"/>
                    <a:pt x="2264" y="1327"/>
                  </a:cubicBezTo>
                  <a:cubicBezTo>
                    <a:pt x="2271" y="1297"/>
                    <a:pt x="2286" y="1224"/>
                    <a:pt x="2271" y="1217"/>
                  </a:cubicBezTo>
                  <a:cubicBezTo>
                    <a:pt x="2264" y="1217"/>
                    <a:pt x="2256" y="1217"/>
                    <a:pt x="2249" y="1217"/>
                  </a:cubicBezTo>
                  <a:cubicBezTo>
                    <a:pt x="2213" y="1217"/>
                    <a:pt x="2176" y="1202"/>
                    <a:pt x="2161" y="1173"/>
                  </a:cubicBezTo>
                  <a:cubicBezTo>
                    <a:pt x="2161" y="1158"/>
                    <a:pt x="2154" y="1136"/>
                    <a:pt x="2176" y="1099"/>
                  </a:cubicBezTo>
                  <a:cubicBezTo>
                    <a:pt x="2198" y="1070"/>
                    <a:pt x="2190" y="1063"/>
                    <a:pt x="2161" y="1019"/>
                  </a:cubicBezTo>
                  <a:cubicBezTo>
                    <a:pt x="2146" y="1012"/>
                    <a:pt x="2132" y="989"/>
                    <a:pt x="2117" y="975"/>
                  </a:cubicBezTo>
                  <a:cubicBezTo>
                    <a:pt x="2073" y="902"/>
                    <a:pt x="2103" y="726"/>
                    <a:pt x="2103" y="704"/>
                  </a:cubicBezTo>
                  <a:cubicBezTo>
                    <a:pt x="2103" y="696"/>
                    <a:pt x="2103" y="696"/>
                    <a:pt x="2103" y="696"/>
                  </a:cubicBezTo>
                  <a:cubicBezTo>
                    <a:pt x="2110" y="689"/>
                    <a:pt x="2110" y="689"/>
                    <a:pt x="2110" y="689"/>
                  </a:cubicBezTo>
                  <a:lnTo>
                    <a:pt x="2110" y="689"/>
                  </a:lnTo>
                  <a:cubicBezTo>
                    <a:pt x="2117" y="689"/>
                    <a:pt x="2117" y="689"/>
                    <a:pt x="2117" y="689"/>
                  </a:cubicBezTo>
                  <a:cubicBezTo>
                    <a:pt x="2168" y="667"/>
                    <a:pt x="2168" y="667"/>
                    <a:pt x="2168" y="667"/>
                  </a:cubicBezTo>
                  <a:cubicBezTo>
                    <a:pt x="2176" y="667"/>
                    <a:pt x="2183" y="667"/>
                    <a:pt x="2183" y="667"/>
                  </a:cubicBezTo>
                  <a:cubicBezTo>
                    <a:pt x="2227" y="667"/>
                    <a:pt x="2264" y="718"/>
                    <a:pt x="2308" y="777"/>
                  </a:cubicBezTo>
                  <a:cubicBezTo>
                    <a:pt x="2344" y="828"/>
                    <a:pt x="2381" y="880"/>
                    <a:pt x="2410" y="894"/>
                  </a:cubicBezTo>
                  <a:cubicBezTo>
                    <a:pt x="2425" y="902"/>
                    <a:pt x="2432" y="902"/>
                    <a:pt x="2439" y="902"/>
                  </a:cubicBezTo>
                  <a:cubicBezTo>
                    <a:pt x="2454" y="902"/>
                    <a:pt x="2462" y="894"/>
                    <a:pt x="2476" y="887"/>
                  </a:cubicBezTo>
                  <a:cubicBezTo>
                    <a:pt x="2498" y="858"/>
                    <a:pt x="2506" y="806"/>
                    <a:pt x="2491" y="763"/>
                  </a:cubicBezTo>
                  <a:cubicBezTo>
                    <a:pt x="2476" y="704"/>
                    <a:pt x="2484" y="653"/>
                    <a:pt x="2506" y="616"/>
                  </a:cubicBezTo>
                  <a:cubicBezTo>
                    <a:pt x="2527" y="587"/>
                    <a:pt x="2557" y="572"/>
                    <a:pt x="2594" y="565"/>
                  </a:cubicBezTo>
                  <a:cubicBezTo>
                    <a:pt x="2601" y="565"/>
                    <a:pt x="2615" y="565"/>
                    <a:pt x="2615" y="565"/>
                  </a:cubicBezTo>
                  <a:cubicBezTo>
                    <a:pt x="2689" y="565"/>
                    <a:pt x="2696" y="608"/>
                    <a:pt x="2711" y="726"/>
                  </a:cubicBezTo>
                  <a:cubicBezTo>
                    <a:pt x="2718" y="755"/>
                    <a:pt x="2718" y="784"/>
                    <a:pt x="2725" y="814"/>
                  </a:cubicBezTo>
                  <a:cubicBezTo>
                    <a:pt x="2740" y="887"/>
                    <a:pt x="2777" y="916"/>
                    <a:pt x="2843" y="916"/>
                  </a:cubicBezTo>
                  <a:cubicBezTo>
                    <a:pt x="2908" y="916"/>
                    <a:pt x="2975" y="880"/>
                    <a:pt x="2975" y="880"/>
                  </a:cubicBezTo>
                  <a:cubicBezTo>
                    <a:pt x="2996" y="872"/>
                    <a:pt x="2996" y="872"/>
                    <a:pt x="2996" y="872"/>
                  </a:cubicBezTo>
                  <a:cubicBezTo>
                    <a:pt x="2996" y="894"/>
                    <a:pt x="2996" y="894"/>
                    <a:pt x="2996" y="894"/>
                  </a:cubicBezTo>
                  <a:cubicBezTo>
                    <a:pt x="3004" y="938"/>
                    <a:pt x="3018" y="946"/>
                    <a:pt x="3106" y="946"/>
                  </a:cubicBezTo>
                  <a:cubicBezTo>
                    <a:pt x="3158" y="946"/>
                    <a:pt x="3165" y="982"/>
                    <a:pt x="3172" y="989"/>
                  </a:cubicBezTo>
                  <a:cubicBezTo>
                    <a:pt x="3172" y="1034"/>
                    <a:pt x="3128" y="1085"/>
                    <a:pt x="3077" y="1092"/>
                  </a:cubicBezTo>
                  <a:cubicBezTo>
                    <a:pt x="3070" y="1092"/>
                    <a:pt x="3062" y="1092"/>
                    <a:pt x="3055" y="1092"/>
                  </a:cubicBezTo>
                  <a:cubicBezTo>
                    <a:pt x="3026" y="1099"/>
                    <a:pt x="3026" y="1099"/>
                    <a:pt x="3026" y="1180"/>
                  </a:cubicBezTo>
                  <a:cubicBezTo>
                    <a:pt x="3018" y="1239"/>
                    <a:pt x="3018" y="1239"/>
                    <a:pt x="3018" y="1239"/>
                  </a:cubicBezTo>
                  <a:cubicBezTo>
                    <a:pt x="3018" y="1275"/>
                    <a:pt x="3026" y="1283"/>
                    <a:pt x="3026" y="1290"/>
                  </a:cubicBezTo>
                  <a:lnTo>
                    <a:pt x="3026" y="1290"/>
                  </a:lnTo>
                  <a:cubicBezTo>
                    <a:pt x="3055" y="1290"/>
                    <a:pt x="3099" y="1246"/>
                    <a:pt x="3136" y="1217"/>
                  </a:cubicBezTo>
                  <a:cubicBezTo>
                    <a:pt x="3158" y="1187"/>
                    <a:pt x="3180" y="1173"/>
                    <a:pt x="3187" y="1165"/>
                  </a:cubicBezTo>
                  <a:cubicBezTo>
                    <a:pt x="3209" y="1158"/>
                    <a:pt x="3209" y="1151"/>
                    <a:pt x="3216" y="1122"/>
                  </a:cubicBezTo>
                  <a:cubicBezTo>
                    <a:pt x="3216" y="1107"/>
                    <a:pt x="3216" y="1085"/>
                    <a:pt x="3231" y="1048"/>
                  </a:cubicBezTo>
                  <a:cubicBezTo>
                    <a:pt x="3238" y="1004"/>
                    <a:pt x="3260" y="953"/>
                    <a:pt x="3304" y="953"/>
                  </a:cubicBezTo>
                  <a:cubicBezTo>
                    <a:pt x="3326" y="953"/>
                    <a:pt x="3348" y="968"/>
                    <a:pt x="3377" y="982"/>
                  </a:cubicBezTo>
                  <a:cubicBezTo>
                    <a:pt x="3392" y="997"/>
                    <a:pt x="3407" y="1004"/>
                    <a:pt x="3414" y="1004"/>
                  </a:cubicBezTo>
                  <a:cubicBezTo>
                    <a:pt x="3429" y="1004"/>
                    <a:pt x="3436" y="982"/>
                    <a:pt x="3444" y="953"/>
                  </a:cubicBezTo>
                  <a:cubicBezTo>
                    <a:pt x="3451" y="938"/>
                    <a:pt x="3458" y="924"/>
                    <a:pt x="3465" y="909"/>
                  </a:cubicBezTo>
                  <a:cubicBezTo>
                    <a:pt x="3473" y="902"/>
                    <a:pt x="3487" y="880"/>
                    <a:pt x="3524" y="880"/>
                  </a:cubicBezTo>
                  <a:cubicBezTo>
                    <a:pt x="3539" y="880"/>
                    <a:pt x="3561" y="887"/>
                    <a:pt x="3583" y="902"/>
                  </a:cubicBezTo>
                  <a:cubicBezTo>
                    <a:pt x="3517" y="799"/>
                    <a:pt x="3517" y="799"/>
                    <a:pt x="3517" y="799"/>
                  </a:cubicBezTo>
                  <a:cubicBezTo>
                    <a:pt x="3583" y="755"/>
                    <a:pt x="3583" y="755"/>
                    <a:pt x="3583" y="755"/>
                  </a:cubicBezTo>
                  <a:cubicBezTo>
                    <a:pt x="3583" y="748"/>
                    <a:pt x="3583" y="748"/>
                    <a:pt x="3583" y="748"/>
                  </a:cubicBezTo>
                  <a:cubicBezTo>
                    <a:pt x="3590" y="748"/>
                    <a:pt x="3590" y="748"/>
                    <a:pt x="3590" y="748"/>
                  </a:cubicBezTo>
                  <a:cubicBezTo>
                    <a:pt x="3605" y="733"/>
                    <a:pt x="3605" y="733"/>
                    <a:pt x="3605" y="733"/>
                  </a:cubicBezTo>
                  <a:cubicBezTo>
                    <a:pt x="3612" y="733"/>
                    <a:pt x="3612" y="733"/>
                    <a:pt x="3612" y="733"/>
                  </a:cubicBezTo>
                  <a:cubicBezTo>
                    <a:pt x="3619" y="733"/>
                    <a:pt x="3634" y="726"/>
                    <a:pt x="3649" y="726"/>
                  </a:cubicBezTo>
                  <a:cubicBezTo>
                    <a:pt x="3663" y="726"/>
                    <a:pt x="3685" y="733"/>
                    <a:pt x="3707" y="733"/>
                  </a:cubicBezTo>
                  <a:cubicBezTo>
                    <a:pt x="3722" y="740"/>
                    <a:pt x="3744" y="740"/>
                    <a:pt x="3766" y="740"/>
                  </a:cubicBezTo>
                  <a:cubicBezTo>
                    <a:pt x="3780" y="740"/>
                    <a:pt x="3795" y="740"/>
                    <a:pt x="3803" y="733"/>
                  </a:cubicBezTo>
                  <a:cubicBezTo>
                    <a:pt x="3817" y="726"/>
                    <a:pt x="3839" y="718"/>
                    <a:pt x="3854" y="718"/>
                  </a:cubicBezTo>
                  <a:cubicBezTo>
                    <a:pt x="3898" y="696"/>
                    <a:pt x="3927" y="689"/>
                    <a:pt x="3927" y="616"/>
                  </a:cubicBezTo>
                  <a:cubicBezTo>
                    <a:pt x="3927" y="499"/>
                    <a:pt x="4030" y="491"/>
                    <a:pt x="4125" y="491"/>
                  </a:cubicBezTo>
                  <a:cubicBezTo>
                    <a:pt x="4139" y="484"/>
                    <a:pt x="4154" y="484"/>
                    <a:pt x="4169" y="484"/>
                  </a:cubicBezTo>
                  <a:cubicBezTo>
                    <a:pt x="4235" y="477"/>
                    <a:pt x="4235" y="469"/>
                    <a:pt x="4227" y="447"/>
                  </a:cubicBezTo>
                  <a:cubicBezTo>
                    <a:pt x="4227" y="440"/>
                    <a:pt x="4227" y="418"/>
                    <a:pt x="4235" y="403"/>
                  </a:cubicBezTo>
                  <a:cubicBezTo>
                    <a:pt x="4249" y="381"/>
                    <a:pt x="4271" y="323"/>
                    <a:pt x="4220" y="271"/>
                  </a:cubicBezTo>
                  <a:cubicBezTo>
                    <a:pt x="4206" y="257"/>
                    <a:pt x="4191" y="249"/>
                    <a:pt x="4169" y="249"/>
                  </a:cubicBezTo>
                  <a:cubicBezTo>
                    <a:pt x="4161" y="249"/>
                    <a:pt x="4154" y="257"/>
                    <a:pt x="4139" y="257"/>
                  </a:cubicBezTo>
                  <a:cubicBezTo>
                    <a:pt x="4132" y="257"/>
                    <a:pt x="4118" y="257"/>
                    <a:pt x="4110" y="257"/>
                  </a:cubicBezTo>
                  <a:cubicBezTo>
                    <a:pt x="4096" y="257"/>
                    <a:pt x="4088" y="257"/>
                    <a:pt x="4081" y="257"/>
                  </a:cubicBezTo>
                  <a:cubicBezTo>
                    <a:pt x="4015" y="242"/>
                    <a:pt x="4008" y="213"/>
                    <a:pt x="4008" y="206"/>
                  </a:cubicBezTo>
                  <a:cubicBezTo>
                    <a:pt x="4015" y="198"/>
                    <a:pt x="4037" y="125"/>
                    <a:pt x="4081" y="88"/>
                  </a:cubicBezTo>
                  <a:cubicBezTo>
                    <a:pt x="4132" y="52"/>
                    <a:pt x="4191" y="44"/>
                    <a:pt x="4249" y="30"/>
                  </a:cubicBezTo>
                  <a:cubicBezTo>
                    <a:pt x="4257" y="30"/>
                    <a:pt x="4257" y="30"/>
                    <a:pt x="4264" y="30"/>
                  </a:cubicBezTo>
                  <a:cubicBezTo>
                    <a:pt x="4294" y="30"/>
                    <a:pt x="4308" y="44"/>
                    <a:pt x="4315" y="59"/>
                  </a:cubicBezTo>
                  <a:cubicBezTo>
                    <a:pt x="4323" y="66"/>
                    <a:pt x="4330" y="66"/>
                    <a:pt x="4337" y="66"/>
                  </a:cubicBezTo>
                  <a:lnTo>
                    <a:pt x="4345" y="66"/>
                  </a:lnTo>
                  <a:cubicBezTo>
                    <a:pt x="4367" y="59"/>
                    <a:pt x="4374" y="52"/>
                    <a:pt x="4381" y="37"/>
                  </a:cubicBezTo>
                  <a:cubicBezTo>
                    <a:pt x="4389" y="30"/>
                    <a:pt x="4403" y="15"/>
                    <a:pt x="4418" y="15"/>
                  </a:cubicBezTo>
                  <a:cubicBezTo>
                    <a:pt x="4425" y="15"/>
                    <a:pt x="4433" y="15"/>
                    <a:pt x="4440" y="22"/>
                  </a:cubicBezTo>
                  <a:cubicBezTo>
                    <a:pt x="4462" y="30"/>
                    <a:pt x="4469" y="52"/>
                    <a:pt x="4484" y="66"/>
                  </a:cubicBezTo>
                  <a:cubicBezTo>
                    <a:pt x="4491" y="81"/>
                    <a:pt x="4499" y="96"/>
                    <a:pt x="4506" y="103"/>
                  </a:cubicBezTo>
                  <a:cubicBezTo>
                    <a:pt x="4513" y="103"/>
                    <a:pt x="4513" y="103"/>
                    <a:pt x="4520" y="103"/>
                  </a:cubicBezTo>
                  <a:cubicBezTo>
                    <a:pt x="4535" y="103"/>
                    <a:pt x="4550" y="88"/>
                    <a:pt x="4572" y="74"/>
                  </a:cubicBezTo>
                  <a:cubicBezTo>
                    <a:pt x="4587" y="66"/>
                    <a:pt x="4601" y="52"/>
                    <a:pt x="4616" y="44"/>
                  </a:cubicBezTo>
                  <a:cubicBezTo>
                    <a:pt x="4638" y="30"/>
                    <a:pt x="4638" y="30"/>
                    <a:pt x="4638" y="30"/>
                  </a:cubicBezTo>
                  <a:cubicBezTo>
                    <a:pt x="4667" y="15"/>
                    <a:pt x="4682" y="0"/>
                    <a:pt x="4704" y="0"/>
                  </a:cubicBezTo>
                  <a:cubicBezTo>
                    <a:pt x="4711" y="0"/>
                    <a:pt x="4726" y="8"/>
                    <a:pt x="4733" y="8"/>
                  </a:cubicBezTo>
                  <a:cubicBezTo>
                    <a:pt x="4770" y="22"/>
                    <a:pt x="4770" y="110"/>
                    <a:pt x="4755" y="242"/>
                  </a:cubicBezTo>
                  <a:cubicBezTo>
                    <a:pt x="4740" y="323"/>
                    <a:pt x="4748" y="352"/>
                    <a:pt x="4755" y="352"/>
                  </a:cubicBezTo>
                  <a:cubicBezTo>
                    <a:pt x="4755" y="352"/>
                    <a:pt x="4762" y="345"/>
                    <a:pt x="4770" y="330"/>
                  </a:cubicBezTo>
                  <a:cubicBezTo>
                    <a:pt x="4784" y="315"/>
                    <a:pt x="4792" y="301"/>
                    <a:pt x="4799" y="286"/>
                  </a:cubicBezTo>
                  <a:cubicBezTo>
                    <a:pt x="4814" y="271"/>
                    <a:pt x="4821" y="257"/>
                    <a:pt x="4836" y="257"/>
                  </a:cubicBezTo>
                  <a:cubicBezTo>
                    <a:pt x="4858" y="257"/>
                    <a:pt x="4872" y="271"/>
                    <a:pt x="4909" y="308"/>
                  </a:cubicBezTo>
                  <a:cubicBezTo>
                    <a:pt x="4924" y="323"/>
                    <a:pt x="4931" y="330"/>
                    <a:pt x="4946" y="330"/>
                  </a:cubicBezTo>
                  <a:cubicBezTo>
                    <a:pt x="4960" y="330"/>
                    <a:pt x="4975" y="308"/>
                    <a:pt x="4997" y="286"/>
                  </a:cubicBezTo>
                  <a:cubicBezTo>
                    <a:pt x="5011" y="264"/>
                    <a:pt x="5034" y="235"/>
                    <a:pt x="5063" y="227"/>
                  </a:cubicBezTo>
                  <a:cubicBezTo>
                    <a:pt x="5070" y="220"/>
                    <a:pt x="5077" y="220"/>
                    <a:pt x="5085" y="220"/>
                  </a:cubicBezTo>
                  <a:cubicBezTo>
                    <a:pt x="5099" y="220"/>
                    <a:pt x="5121" y="235"/>
                    <a:pt x="5136" y="249"/>
                  </a:cubicBezTo>
                  <a:cubicBezTo>
                    <a:pt x="5165" y="294"/>
                    <a:pt x="5180" y="367"/>
                    <a:pt x="5173" y="403"/>
                  </a:cubicBezTo>
                  <a:cubicBezTo>
                    <a:pt x="5165" y="440"/>
                    <a:pt x="5173" y="462"/>
                    <a:pt x="5224" y="484"/>
                  </a:cubicBezTo>
                  <a:cubicBezTo>
                    <a:pt x="5224" y="491"/>
                    <a:pt x="5231" y="491"/>
                    <a:pt x="5239" y="491"/>
                  </a:cubicBezTo>
                  <a:cubicBezTo>
                    <a:pt x="5246" y="499"/>
                    <a:pt x="5261" y="499"/>
                    <a:pt x="5261" y="506"/>
                  </a:cubicBezTo>
                  <a:cubicBezTo>
                    <a:pt x="5268" y="521"/>
                    <a:pt x="5268" y="535"/>
                    <a:pt x="5246" y="579"/>
                  </a:cubicBezTo>
                  <a:cubicBezTo>
                    <a:pt x="5239" y="601"/>
                    <a:pt x="5224" y="645"/>
                    <a:pt x="5209" y="696"/>
                  </a:cubicBezTo>
                  <a:cubicBezTo>
                    <a:pt x="5187" y="748"/>
                    <a:pt x="5187" y="770"/>
                    <a:pt x="5187" y="777"/>
                  </a:cubicBezTo>
                  <a:cubicBezTo>
                    <a:pt x="5202" y="770"/>
                    <a:pt x="5246" y="726"/>
                    <a:pt x="5268" y="682"/>
                  </a:cubicBezTo>
                  <a:cubicBezTo>
                    <a:pt x="5283" y="667"/>
                    <a:pt x="5290" y="667"/>
                    <a:pt x="5297" y="667"/>
                  </a:cubicBezTo>
                  <a:cubicBezTo>
                    <a:pt x="5349" y="667"/>
                    <a:pt x="5378" y="821"/>
                    <a:pt x="5378" y="872"/>
                  </a:cubicBezTo>
                  <a:cubicBezTo>
                    <a:pt x="5378" y="909"/>
                    <a:pt x="5385" y="938"/>
                    <a:pt x="5393" y="960"/>
                  </a:cubicBezTo>
                  <a:cubicBezTo>
                    <a:pt x="5407" y="989"/>
                    <a:pt x="5429" y="997"/>
                    <a:pt x="5458" y="997"/>
                  </a:cubicBezTo>
                  <a:cubicBezTo>
                    <a:pt x="5473" y="997"/>
                    <a:pt x="5480" y="997"/>
                    <a:pt x="5495" y="997"/>
                  </a:cubicBezTo>
                  <a:cubicBezTo>
                    <a:pt x="5568" y="982"/>
                    <a:pt x="5568" y="968"/>
                    <a:pt x="5583" y="938"/>
                  </a:cubicBezTo>
                  <a:cubicBezTo>
                    <a:pt x="5583" y="924"/>
                    <a:pt x="5590" y="909"/>
                    <a:pt x="5598" y="887"/>
                  </a:cubicBezTo>
                  <a:cubicBezTo>
                    <a:pt x="5620" y="843"/>
                    <a:pt x="5656" y="814"/>
                    <a:pt x="5686" y="814"/>
                  </a:cubicBezTo>
                  <a:cubicBezTo>
                    <a:pt x="5700" y="814"/>
                    <a:pt x="5730" y="821"/>
                    <a:pt x="5737" y="880"/>
                  </a:cubicBezTo>
                  <a:cubicBezTo>
                    <a:pt x="5744" y="916"/>
                    <a:pt x="5751" y="946"/>
                    <a:pt x="5759" y="960"/>
                  </a:cubicBezTo>
                  <a:cubicBezTo>
                    <a:pt x="5774" y="989"/>
                    <a:pt x="5781" y="1019"/>
                    <a:pt x="5774" y="1070"/>
                  </a:cubicBezTo>
                  <a:cubicBezTo>
                    <a:pt x="5766" y="1129"/>
                    <a:pt x="5788" y="1144"/>
                    <a:pt x="5825" y="1165"/>
                  </a:cubicBezTo>
                  <a:cubicBezTo>
                    <a:pt x="5832" y="1165"/>
                    <a:pt x="5832" y="1165"/>
                    <a:pt x="5832" y="1165"/>
                  </a:cubicBezTo>
                  <a:cubicBezTo>
                    <a:pt x="5884" y="1195"/>
                    <a:pt x="5898" y="1312"/>
                    <a:pt x="5898" y="1327"/>
                  </a:cubicBezTo>
                  <a:cubicBezTo>
                    <a:pt x="5898" y="1349"/>
                    <a:pt x="5898" y="1349"/>
                    <a:pt x="5898" y="1349"/>
                  </a:cubicBezTo>
                  <a:cubicBezTo>
                    <a:pt x="5884" y="1341"/>
                    <a:pt x="5884" y="1341"/>
                    <a:pt x="5884" y="1341"/>
                  </a:cubicBezTo>
                  <a:lnTo>
                    <a:pt x="5876" y="1341"/>
                  </a:lnTo>
                  <a:cubicBezTo>
                    <a:pt x="5854" y="1341"/>
                    <a:pt x="5818" y="1349"/>
                    <a:pt x="5796" y="1393"/>
                  </a:cubicBezTo>
                  <a:cubicBezTo>
                    <a:pt x="5766" y="1451"/>
                    <a:pt x="5810" y="1568"/>
                    <a:pt x="5847" y="1613"/>
                  </a:cubicBezTo>
                  <a:cubicBezTo>
                    <a:pt x="5884" y="1642"/>
                    <a:pt x="5869" y="1686"/>
                    <a:pt x="5854" y="1737"/>
                  </a:cubicBezTo>
                  <a:cubicBezTo>
                    <a:pt x="5839" y="1774"/>
                    <a:pt x="5832" y="1810"/>
                    <a:pt x="5832" y="1847"/>
                  </a:cubicBezTo>
                  <a:cubicBezTo>
                    <a:pt x="5832" y="1942"/>
                    <a:pt x="5964" y="2052"/>
                    <a:pt x="6037" y="2081"/>
                  </a:cubicBezTo>
                  <a:cubicBezTo>
                    <a:pt x="6081" y="2103"/>
                    <a:pt x="6111" y="2125"/>
                    <a:pt x="6111" y="2155"/>
                  </a:cubicBezTo>
                  <a:cubicBezTo>
                    <a:pt x="6111" y="2177"/>
                    <a:pt x="6111" y="2199"/>
                    <a:pt x="6074" y="2221"/>
                  </a:cubicBezTo>
                  <a:cubicBezTo>
                    <a:pt x="6008" y="2272"/>
                    <a:pt x="6008" y="2294"/>
                    <a:pt x="6023" y="2301"/>
                  </a:cubicBezTo>
                  <a:cubicBezTo>
                    <a:pt x="6030" y="2316"/>
                    <a:pt x="6045" y="2323"/>
                    <a:pt x="6059" y="2323"/>
                  </a:cubicBezTo>
                  <a:cubicBezTo>
                    <a:pt x="6081" y="2338"/>
                    <a:pt x="6103" y="2345"/>
                    <a:pt x="6111" y="2375"/>
                  </a:cubicBezTo>
                  <a:cubicBezTo>
                    <a:pt x="6118" y="2389"/>
                    <a:pt x="6118" y="2404"/>
                    <a:pt x="6118" y="2418"/>
                  </a:cubicBezTo>
                  <a:cubicBezTo>
                    <a:pt x="6118" y="2448"/>
                    <a:pt x="6118" y="2470"/>
                    <a:pt x="6162" y="2477"/>
                  </a:cubicBezTo>
                  <a:cubicBezTo>
                    <a:pt x="6242" y="2506"/>
                    <a:pt x="6316" y="2543"/>
                    <a:pt x="6439" y="2668"/>
                  </a:cubicBezTo>
                  <a:cubicBezTo>
                    <a:pt x="6564" y="2792"/>
                    <a:pt x="6579" y="3012"/>
                    <a:pt x="6564" y="3063"/>
                  </a:cubicBezTo>
                  <a:cubicBezTo>
                    <a:pt x="6557" y="3093"/>
                    <a:pt x="6535" y="3107"/>
                    <a:pt x="6520" y="3107"/>
                  </a:cubicBezTo>
                  <a:lnTo>
                    <a:pt x="6520" y="3107"/>
                  </a:lnTo>
                  <a:cubicBezTo>
                    <a:pt x="6557" y="3173"/>
                    <a:pt x="6557" y="3232"/>
                    <a:pt x="6520" y="3283"/>
                  </a:cubicBezTo>
                  <a:cubicBezTo>
                    <a:pt x="6476" y="3349"/>
                    <a:pt x="6476" y="3415"/>
                    <a:pt x="6505" y="3488"/>
                  </a:cubicBezTo>
                  <a:cubicBezTo>
                    <a:pt x="6520" y="3510"/>
                    <a:pt x="6535" y="3518"/>
                    <a:pt x="6557" y="3518"/>
                  </a:cubicBezTo>
                  <a:cubicBezTo>
                    <a:pt x="6579" y="3525"/>
                    <a:pt x="6608" y="3525"/>
                    <a:pt x="6630" y="3576"/>
                  </a:cubicBezTo>
                  <a:cubicBezTo>
                    <a:pt x="6652" y="3613"/>
                    <a:pt x="6659" y="3649"/>
                    <a:pt x="6637" y="3686"/>
                  </a:cubicBezTo>
                  <a:cubicBezTo>
                    <a:pt x="6615" y="3715"/>
                    <a:pt x="6586" y="3737"/>
                    <a:pt x="6564" y="3737"/>
                  </a:cubicBezTo>
                  <a:cubicBezTo>
                    <a:pt x="6557" y="3737"/>
                    <a:pt x="6549" y="3730"/>
                    <a:pt x="6542" y="3730"/>
                  </a:cubicBezTo>
                  <a:cubicBezTo>
                    <a:pt x="6535" y="3730"/>
                    <a:pt x="6520" y="3730"/>
                    <a:pt x="6513" y="3730"/>
                  </a:cubicBezTo>
                  <a:cubicBezTo>
                    <a:pt x="6476" y="3730"/>
                    <a:pt x="6454" y="3737"/>
                    <a:pt x="6439" y="3752"/>
                  </a:cubicBezTo>
                  <a:cubicBezTo>
                    <a:pt x="6432" y="3759"/>
                    <a:pt x="6425" y="3767"/>
                    <a:pt x="6410" y="3767"/>
                  </a:cubicBezTo>
                  <a:cubicBezTo>
                    <a:pt x="6395" y="3767"/>
                    <a:pt x="6381" y="3752"/>
                    <a:pt x="6360" y="3730"/>
                  </a:cubicBezTo>
                  <a:cubicBezTo>
                    <a:pt x="6338" y="3708"/>
                    <a:pt x="6301" y="3679"/>
                    <a:pt x="6257" y="3664"/>
                  </a:cubicBezTo>
                  <a:cubicBezTo>
                    <a:pt x="6220" y="3657"/>
                    <a:pt x="6206" y="3657"/>
                    <a:pt x="6191" y="3657"/>
                  </a:cubicBezTo>
                  <a:cubicBezTo>
                    <a:pt x="6162" y="3657"/>
                    <a:pt x="6155" y="3664"/>
                    <a:pt x="6140" y="3730"/>
                  </a:cubicBezTo>
                  <a:cubicBezTo>
                    <a:pt x="6118" y="3796"/>
                    <a:pt x="6242" y="3877"/>
                    <a:pt x="6286" y="3899"/>
                  </a:cubicBezTo>
                  <a:cubicBezTo>
                    <a:pt x="6279" y="3928"/>
                    <a:pt x="6279" y="3928"/>
                    <a:pt x="6279" y="3928"/>
                  </a:cubicBezTo>
                  <a:cubicBezTo>
                    <a:pt x="6272" y="3928"/>
                    <a:pt x="6257" y="3921"/>
                    <a:pt x="6250" y="3921"/>
                  </a:cubicBezTo>
                  <a:cubicBezTo>
                    <a:pt x="6235" y="3921"/>
                    <a:pt x="6228" y="3928"/>
                    <a:pt x="6228" y="3928"/>
                  </a:cubicBezTo>
                  <a:cubicBezTo>
                    <a:pt x="6228" y="3935"/>
                    <a:pt x="6220" y="3950"/>
                    <a:pt x="6257" y="3994"/>
                  </a:cubicBezTo>
                  <a:cubicBezTo>
                    <a:pt x="6308" y="4053"/>
                    <a:pt x="6294" y="4155"/>
                    <a:pt x="6265" y="4214"/>
                  </a:cubicBezTo>
                  <a:cubicBezTo>
                    <a:pt x="6250" y="4243"/>
                    <a:pt x="6235" y="4258"/>
                    <a:pt x="6220" y="4258"/>
                  </a:cubicBezTo>
                  <a:cubicBezTo>
                    <a:pt x="6213" y="4258"/>
                    <a:pt x="6206" y="4258"/>
                    <a:pt x="6199" y="4250"/>
                  </a:cubicBezTo>
                  <a:cubicBezTo>
                    <a:pt x="6184" y="4236"/>
                    <a:pt x="6169" y="4228"/>
                    <a:pt x="6147" y="4228"/>
                  </a:cubicBezTo>
                  <a:cubicBezTo>
                    <a:pt x="6133" y="4228"/>
                    <a:pt x="6125" y="4228"/>
                    <a:pt x="6125" y="4243"/>
                  </a:cubicBezTo>
                  <a:cubicBezTo>
                    <a:pt x="6125" y="4258"/>
                    <a:pt x="6133" y="4265"/>
                    <a:pt x="6147" y="4280"/>
                  </a:cubicBezTo>
                  <a:cubicBezTo>
                    <a:pt x="6155" y="4294"/>
                    <a:pt x="6169" y="4302"/>
                    <a:pt x="6162" y="4316"/>
                  </a:cubicBezTo>
                  <a:cubicBezTo>
                    <a:pt x="6155" y="4331"/>
                    <a:pt x="6140" y="4331"/>
                    <a:pt x="6140" y="4331"/>
                  </a:cubicBezTo>
                  <a:cubicBezTo>
                    <a:pt x="6103" y="4346"/>
                    <a:pt x="6045" y="4360"/>
                    <a:pt x="5971" y="4419"/>
                  </a:cubicBezTo>
                  <a:cubicBezTo>
                    <a:pt x="5949" y="4441"/>
                    <a:pt x="5935" y="4448"/>
                    <a:pt x="5913" y="4448"/>
                  </a:cubicBezTo>
                  <a:cubicBezTo>
                    <a:pt x="5884" y="4448"/>
                    <a:pt x="5861" y="4426"/>
                    <a:pt x="5839" y="4412"/>
                  </a:cubicBezTo>
                  <a:cubicBezTo>
                    <a:pt x="5832" y="4404"/>
                    <a:pt x="5818" y="4397"/>
                    <a:pt x="5810" y="4390"/>
                  </a:cubicBezTo>
                  <a:lnTo>
                    <a:pt x="5810" y="4390"/>
                  </a:lnTo>
                  <a:cubicBezTo>
                    <a:pt x="5766" y="4390"/>
                    <a:pt x="5678" y="4485"/>
                    <a:pt x="5627" y="4609"/>
                  </a:cubicBezTo>
                  <a:cubicBezTo>
                    <a:pt x="5598" y="4668"/>
                    <a:pt x="5568" y="4697"/>
                    <a:pt x="5546" y="4719"/>
                  </a:cubicBezTo>
                  <a:cubicBezTo>
                    <a:pt x="5539" y="4719"/>
                    <a:pt x="5532" y="4734"/>
                    <a:pt x="5532" y="4734"/>
                  </a:cubicBezTo>
                  <a:lnTo>
                    <a:pt x="5532" y="4734"/>
                  </a:lnTo>
                  <a:cubicBezTo>
                    <a:pt x="5532" y="4734"/>
                    <a:pt x="5539" y="4741"/>
                    <a:pt x="5554" y="4749"/>
                  </a:cubicBezTo>
                  <a:cubicBezTo>
                    <a:pt x="5620" y="4793"/>
                    <a:pt x="5751" y="5005"/>
                    <a:pt x="5759" y="5013"/>
                  </a:cubicBezTo>
                  <a:cubicBezTo>
                    <a:pt x="5766" y="5020"/>
                    <a:pt x="5766" y="5020"/>
                    <a:pt x="5766" y="5020"/>
                  </a:cubicBezTo>
                  <a:cubicBezTo>
                    <a:pt x="5759" y="5027"/>
                    <a:pt x="5759" y="5027"/>
                    <a:pt x="5759" y="5027"/>
                  </a:cubicBezTo>
                  <a:cubicBezTo>
                    <a:pt x="5759" y="5027"/>
                    <a:pt x="5751" y="5071"/>
                    <a:pt x="5766" y="5225"/>
                  </a:cubicBezTo>
                  <a:cubicBezTo>
                    <a:pt x="5766" y="5306"/>
                    <a:pt x="5818" y="5408"/>
                    <a:pt x="5869" y="5503"/>
                  </a:cubicBezTo>
                  <a:cubicBezTo>
                    <a:pt x="5906" y="5591"/>
                    <a:pt x="5942" y="5665"/>
                    <a:pt x="5942" y="5716"/>
                  </a:cubicBezTo>
                  <a:cubicBezTo>
                    <a:pt x="5942" y="5826"/>
                    <a:pt x="5876" y="5994"/>
                    <a:pt x="5803" y="6053"/>
                  </a:cubicBezTo>
                  <a:cubicBezTo>
                    <a:pt x="5781" y="6075"/>
                    <a:pt x="5788" y="6082"/>
                    <a:pt x="5810" y="6119"/>
                  </a:cubicBezTo>
                  <a:cubicBezTo>
                    <a:pt x="5832" y="6156"/>
                    <a:pt x="5861" y="6199"/>
                    <a:pt x="5839" y="6265"/>
                  </a:cubicBezTo>
                  <a:cubicBezTo>
                    <a:pt x="5839" y="6280"/>
                    <a:pt x="5832" y="6295"/>
                    <a:pt x="5825" y="6309"/>
                  </a:cubicBezTo>
                  <a:cubicBezTo>
                    <a:pt x="5803" y="6383"/>
                    <a:pt x="5796" y="6405"/>
                    <a:pt x="5869" y="6471"/>
                  </a:cubicBezTo>
                  <a:cubicBezTo>
                    <a:pt x="5913" y="6507"/>
                    <a:pt x="5927" y="6537"/>
                    <a:pt x="5927" y="6551"/>
                  </a:cubicBezTo>
                  <a:cubicBezTo>
                    <a:pt x="5920" y="6573"/>
                    <a:pt x="5898" y="6588"/>
                    <a:pt x="5876" y="6595"/>
                  </a:cubicBezTo>
                  <a:cubicBezTo>
                    <a:pt x="5854" y="6603"/>
                    <a:pt x="5839" y="6610"/>
                    <a:pt x="5825" y="6625"/>
                  </a:cubicBezTo>
                  <a:cubicBezTo>
                    <a:pt x="5796" y="6639"/>
                    <a:pt x="5803" y="6661"/>
                    <a:pt x="5839" y="6727"/>
                  </a:cubicBezTo>
                  <a:cubicBezTo>
                    <a:pt x="5854" y="6756"/>
                    <a:pt x="5876" y="6793"/>
                    <a:pt x="5898" y="6844"/>
                  </a:cubicBezTo>
                  <a:cubicBezTo>
                    <a:pt x="5942" y="6940"/>
                    <a:pt x="5891" y="7020"/>
                    <a:pt x="5876" y="7049"/>
                  </a:cubicBezTo>
                  <a:cubicBezTo>
                    <a:pt x="5854" y="7079"/>
                    <a:pt x="5825" y="7101"/>
                    <a:pt x="5810" y="7101"/>
                  </a:cubicBezTo>
                  <a:cubicBezTo>
                    <a:pt x="5796" y="7101"/>
                    <a:pt x="5788" y="7094"/>
                    <a:pt x="5781" y="7079"/>
                  </a:cubicBezTo>
                  <a:cubicBezTo>
                    <a:pt x="5766" y="7057"/>
                    <a:pt x="5730" y="7027"/>
                    <a:pt x="5693" y="7027"/>
                  </a:cubicBezTo>
                  <a:cubicBezTo>
                    <a:pt x="5671" y="7027"/>
                    <a:pt x="5649" y="7035"/>
                    <a:pt x="5634" y="7049"/>
                  </a:cubicBezTo>
                  <a:cubicBezTo>
                    <a:pt x="5590" y="7086"/>
                    <a:pt x="5532" y="7130"/>
                    <a:pt x="5466" y="7130"/>
                  </a:cubicBezTo>
                  <a:cubicBezTo>
                    <a:pt x="5437" y="7130"/>
                    <a:pt x="5400" y="7115"/>
                    <a:pt x="5363" y="7101"/>
                  </a:cubicBezTo>
                  <a:cubicBezTo>
                    <a:pt x="5341" y="7086"/>
                    <a:pt x="5319" y="7079"/>
                    <a:pt x="5305" y="7079"/>
                  </a:cubicBezTo>
                  <a:cubicBezTo>
                    <a:pt x="5261" y="7079"/>
                    <a:pt x="5231" y="7115"/>
                    <a:pt x="5202" y="7152"/>
                  </a:cubicBezTo>
                  <a:cubicBezTo>
                    <a:pt x="5195" y="7167"/>
                    <a:pt x="5195" y="7167"/>
                    <a:pt x="5195" y="7167"/>
                  </a:cubicBezTo>
                  <a:cubicBezTo>
                    <a:pt x="5143" y="7218"/>
                    <a:pt x="5063" y="7269"/>
                    <a:pt x="4989" y="7284"/>
                  </a:cubicBezTo>
                  <a:cubicBezTo>
                    <a:pt x="4960" y="7284"/>
                    <a:pt x="4960" y="7284"/>
                    <a:pt x="4960" y="7284"/>
                  </a:cubicBezTo>
                  <a:cubicBezTo>
                    <a:pt x="4894" y="7299"/>
                    <a:pt x="4806" y="7313"/>
                    <a:pt x="4770" y="7343"/>
                  </a:cubicBezTo>
                  <a:cubicBezTo>
                    <a:pt x="4762" y="7357"/>
                    <a:pt x="4762" y="7365"/>
                    <a:pt x="4762" y="7365"/>
                  </a:cubicBezTo>
                  <a:cubicBezTo>
                    <a:pt x="4762" y="7372"/>
                    <a:pt x="4784" y="7387"/>
                    <a:pt x="4806" y="7394"/>
                  </a:cubicBezTo>
                  <a:cubicBezTo>
                    <a:pt x="4821" y="7408"/>
                    <a:pt x="4836" y="7416"/>
                    <a:pt x="4850" y="7423"/>
                  </a:cubicBezTo>
                  <a:cubicBezTo>
                    <a:pt x="4894" y="7453"/>
                    <a:pt x="4989" y="7467"/>
                    <a:pt x="5034" y="7475"/>
                  </a:cubicBezTo>
                  <a:cubicBezTo>
                    <a:pt x="5048" y="7475"/>
                    <a:pt x="5048" y="7475"/>
                    <a:pt x="5048" y="7475"/>
                  </a:cubicBezTo>
                  <a:cubicBezTo>
                    <a:pt x="5048" y="7489"/>
                    <a:pt x="5048" y="7489"/>
                    <a:pt x="5048" y="7489"/>
                  </a:cubicBezTo>
                  <a:cubicBezTo>
                    <a:pt x="5056" y="7504"/>
                    <a:pt x="5056" y="7548"/>
                    <a:pt x="5034" y="7584"/>
                  </a:cubicBezTo>
                  <a:cubicBezTo>
                    <a:pt x="5026" y="7592"/>
                    <a:pt x="5011" y="7599"/>
                    <a:pt x="4982" y="7599"/>
                  </a:cubicBezTo>
                  <a:cubicBezTo>
                    <a:pt x="4946" y="7599"/>
                    <a:pt x="4894" y="7584"/>
                    <a:pt x="4879" y="7577"/>
                  </a:cubicBezTo>
                  <a:cubicBezTo>
                    <a:pt x="4784" y="7636"/>
                    <a:pt x="4784" y="7636"/>
                    <a:pt x="4784" y="7636"/>
                  </a:cubicBezTo>
                  <a:cubicBezTo>
                    <a:pt x="4770" y="7628"/>
                    <a:pt x="4770" y="7628"/>
                    <a:pt x="4770" y="7628"/>
                  </a:cubicBezTo>
                  <a:cubicBezTo>
                    <a:pt x="4770" y="7628"/>
                    <a:pt x="4726" y="7577"/>
                    <a:pt x="4682" y="7577"/>
                  </a:cubicBezTo>
                  <a:cubicBezTo>
                    <a:pt x="4667" y="7577"/>
                    <a:pt x="4652" y="7577"/>
                    <a:pt x="4645" y="7584"/>
                  </a:cubicBezTo>
                  <a:cubicBezTo>
                    <a:pt x="4587" y="7628"/>
                    <a:pt x="4528" y="7658"/>
                    <a:pt x="4462" y="765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" name="Freeform 13"/>
            <p:cNvSpPr>
              <a:spLocks noChangeArrowheads="1"/>
            </p:cNvSpPr>
            <p:nvPr/>
          </p:nvSpPr>
          <p:spPr bwMode="auto">
            <a:xfrm>
              <a:off x="4588662" y="9238936"/>
              <a:ext cx="2573531" cy="2918249"/>
            </a:xfrm>
            <a:custGeom>
              <a:avLst/>
              <a:gdLst>
                <a:gd name="T0" fmla="*/ 4969 w 6698"/>
                <a:gd name="T1" fmla="*/ 359 h 7687"/>
                <a:gd name="T2" fmla="*/ 5386 w 6698"/>
                <a:gd name="T3" fmla="*/ 886 h 7687"/>
                <a:gd name="T4" fmla="*/ 5899 w 6698"/>
                <a:gd name="T5" fmla="*/ 1341 h 7687"/>
                <a:gd name="T6" fmla="*/ 6448 w 6698"/>
                <a:gd name="T7" fmla="*/ 2689 h 7687"/>
                <a:gd name="T8" fmla="*/ 6433 w 6698"/>
                <a:gd name="T9" fmla="*/ 3759 h 7687"/>
                <a:gd name="T10" fmla="*/ 6170 w 6698"/>
                <a:gd name="T11" fmla="*/ 4228 h 7687"/>
                <a:gd name="T12" fmla="*/ 5767 w 6698"/>
                <a:gd name="T13" fmla="*/ 5034 h 7687"/>
                <a:gd name="T14" fmla="*/ 5819 w 6698"/>
                <a:gd name="T15" fmla="*/ 7086 h 7687"/>
                <a:gd name="T16" fmla="*/ 4866 w 6698"/>
                <a:gd name="T17" fmla="*/ 7452 h 7687"/>
                <a:gd name="T18" fmla="*/ 4456 w 6698"/>
                <a:gd name="T19" fmla="*/ 7657 h 7687"/>
                <a:gd name="T20" fmla="*/ 2931 w 6698"/>
                <a:gd name="T21" fmla="*/ 6910 h 7687"/>
                <a:gd name="T22" fmla="*/ 2572 w 6698"/>
                <a:gd name="T23" fmla="*/ 6778 h 7687"/>
                <a:gd name="T24" fmla="*/ 2426 w 6698"/>
                <a:gd name="T25" fmla="*/ 7049 h 7687"/>
                <a:gd name="T26" fmla="*/ 1708 w 6698"/>
                <a:gd name="T27" fmla="*/ 7254 h 7687"/>
                <a:gd name="T28" fmla="*/ 418 w 6698"/>
                <a:gd name="T29" fmla="*/ 7283 h 7687"/>
                <a:gd name="T30" fmla="*/ 213 w 6698"/>
                <a:gd name="T31" fmla="*/ 6309 h 7687"/>
                <a:gd name="T32" fmla="*/ 667 w 6698"/>
                <a:gd name="T33" fmla="*/ 4345 h 7687"/>
                <a:gd name="T34" fmla="*/ 1657 w 6698"/>
                <a:gd name="T35" fmla="*/ 2791 h 7687"/>
                <a:gd name="T36" fmla="*/ 2213 w 6698"/>
                <a:gd name="T37" fmla="*/ 1553 h 7687"/>
                <a:gd name="T38" fmla="*/ 2162 w 6698"/>
                <a:gd name="T39" fmla="*/ 747 h 7687"/>
                <a:gd name="T40" fmla="*/ 2734 w 6698"/>
                <a:gd name="T41" fmla="*/ 828 h 7687"/>
                <a:gd name="T42" fmla="*/ 3327 w 6698"/>
                <a:gd name="T43" fmla="*/ 982 h 7687"/>
                <a:gd name="T44" fmla="*/ 3620 w 6698"/>
                <a:gd name="T45" fmla="*/ 791 h 7687"/>
                <a:gd name="T46" fmla="*/ 4272 w 6698"/>
                <a:gd name="T47" fmla="*/ 425 h 7687"/>
                <a:gd name="T48" fmla="*/ 4360 w 6698"/>
                <a:gd name="T49" fmla="*/ 102 h 7687"/>
                <a:gd name="T50" fmla="*/ 4727 w 6698"/>
                <a:gd name="T51" fmla="*/ 0 h 7687"/>
                <a:gd name="T52" fmla="*/ 4397 w 6698"/>
                <a:gd name="T53" fmla="*/ 44 h 7687"/>
                <a:gd name="T54" fmla="*/ 4016 w 6698"/>
                <a:gd name="T55" fmla="*/ 220 h 7687"/>
                <a:gd name="T56" fmla="*/ 4192 w 6698"/>
                <a:gd name="T57" fmla="*/ 483 h 7687"/>
                <a:gd name="T58" fmla="*/ 3650 w 6698"/>
                <a:gd name="T59" fmla="*/ 710 h 7687"/>
                <a:gd name="T60" fmla="*/ 3481 w 6698"/>
                <a:gd name="T61" fmla="*/ 916 h 7687"/>
                <a:gd name="T62" fmla="*/ 3056 w 6698"/>
                <a:gd name="T63" fmla="*/ 1289 h 7687"/>
                <a:gd name="T64" fmla="*/ 3027 w 6698"/>
                <a:gd name="T65" fmla="*/ 864 h 7687"/>
                <a:gd name="T66" fmla="*/ 2485 w 6698"/>
                <a:gd name="T67" fmla="*/ 886 h 7687"/>
                <a:gd name="T68" fmla="*/ 2126 w 6698"/>
                <a:gd name="T69" fmla="*/ 696 h 7687"/>
                <a:gd name="T70" fmla="*/ 2272 w 6698"/>
                <a:gd name="T71" fmla="*/ 1341 h 7687"/>
                <a:gd name="T72" fmla="*/ 2008 w 6698"/>
                <a:gd name="T73" fmla="*/ 2066 h 7687"/>
                <a:gd name="T74" fmla="*/ 1642 w 6698"/>
                <a:gd name="T75" fmla="*/ 2770 h 7687"/>
                <a:gd name="T76" fmla="*/ 1056 w 6698"/>
                <a:gd name="T77" fmla="*/ 3612 h 7687"/>
                <a:gd name="T78" fmla="*/ 448 w 6698"/>
                <a:gd name="T79" fmla="*/ 5063 h 7687"/>
                <a:gd name="T80" fmla="*/ 184 w 6698"/>
                <a:gd name="T81" fmla="*/ 6301 h 7687"/>
                <a:gd name="T82" fmla="*/ 198 w 6698"/>
                <a:gd name="T83" fmla="*/ 7349 h 7687"/>
                <a:gd name="T84" fmla="*/ 682 w 6698"/>
                <a:gd name="T85" fmla="*/ 7445 h 7687"/>
                <a:gd name="T86" fmla="*/ 2169 w 6698"/>
                <a:gd name="T87" fmla="*/ 7422 h 7687"/>
                <a:gd name="T88" fmla="*/ 2572 w 6698"/>
                <a:gd name="T89" fmla="*/ 7181 h 7687"/>
                <a:gd name="T90" fmla="*/ 2155 w 6698"/>
                <a:gd name="T91" fmla="*/ 6924 h 7687"/>
                <a:gd name="T92" fmla="*/ 2800 w 6698"/>
                <a:gd name="T93" fmla="*/ 6807 h 7687"/>
                <a:gd name="T94" fmla="*/ 2990 w 6698"/>
                <a:gd name="T95" fmla="*/ 7063 h 7687"/>
                <a:gd name="T96" fmla="*/ 3840 w 6698"/>
                <a:gd name="T97" fmla="*/ 7203 h 7687"/>
                <a:gd name="T98" fmla="*/ 4822 w 6698"/>
                <a:gd name="T99" fmla="*/ 7657 h 7687"/>
                <a:gd name="T100" fmla="*/ 4800 w 6698"/>
                <a:gd name="T101" fmla="*/ 7379 h 7687"/>
                <a:gd name="T102" fmla="*/ 5665 w 6698"/>
                <a:gd name="T103" fmla="*/ 7078 h 7687"/>
                <a:gd name="T104" fmla="*/ 5965 w 6698"/>
                <a:gd name="T105" fmla="*/ 6572 h 7687"/>
                <a:gd name="T106" fmla="*/ 5804 w 6698"/>
                <a:gd name="T107" fmla="*/ 5041 h 7687"/>
                <a:gd name="T108" fmla="*/ 5936 w 6698"/>
                <a:gd name="T109" fmla="*/ 4477 h 7687"/>
                <a:gd name="T110" fmla="*/ 6302 w 6698"/>
                <a:gd name="T111" fmla="*/ 4235 h 7687"/>
                <a:gd name="T112" fmla="*/ 6375 w 6698"/>
                <a:gd name="T113" fmla="*/ 3759 h 7687"/>
                <a:gd name="T114" fmla="*/ 6543 w 6698"/>
                <a:gd name="T115" fmla="*/ 3495 h 7687"/>
                <a:gd name="T116" fmla="*/ 6060 w 6698"/>
                <a:gd name="T117" fmla="*/ 2308 h 7687"/>
                <a:gd name="T118" fmla="*/ 5899 w 6698"/>
                <a:gd name="T119" fmla="*/ 1370 h 7687"/>
                <a:gd name="T120" fmla="*/ 5606 w 6698"/>
                <a:gd name="T121" fmla="*/ 894 h 7687"/>
                <a:gd name="T122" fmla="*/ 5284 w 6698"/>
                <a:gd name="T123" fmla="*/ 601 h 7687"/>
                <a:gd name="T124" fmla="*/ 4969 w 6698"/>
                <a:gd name="T125" fmla="*/ 329 h 7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98" h="7687">
                  <a:moveTo>
                    <a:pt x="4727" y="36"/>
                  </a:moveTo>
                  <a:lnTo>
                    <a:pt x="4727" y="36"/>
                  </a:lnTo>
                  <a:cubicBezTo>
                    <a:pt x="4734" y="36"/>
                    <a:pt x="4741" y="36"/>
                    <a:pt x="4749" y="36"/>
                  </a:cubicBezTo>
                  <a:cubicBezTo>
                    <a:pt x="4785" y="51"/>
                    <a:pt x="4771" y="161"/>
                    <a:pt x="4763" y="256"/>
                  </a:cubicBezTo>
                  <a:cubicBezTo>
                    <a:pt x="4756" y="322"/>
                    <a:pt x="4749" y="388"/>
                    <a:pt x="4771" y="388"/>
                  </a:cubicBezTo>
                  <a:cubicBezTo>
                    <a:pt x="4778" y="388"/>
                    <a:pt x="4793" y="373"/>
                    <a:pt x="4807" y="351"/>
                  </a:cubicBezTo>
                  <a:cubicBezTo>
                    <a:pt x="4837" y="308"/>
                    <a:pt x="4844" y="285"/>
                    <a:pt x="4859" y="285"/>
                  </a:cubicBezTo>
                  <a:cubicBezTo>
                    <a:pt x="4873" y="285"/>
                    <a:pt x="4888" y="300"/>
                    <a:pt x="4917" y="329"/>
                  </a:cubicBezTo>
                  <a:cubicBezTo>
                    <a:pt x="4939" y="351"/>
                    <a:pt x="4954" y="359"/>
                    <a:pt x="4969" y="359"/>
                  </a:cubicBezTo>
                  <a:cubicBezTo>
                    <a:pt x="5012" y="359"/>
                    <a:pt x="5034" y="271"/>
                    <a:pt x="5093" y="256"/>
                  </a:cubicBezTo>
                  <a:cubicBezTo>
                    <a:pt x="5093" y="249"/>
                    <a:pt x="5100" y="249"/>
                    <a:pt x="5108" y="249"/>
                  </a:cubicBezTo>
                  <a:cubicBezTo>
                    <a:pt x="5166" y="249"/>
                    <a:pt x="5188" y="366"/>
                    <a:pt x="5181" y="410"/>
                  </a:cubicBezTo>
                  <a:cubicBezTo>
                    <a:pt x="5174" y="454"/>
                    <a:pt x="5181" y="491"/>
                    <a:pt x="5240" y="513"/>
                  </a:cubicBezTo>
                  <a:cubicBezTo>
                    <a:pt x="5298" y="535"/>
                    <a:pt x="5284" y="505"/>
                    <a:pt x="5218" y="703"/>
                  </a:cubicBezTo>
                  <a:cubicBezTo>
                    <a:pt x="5188" y="784"/>
                    <a:pt x="5188" y="813"/>
                    <a:pt x="5203" y="813"/>
                  </a:cubicBezTo>
                  <a:cubicBezTo>
                    <a:pt x="5232" y="813"/>
                    <a:pt x="5284" y="740"/>
                    <a:pt x="5306" y="703"/>
                  </a:cubicBezTo>
                  <a:cubicBezTo>
                    <a:pt x="5313" y="696"/>
                    <a:pt x="5313" y="696"/>
                    <a:pt x="5320" y="696"/>
                  </a:cubicBezTo>
                  <a:cubicBezTo>
                    <a:pt x="5350" y="696"/>
                    <a:pt x="5386" y="820"/>
                    <a:pt x="5386" y="886"/>
                  </a:cubicBezTo>
                  <a:cubicBezTo>
                    <a:pt x="5386" y="960"/>
                    <a:pt x="5401" y="1026"/>
                    <a:pt x="5481" y="1026"/>
                  </a:cubicBezTo>
                  <a:cubicBezTo>
                    <a:pt x="5496" y="1026"/>
                    <a:pt x="5511" y="1026"/>
                    <a:pt x="5518" y="1026"/>
                  </a:cubicBezTo>
                  <a:cubicBezTo>
                    <a:pt x="5635" y="1003"/>
                    <a:pt x="5599" y="982"/>
                    <a:pt x="5635" y="908"/>
                  </a:cubicBezTo>
                  <a:cubicBezTo>
                    <a:pt x="5657" y="872"/>
                    <a:pt x="5687" y="842"/>
                    <a:pt x="5709" y="842"/>
                  </a:cubicBezTo>
                  <a:cubicBezTo>
                    <a:pt x="5731" y="842"/>
                    <a:pt x="5745" y="857"/>
                    <a:pt x="5745" y="901"/>
                  </a:cubicBezTo>
                  <a:cubicBezTo>
                    <a:pt x="5760" y="989"/>
                    <a:pt x="5797" y="1003"/>
                    <a:pt x="5782" y="1077"/>
                  </a:cubicBezTo>
                  <a:cubicBezTo>
                    <a:pt x="5767" y="1158"/>
                    <a:pt x="5804" y="1172"/>
                    <a:pt x="5848" y="1194"/>
                  </a:cubicBezTo>
                  <a:cubicBezTo>
                    <a:pt x="5899" y="1216"/>
                    <a:pt x="5907" y="1341"/>
                    <a:pt x="5907" y="1341"/>
                  </a:cubicBezTo>
                  <a:lnTo>
                    <a:pt x="5899" y="1341"/>
                  </a:lnTo>
                  <a:cubicBezTo>
                    <a:pt x="5877" y="1341"/>
                    <a:pt x="5833" y="1348"/>
                    <a:pt x="5804" y="1399"/>
                  </a:cubicBezTo>
                  <a:cubicBezTo>
                    <a:pt x="5767" y="1465"/>
                    <a:pt x="5819" y="1590"/>
                    <a:pt x="5862" y="1634"/>
                  </a:cubicBezTo>
                  <a:cubicBezTo>
                    <a:pt x="5907" y="1678"/>
                    <a:pt x="5841" y="1758"/>
                    <a:pt x="5841" y="1861"/>
                  </a:cubicBezTo>
                  <a:cubicBezTo>
                    <a:pt x="5841" y="1963"/>
                    <a:pt x="5972" y="2081"/>
                    <a:pt x="6053" y="2110"/>
                  </a:cubicBezTo>
                  <a:cubicBezTo>
                    <a:pt x="6134" y="2147"/>
                    <a:pt x="6134" y="2191"/>
                    <a:pt x="6090" y="2227"/>
                  </a:cubicBezTo>
                  <a:cubicBezTo>
                    <a:pt x="6046" y="2257"/>
                    <a:pt x="6009" y="2293"/>
                    <a:pt x="6031" y="2330"/>
                  </a:cubicBezTo>
                  <a:cubicBezTo>
                    <a:pt x="6053" y="2359"/>
                    <a:pt x="6112" y="2352"/>
                    <a:pt x="6119" y="2396"/>
                  </a:cubicBezTo>
                  <a:cubicBezTo>
                    <a:pt x="6134" y="2440"/>
                    <a:pt x="6097" y="2484"/>
                    <a:pt x="6178" y="2506"/>
                  </a:cubicBezTo>
                  <a:cubicBezTo>
                    <a:pt x="6258" y="2528"/>
                    <a:pt x="6324" y="2564"/>
                    <a:pt x="6448" y="2689"/>
                  </a:cubicBezTo>
                  <a:cubicBezTo>
                    <a:pt x="6572" y="2813"/>
                    <a:pt x="6587" y="3033"/>
                    <a:pt x="6572" y="3077"/>
                  </a:cubicBezTo>
                  <a:cubicBezTo>
                    <a:pt x="6565" y="3121"/>
                    <a:pt x="6506" y="3099"/>
                    <a:pt x="6528" y="3129"/>
                  </a:cubicBezTo>
                  <a:cubicBezTo>
                    <a:pt x="6550" y="3165"/>
                    <a:pt x="6572" y="3224"/>
                    <a:pt x="6528" y="3290"/>
                  </a:cubicBezTo>
                  <a:cubicBezTo>
                    <a:pt x="6484" y="3356"/>
                    <a:pt x="6484" y="3436"/>
                    <a:pt x="6521" y="3510"/>
                  </a:cubicBezTo>
                  <a:cubicBezTo>
                    <a:pt x="6550" y="3576"/>
                    <a:pt x="6594" y="3517"/>
                    <a:pt x="6646" y="3598"/>
                  </a:cubicBezTo>
                  <a:cubicBezTo>
                    <a:pt x="6690" y="3678"/>
                    <a:pt x="6623" y="3729"/>
                    <a:pt x="6587" y="3729"/>
                  </a:cubicBezTo>
                  <a:cubicBezTo>
                    <a:pt x="6572" y="3729"/>
                    <a:pt x="6550" y="3729"/>
                    <a:pt x="6536" y="3729"/>
                  </a:cubicBezTo>
                  <a:cubicBezTo>
                    <a:pt x="6506" y="3729"/>
                    <a:pt x="6470" y="3737"/>
                    <a:pt x="6448" y="3759"/>
                  </a:cubicBezTo>
                  <a:cubicBezTo>
                    <a:pt x="6448" y="3759"/>
                    <a:pt x="6440" y="3759"/>
                    <a:pt x="6433" y="3759"/>
                  </a:cubicBezTo>
                  <a:cubicBezTo>
                    <a:pt x="6404" y="3759"/>
                    <a:pt x="6368" y="3686"/>
                    <a:pt x="6280" y="3663"/>
                  </a:cubicBezTo>
                  <a:cubicBezTo>
                    <a:pt x="6251" y="3656"/>
                    <a:pt x="6229" y="3656"/>
                    <a:pt x="6214" y="3656"/>
                  </a:cubicBezTo>
                  <a:cubicBezTo>
                    <a:pt x="6170" y="3656"/>
                    <a:pt x="6163" y="3678"/>
                    <a:pt x="6148" y="3744"/>
                  </a:cubicBezTo>
                  <a:cubicBezTo>
                    <a:pt x="6119" y="3832"/>
                    <a:pt x="6302" y="3927"/>
                    <a:pt x="6302" y="3927"/>
                  </a:cubicBezTo>
                  <a:cubicBezTo>
                    <a:pt x="6295" y="3927"/>
                    <a:pt x="6280" y="3920"/>
                    <a:pt x="6273" y="3920"/>
                  </a:cubicBezTo>
                  <a:cubicBezTo>
                    <a:pt x="6229" y="3920"/>
                    <a:pt x="6214" y="3949"/>
                    <a:pt x="6273" y="4015"/>
                  </a:cubicBezTo>
                  <a:cubicBezTo>
                    <a:pt x="6331" y="4089"/>
                    <a:pt x="6280" y="4257"/>
                    <a:pt x="6243" y="4257"/>
                  </a:cubicBezTo>
                  <a:lnTo>
                    <a:pt x="6236" y="4257"/>
                  </a:lnTo>
                  <a:cubicBezTo>
                    <a:pt x="6214" y="4235"/>
                    <a:pt x="6192" y="4228"/>
                    <a:pt x="6170" y="4228"/>
                  </a:cubicBezTo>
                  <a:cubicBezTo>
                    <a:pt x="6156" y="4228"/>
                    <a:pt x="6141" y="4235"/>
                    <a:pt x="6134" y="4257"/>
                  </a:cubicBezTo>
                  <a:cubicBezTo>
                    <a:pt x="6119" y="4301"/>
                    <a:pt x="6200" y="4323"/>
                    <a:pt x="6156" y="4330"/>
                  </a:cubicBezTo>
                  <a:cubicBezTo>
                    <a:pt x="6112" y="4345"/>
                    <a:pt x="6053" y="4367"/>
                    <a:pt x="5987" y="4426"/>
                  </a:cubicBezTo>
                  <a:cubicBezTo>
                    <a:pt x="5965" y="4440"/>
                    <a:pt x="5950" y="4448"/>
                    <a:pt x="5936" y="4448"/>
                  </a:cubicBezTo>
                  <a:cubicBezTo>
                    <a:pt x="5899" y="4448"/>
                    <a:pt x="5870" y="4404"/>
                    <a:pt x="5841" y="4389"/>
                  </a:cubicBezTo>
                  <a:cubicBezTo>
                    <a:pt x="5833" y="4389"/>
                    <a:pt x="5833" y="4389"/>
                    <a:pt x="5826" y="4389"/>
                  </a:cubicBezTo>
                  <a:cubicBezTo>
                    <a:pt x="5774" y="4389"/>
                    <a:pt x="5687" y="4499"/>
                    <a:pt x="5635" y="4616"/>
                  </a:cubicBezTo>
                  <a:cubicBezTo>
                    <a:pt x="5577" y="4741"/>
                    <a:pt x="5496" y="4733"/>
                    <a:pt x="5569" y="4777"/>
                  </a:cubicBezTo>
                  <a:cubicBezTo>
                    <a:pt x="5635" y="4821"/>
                    <a:pt x="5767" y="5034"/>
                    <a:pt x="5767" y="5034"/>
                  </a:cubicBezTo>
                  <a:cubicBezTo>
                    <a:pt x="5767" y="5034"/>
                    <a:pt x="5760" y="5085"/>
                    <a:pt x="5767" y="5239"/>
                  </a:cubicBezTo>
                  <a:cubicBezTo>
                    <a:pt x="5782" y="5400"/>
                    <a:pt x="5950" y="5627"/>
                    <a:pt x="5950" y="5730"/>
                  </a:cubicBezTo>
                  <a:cubicBezTo>
                    <a:pt x="5950" y="5832"/>
                    <a:pt x="5884" y="6001"/>
                    <a:pt x="5819" y="6060"/>
                  </a:cubicBezTo>
                  <a:cubicBezTo>
                    <a:pt x="5745" y="6111"/>
                    <a:pt x="5884" y="6162"/>
                    <a:pt x="5848" y="6272"/>
                  </a:cubicBezTo>
                  <a:cubicBezTo>
                    <a:pt x="5819" y="6382"/>
                    <a:pt x="5782" y="6411"/>
                    <a:pt x="5884" y="6499"/>
                  </a:cubicBezTo>
                  <a:cubicBezTo>
                    <a:pt x="5987" y="6587"/>
                    <a:pt x="5907" y="6580"/>
                    <a:pt x="5841" y="6624"/>
                  </a:cubicBezTo>
                  <a:cubicBezTo>
                    <a:pt x="5767" y="6668"/>
                    <a:pt x="5848" y="6727"/>
                    <a:pt x="5907" y="6858"/>
                  </a:cubicBezTo>
                  <a:cubicBezTo>
                    <a:pt x="5958" y="6983"/>
                    <a:pt x="5870" y="7100"/>
                    <a:pt x="5833" y="7100"/>
                  </a:cubicBezTo>
                  <a:cubicBezTo>
                    <a:pt x="5826" y="7100"/>
                    <a:pt x="5819" y="7093"/>
                    <a:pt x="5819" y="7086"/>
                  </a:cubicBezTo>
                  <a:cubicBezTo>
                    <a:pt x="5804" y="7056"/>
                    <a:pt x="5760" y="7027"/>
                    <a:pt x="5716" y="7027"/>
                  </a:cubicBezTo>
                  <a:cubicBezTo>
                    <a:pt x="5694" y="7027"/>
                    <a:pt x="5672" y="7034"/>
                    <a:pt x="5643" y="7056"/>
                  </a:cubicBezTo>
                  <a:cubicBezTo>
                    <a:pt x="5599" y="7093"/>
                    <a:pt x="5548" y="7122"/>
                    <a:pt x="5489" y="7122"/>
                  </a:cubicBezTo>
                  <a:cubicBezTo>
                    <a:pt x="5460" y="7122"/>
                    <a:pt x="5430" y="7115"/>
                    <a:pt x="5393" y="7100"/>
                  </a:cubicBezTo>
                  <a:cubicBezTo>
                    <a:pt x="5372" y="7086"/>
                    <a:pt x="5350" y="7078"/>
                    <a:pt x="5328" y="7078"/>
                  </a:cubicBezTo>
                  <a:cubicBezTo>
                    <a:pt x="5269" y="7078"/>
                    <a:pt x="5240" y="7129"/>
                    <a:pt x="5203" y="7166"/>
                  </a:cubicBezTo>
                  <a:cubicBezTo>
                    <a:pt x="5159" y="7225"/>
                    <a:pt x="5079" y="7269"/>
                    <a:pt x="5012" y="7283"/>
                  </a:cubicBezTo>
                  <a:cubicBezTo>
                    <a:pt x="4947" y="7291"/>
                    <a:pt x="4829" y="7305"/>
                    <a:pt x="4785" y="7349"/>
                  </a:cubicBezTo>
                  <a:cubicBezTo>
                    <a:pt x="4741" y="7393"/>
                    <a:pt x="4793" y="7408"/>
                    <a:pt x="4866" y="7452"/>
                  </a:cubicBezTo>
                  <a:cubicBezTo>
                    <a:pt x="4910" y="7481"/>
                    <a:pt x="5005" y="7496"/>
                    <a:pt x="5057" y="7503"/>
                  </a:cubicBezTo>
                  <a:cubicBezTo>
                    <a:pt x="5057" y="7518"/>
                    <a:pt x="5064" y="7562"/>
                    <a:pt x="5042" y="7584"/>
                  </a:cubicBezTo>
                  <a:cubicBezTo>
                    <a:pt x="5042" y="7598"/>
                    <a:pt x="5027" y="7598"/>
                    <a:pt x="5005" y="7598"/>
                  </a:cubicBezTo>
                  <a:cubicBezTo>
                    <a:pt x="4961" y="7598"/>
                    <a:pt x="4895" y="7577"/>
                    <a:pt x="4895" y="7577"/>
                  </a:cubicBezTo>
                  <a:cubicBezTo>
                    <a:pt x="4807" y="7635"/>
                    <a:pt x="4807" y="7635"/>
                    <a:pt x="4807" y="7635"/>
                  </a:cubicBezTo>
                  <a:cubicBezTo>
                    <a:pt x="4807" y="7635"/>
                    <a:pt x="4756" y="7577"/>
                    <a:pt x="4705" y="7577"/>
                  </a:cubicBezTo>
                  <a:cubicBezTo>
                    <a:pt x="4690" y="7577"/>
                    <a:pt x="4675" y="7577"/>
                    <a:pt x="4661" y="7584"/>
                  </a:cubicBezTo>
                  <a:cubicBezTo>
                    <a:pt x="4602" y="7628"/>
                    <a:pt x="4551" y="7657"/>
                    <a:pt x="4485" y="7657"/>
                  </a:cubicBezTo>
                  <a:cubicBezTo>
                    <a:pt x="4478" y="7657"/>
                    <a:pt x="4463" y="7657"/>
                    <a:pt x="4456" y="7657"/>
                  </a:cubicBezTo>
                  <a:cubicBezTo>
                    <a:pt x="4375" y="7642"/>
                    <a:pt x="4287" y="7437"/>
                    <a:pt x="4250" y="7364"/>
                  </a:cubicBezTo>
                  <a:cubicBezTo>
                    <a:pt x="4221" y="7283"/>
                    <a:pt x="3921" y="7210"/>
                    <a:pt x="3855" y="7181"/>
                  </a:cubicBezTo>
                  <a:cubicBezTo>
                    <a:pt x="3789" y="7144"/>
                    <a:pt x="3642" y="7086"/>
                    <a:pt x="3540" y="7063"/>
                  </a:cubicBezTo>
                  <a:cubicBezTo>
                    <a:pt x="3518" y="7063"/>
                    <a:pt x="3496" y="7056"/>
                    <a:pt x="3474" y="7056"/>
                  </a:cubicBezTo>
                  <a:cubicBezTo>
                    <a:pt x="3393" y="7056"/>
                    <a:pt x="3312" y="7086"/>
                    <a:pt x="3247" y="7137"/>
                  </a:cubicBezTo>
                  <a:cubicBezTo>
                    <a:pt x="3210" y="7151"/>
                    <a:pt x="3181" y="7166"/>
                    <a:pt x="3159" y="7166"/>
                  </a:cubicBezTo>
                  <a:cubicBezTo>
                    <a:pt x="3115" y="7166"/>
                    <a:pt x="3085" y="7137"/>
                    <a:pt x="3093" y="7100"/>
                  </a:cubicBezTo>
                  <a:cubicBezTo>
                    <a:pt x="3107" y="7041"/>
                    <a:pt x="3093" y="6998"/>
                    <a:pt x="3005" y="6939"/>
                  </a:cubicBezTo>
                  <a:cubicBezTo>
                    <a:pt x="2968" y="6917"/>
                    <a:pt x="2946" y="6910"/>
                    <a:pt x="2931" y="6910"/>
                  </a:cubicBezTo>
                  <a:cubicBezTo>
                    <a:pt x="2902" y="6910"/>
                    <a:pt x="2895" y="6932"/>
                    <a:pt x="2924" y="6961"/>
                  </a:cubicBezTo>
                  <a:cubicBezTo>
                    <a:pt x="2968" y="7012"/>
                    <a:pt x="2968" y="7063"/>
                    <a:pt x="2939" y="7063"/>
                  </a:cubicBezTo>
                  <a:cubicBezTo>
                    <a:pt x="2910" y="7063"/>
                    <a:pt x="2866" y="7020"/>
                    <a:pt x="2822" y="7020"/>
                  </a:cubicBezTo>
                  <a:lnTo>
                    <a:pt x="2814" y="7020"/>
                  </a:lnTo>
                  <a:cubicBezTo>
                    <a:pt x="2800" y="7020"/>
                    <a:pt x="2792" y="7027"/>
                    <a:pt x="2778" y="7027"/>
                  </a:cubicBezTo>
                  <a:cubicBezTo>
                    <a:pt x="2726" y="7027"/>
                    <a:pt x="2660" y="7005"/>
                    <a:pt x="2675" y="6954"/>
                  </a:cubicBezTo>
                  <a:cubicBezTo>
                    <a:pt x="2697" y="6888"/>
                    <a:pt x="2778" y="6895"/>
                    <a:pt x="2822" y="6829"/>
                  </a:cubicBezTo>
                  <a:cubicBezTo>
                    <a:pt x="2866" y="6763"/>
                    <a:pt x="2631" y="6682"/>
                    <a:pt x="2631" y="6682"/>
                  </a:cubicBezTo>
                  <a:cubicBezTo>
                    <a:pt x="2631" y="6741"/>
                    <a:pt x="2602" y="6778"/>
                    <a:pt x="2572" y="6778"/>
                  </a:cubicBezTo>
                  <a:cubicBezTo>
                    <a:pt x="2558" y="6778"/>
                    <a:pt x="2543" y="6763"/>
                    <a:pt x="2543" y="6734"/>
                  </a:cubicBezTo>
                  <a:cubicBezTo>
                    <a:pt x="2536" y="6682"/>
                    <a:pt x="2514" y="6660"/>
                    <a:pt x="2477" y="6660"/>
                  </a:cubicBezTo>
                  <a:cubicBezTo>
                    <a:pt x="2462" y="6660"/>
                    <a:pt x="2440" y="6668"/>
                    <a:pt x="2419" y="6682"/>
                  </a:cubicBezTo>
                  <a:cubicBezTo>
                    <a:pt x="2345" y="6727"/>
                    <a:pt x="2221" y="6712"/>
                    <a:pt x="2213" y="6763"/>
                  </a:cubicBezTo>
                  <a:cubicBezTo>
                    <a:pt x="2199" y="6807"/>
                    <a:pt x="2199" y="6873"/>
                    <a:pt x="2140" y="6895"/>
                  </a:cubicBezTo>
                  <a:cubicBezTo>
                    <a:pt x="2089" y="6917"/>
                    <a:pt x="2052" y="7034"/>
                    <a:pt x="2111" y="7100"/>
                  </a:cubicBezTo>
                  <a:cubicBezTo>
                    <a:pt x="2140" y="7137"/>
                    <a:pt x="2184" y="7151"/>
                    <a:pt x="2221" y="7151"/>
                  </a:cubicBezTo>
                  <a:cubicBezTo>
                    <a:pt x="2265" y="7151"/>
                    <a:pt x="2301" y="7137"/>
                    <a:pt x="2323" y="7122"/>
                  </a:cubicBezTo>
                  <a:cubicBezTo>
                    <a:pt x="2367" y="7100"/>
                    <a:pt x="2375" y="7049"/>
                    <a:pt x="2426" y="7049"/>
                  </a:cubicBezTo>
                  <a:cubicBezTo>
                    <a:pt x="2440" y="7049"/>
                    <a:pt x="2462" y="7049"/>
                    <a:pt x="2492" y="7063"/>
                  </a:cubicBezTo>
                  <a:cubicBezTo>
                    <a:pt x="2617" y="7122"/>
                    <a:pt x="2529" y="7144"/>
                    <a:pt x="2514" y="7225"/>
                  </a:cubicBezTo>
                  <a:cubicBezTo>
                    <a:pt x="2507" y="7305"/>
                    <a:pt x="2440" y="7305"/>
                    <a:pt x="2440" y="7305"/>
                  </a:cubicBezTo>
                  <a:cubicBezTo>
                    <a:pt x="2440" y="7283"/>
                    <a:pt x="2382" y="7232"/>
                    <a:pt x="2309" y="7232"/>
                  </a:cubicBezTo>
                  <a:cubicBezTo>
                    <a:pt x="2287" y="7232"/>
                    <a:pt x="2265" y="7239"/>
                    <a:pt x="2243" y="7247"/>
                  </a:cubicBezTo>
                  <a:cubicBezTo>
                    <a:pt x="2140" y="7291"/>
                    <a:pt x="2169" y="7393"/>
                    <a:pt x="2169" y="7393"/>
                  </a:cubicBezTo>
                  <a:cubicBezTo>
                    <a:pt x="2103" y="7408"/>
                    <a:pt x="2045" y="7415"/>
                    <a:pt x="1994" y="7415"/>
                  </a:cubicBezTo>
                  <a:cubicBezTo>
                    <a:pt x="1898" y="7415"/>
                    <a:pt x="1832" y="7386"/>
                    <a:pt x="1796" y="7291"/>
                  </a:cubicBezTo>
                  <a:cubicBezTo>
                    <a:pt x="1781" y="7261"/>
                    <a:pt x="1752" y="7254"/>
                    <a:pt x="1708" y="7254"/>
                  </a:cubicBezTo>
                  <a:cubicBezTo>
                    <a:pt x="1612" y="7254"/>
                    <a:pt x="1451" y="7327"/>
                    <a:pt x="1386" y="7393"/>
                  </a:cubicBezTo>
                  <a:cubicBezTo>
                    <a:pt x="1319" y="7459"/>
                    <a:pt x="1136" y="7481"/>
                    <a:pt x="1034" y="7481"/>
                  </a:cubicBezTo>
                  <a:cubicBezTo>
                    <a:pt x="997" y="7481"/>
                    <a:pt x="968" y="7474"/>
                    <a:pt x="953" y="7474"/>
                  </a:cubicBezTo>
                  <a:cubicBezTo>
                    <a:pt x="909" y="7459"/>
                    <a:pt x="917" y="7327"/>
                    <a:pt x="865" y="7327"/>
                  </a:cubicBezTo>
                  <a:cubicBezTo>
                    <a:pt x="807" y="7327"/>
                    <a:pt x="623" y="7452"/>
                    <a:pt x="521" y="7496"/>
                  </a:cubicBezTo>
                  <a:cubicBezTo>
                    <a:pt x="499" y="7510"/>
                    <a:pt x="477" y="7510"/>
                    <a:pt x="455" y="7510"/>
                  </a:cubicBezTo>
                  <a:cubicBezTo>
                    <a:pt x="396" y="7510"/>
                    <a:pt x="360" y="7467"/>
                    <a:pt x="374" y="7430"/>
                  </a:cubicBezTo>
                  <a:cubicBezTo>
                    <a:pt x="396" y="7386"/>
                    <a:pt x="455" y="7335"/>
                    <a:pt x="440" y="7305"/>
                  </a:cubicBezTo>
                  <a:cubicBezTo>
                    <a:pt x="440" y="7291"/>
                    <a:pt x="433" y="7283"/>
                    <a:pt x="418" y="7283"/>
                  </a:cubicBezTo>
                  <a:cubicBezTo>
                    <a:pt x="404" y="7283"/>
                    <a:pt x="381" y="7298"/>
                    <a:pt x="352" y="7335"/>
                  </a:cubicBezTo>
                  <a:cubicBezTo>
                    <a:pt x="330" y="7364"/>
                    <a:pt x="308" y="7379"/>
                    <a:pt x="286" y="7379"/>
                  </a:cubicBezTo>
                  <a:cubicBezTo>
                    <a:pt x="257" y="7379"/>
                    <a:pt x="235" y="7357"/>
                    <a:pt x="228" y="7335"/>
                  </a:cubicBezTo>
                  <a:cubicBezTo>
                    <a:pt x="213" y="7305"/>
                    <a:pt x="242" y="7232"/>
                    <a:pt x="147" y="7159"/>
                  </a:cubicBezTo>
                  <a:cubicBezTo>
                    <a:pt x="59" y="7078"/>
                    <a:pt x="45" y="6998"/>
                    <a:pt x="81" y="6932"/>
                  </a:cubicBezTo>
                  <a:cubicBezTo>
                    <a:pt x="118" y="6858"/>
                    <a:pt x="140" y="6851"/>
                    <a:pt x="118" y="6792"/>
                  </a:cubicBezTo>
                  <a:cubicBezTo>
                    <a:pt x="88" y="6734"/>
                    <a:pt x="88" y="6682"/>
                    <a:pt x="140" y="6609"/>
                  </a:cubicBezTo>
                  <a:cubicBezTo>
                    <a:pt x="184" y="6543"/>
                    <a:pt x="191" y="6543"/>
                    <a:pt x="169" y="6463"/>
                  </a:cubicBezTo>
                  <a:cubicBezTo>
                    <a:pt x="147" y="6382"/>
                    <a:pt x="213" y="6309"/>
                    <a:pt x="213" y="6309"/>
                  </a:cubicBezTo>
                  <a:cubicBezTo>
                    <a:pt x="206" y="6258"/>
                    <a:pt x="228" y="6191"/>
                    <a:pt x="272" y="6148"/>
                  </a:cubicBezTo>
                  <a:cubicBezTo>
                    <a:pt x="316" y="6104"/>
                    <a:pt x="330" y="6045"/>
                    <a:pt x="308" y="6001"/>
                  </a:cubicBezTo>
                  <a:cubicBezTo>
                    <a:pt x="286" y="5957"/>
                    <a:pt x="228" y="5877"/>
                    <a:pt x="206" y="5774"/>
                  </a:cubicBezTo>
                  <a:cubicBezTo>
                    <a:pt x="184" y="5671"/>
                    <a:pt x="213" y="5569"/>
                    <a:pt x="250" y="5525"/>
                  </a:cubicBezTo>
                  <a:cubicBezTo>
                    <a:pt x="286" y="5481"/>
                    <a:pt x="294" y="5408"/>
                    <a:pt x="352" y="5312"/>
                  </a:cubicBezTo>
                  <a:cubicBezTo>
                    <a:pt x="411" y="5210"/>
                    <a:pt x="455" y="5158"/>
                    <a:pt x="477" y="5070"/>
                  </a:cubicBezTo>
                  <a:cubicBezTo>
                    <a:pt x="499" y="4982"/>
                    <a:pt x="536" y="4960"/>
                    <a:pt x="579" y="4924"/>
                  </a:cubicBezTo>
                  <a:cubicBezTo>
                    <a:pt x="623" y="4887"/>
                    <a:pt x="601" y="4631"/>
                    <a:pt x="623" y="4550"/>
                  </a:cubicBezTo>
                  <a:cubicBezTo>
                    <a:pt x="645" y="4470"/>
                    <a:pt x="601" y="4404"/>
                    <a:pt x="667" y="4345"/>
                  </a:cubicBezTo>
                  <a:cubicBezTo>
                    <a:pt x="741" y="4286"/>
                    <a:pt x="770" y="4206"/>
                    <a:pt x="770" y="4081"/>
                  </a:cubicBezTo>
                  <a:cubicBezTo>
                    <a:pt x="770" y="3957"/>
                    <a:pt x="865" y="3832"/>
                    <a:pt x="917" y="3788"/>
                  </a:cubicBezTo>
                  <a:cubicBezTo>
                    <a:pt x="975" y="3744"/>
                    <a:pt x="1056" y="3663"/>
                    <a:pt x="1078" y="3634"/>
                  </a:cubicBezTo>
                  <a:cubicBezTo>
                    <a:pt x="1100" y="3598"/>
                    <a:pt x="1144" y="3495"/>
                    <a:pt x="1195" y="3436"/>
                  </a:cubicBezTo>
                  <a:cubicBezTo>
                    <a:pt x="1239" y="3378"/>
                    <a:pt x="1268" y="3356"/>
                    <a:pt x="1349" y="3334"/>
                  </a:cubicBezTo>
                  <a:cubicBezTo>
                    <a:pt x="1429" y="3312"/>
                    <a:pt x="1444" y="3158"/>
                    <a:pt x="1473" y="3063"/>
                  </a:cubicBezTo>
                  <a:cubicBezTo>
                    <a:pt x="1503" y="2989"/>
                    <a:pt x="1598" y="2887"/>
                    <a:pt x="1635" y="2843"/>
                  </a:cubicBezTo>
                  <a:cubicBezTo>
                    <a:pt x="1664" y="2806"/>
                    <a:pt x="1664" y="2806"/>
                    <a:pt x="1664" y="2806"/>
                  </a:cubicBezTo>
                  <a:cubicBezTo>
                    <a:pt x="1664" y="2806"/>
                    <a:pt x="1664" y="2799"/>
                    <a:pt x="1657" y="2791"/>
                  </a:cubicBezTo>
                  <a:cubicBezTo>
                    <a:pt x="1700" y="2770"/>
                    <a:pt x="1700" y="2770"/>
                    <a:pt x="1700" y="2770"/>
                  </a:cubicBezTo>
                  <a:lnTo>
                    <a:pt x="1700" y="2770"/>
                  </a:lnTo>
                  <a:cubicBezTo>
                    <a:pt x="1708" y="2770"/>
                    <a:pt x="1767" y="2762"/>
                    <a:pt x="1825" y="2623"/>
                  </a:cubicBezTo>
                  <a:cubicBezTo>
                    <a:pt x="1898" y="2447"/>
                    <a:pt x="1986" y="2374"/>
                    <a:pt x="1994" y="2293"/>
                  </a:cubicBezTo>
                  <a:cubicBezTo>
                    <a:pt x="2008" y="2213"/>
                    <a:pt x="1986" y="2147"/>
                    <a:pt x="2008" y="2110"/>
                  </a:cubicBezTo>
                  <a:cubicBezTo>
                    <a:pt x="2030" y="2081"/>
                    <a:pt x="2096" y="2044"/>
                    <a:pt x="2074" y="1978"/>
                  </a:cubicBezTo>
                  <a:cubicBezTo>
                    <a:pt x="2052" y="1905"/>
                    <a:pt x="2089" y="1853"/>
                    <a:pt x="2155" y="1802"/>
                  </a:cubicBezTo>
                  <a:cubicBezTo>
                    <a:pt x="2221" y="1758"/>
                    <a:pt x="2243" y="1773"/>
                    <a:pt x="2243" y="1678"/>
                  </a:cubicBezTo>
                  <a:cubicBezTo>
                    <a:pt x="2243" y="1590"/>
                    <a:pt x="2191" y="1627"/>
                    <a:pt x="2213" y="1553"/>
                  </a:cubicBezTo>
                  <a:cubicBezTo>
                    <a:pt x="2236" y="1487"/>
                    <a:pt x="2294" y="1480"/>
                    <a:pt x="2294" y="1421"/>
                  </a:cubicBezTo>
                  <a:cubicBezTo>
                    <a:pt x="2294" y="1363"/>
                    <a:pt x="2345" y="1216"/>
                    <a:pt x="2294" y="1216"/>
                  </a:cubicBezTo>
                  <a:lnTo>
                    <a:pt x="2294" y="1216"/>
                  </a:lnTo>
                  <a:cubicBezTo>
                    <a:pt x="2287" y="1216"/>
                    <a:pt x="2279" y="1216"/>
                    <a:pt x="2272" y="1216"/>
                  </a:cubicBezTo>
                  <a:cubicBezTo>
                    <a:pt x="2221" y="1216"/>
                    <a:pt x="2169" y="1179"/>
                    <a:pt x="2213" y="1128"/>
                  </a:cubicBezTo>
                  <a:cubicBezTo>
                    <a:pt x="2257" y="1070"/>
                    <a:pt x="2199" y="1048"/>
                    <a:pt x="2155" y="982"/>
                  </a:cubicBezTo>
                  <a:cubicBezTo>
                    <a:pt x="2111" y="908"/>
                    <a:pt x="2140" y="718"/>
                    <a:pt x="2140" y="718"/>
                  </a:cubicBezTo>
                  <a:cubicBezTo>
                    <a:pt x="2140" y="718"/>
                    <a:pt x="2140" y="718"/>
                    <a:pt x="2148" y="718"/>
                  </a:cubicBezTo>
                  <a:cubicBezTo>
                    <a:pt x="2155" y="732"/>
                    <a:pt x="2162" y="747"/>
                    <a:pt x="2162" y="747"/>
                  </a:cubicBezTo>
                  <a:cubicBezTo>
                    <a:pt x="2162" y="747"/>
                    <a:pt x="2155" y="732"/>
                    <a:pt x="2148" y="718"/>
                  </a:cubicBezTo>
                  <a:cubicBezTo>
                    <a:pt x="2148" y="718"/>
                    <a:pt x="2162" y="710"/>
                    <a:pt x="2199" y="696"/>
                  </a:cubicBezTo>
                  <a:cubicBezTo>
                    <a:pt x="2206" y="696"/>
                    <a:pt x="2206" y="696"/>
                    <a:pt x="2206" y="696"/>
                  </a:cubicBezTo>
                  <a:cubicBezTo>
                    <a:pt x="2265" y="696"/>
                    <a:pt x="2353" y="879"/>
                    <a:pt x="2426" y="923"/>
                  </a:cubicBezTo>
                  <a:cubicBezTo>
                    <a:pt x="2440" y="930"/>
                    <a:pt x="2455" y="930"/>
                    <a:pt x="2462" y="930"/>
                  </a:cubicBezTo>
                  <a:cubicBezTo>
                    <a:pt x="2521" y="930"/>
                    <a:pt x="2550" y="850"/>
                    <a:pt x="2529" y="777"/>
                  </a:cubicBezTo>
                  <a:cubicBezTo>
                    <a:pt x="2507" y="681"/>
                    <a:pt x="2529" y="601"/>
                    <a:pt x="2617" y="593"/>
                  </a:cubicBezTo>
                  <a:cubicBezTo>
                    <a:pt x="2631" y="593"/>
                    <a:pt x="2638" y="593"/>
                    <a:pt x="2638" y="593"/>
                  </a:cubicBezTo>
                  <a:cubicBezTo>
                    <a:pt x="2712" y="593"/>
                    <a:pt x="2704" y="644"/>
                    <a:pt x="2734" y="828"/>
                  </a:cubicBezTo>
                  <a:cubicBezTo>
                    <a:pt x="2748" y="923"/>
                    <a:pt x="2807" y="945"/>
                    <a:pt x="2866" y="945"/>
                  </a:cubicBezTo>
                  <a:cubicBezTo>
                    <a:pt x="2931" y="945"/>
                    <a:pt x="3005" y="908"/>
                    <a:pt x="3005" y="908"/>
                  </a:cubicBezTo>
                  <a:cubicBezTo>
                    <a:pt x="3019" y="967"/>
                    <a:pt x="3041" y="982"/>
                    <a:pt x="3129" y="982"/>
                  </a:cubicBezTo>
                  <a:cubicBezTo>
                    <a:pt x="3217" y="982"/>
                    <a:pt x="3166" y="1077"/>
                    <a:pt x="3093" y="1091"/>
                  </a:cubicBezTo>
                  <a:cubicBezTo>
                    <a:pt x="3027" y="1106"/>
                    <a:pt x="3041" y="1077"/>
                    <a:pt x="3027" y="1253"/>
                  </a:cubicBezTo>
                  <a:cubicBezTo>
                    <a:pt x="3027" y="1297"/>
                    <a:pt x="3034" y="1319"/>
                    <a:pt x="3056" y="1319"/>
                  </a:cubicBezTo>
                  <a:cubicBezTo>
                    <a:pt x="3100" y="1319"/>
                    <a:pt x="3188" y="1209"/>
                    <a:pt x="3217" y="1194"/>
                  </a:cubicBezTo>
                  <a:cubicBezTo>
                    <a:pt x="3269" y="1172"/>
                    <a:pt x="3247" y="1150"/>
                    <a:pt x="3269" y="1070"/>
                  </a:cubicBezTo>
                  <a:cubicBezTo>
                    <a:pt x="3283" y="1018"/>
                    <a:pt x="3298" y="982"/>
                    <a:pt x="3327" y="982"/>
                  </a:cubicBezTo>
                  <a:cubicBezTo>
                    <a:pt x="3342" y="982"/>
                    <a:pt x="3364" y="996"/>
                    <a:pt x="3393" y="1011"/>
                  </a:cubicBezTo>
                  <a:cubicBezTo>
                    <a:pt x="3408" y="1026"/>
                    <a:pt x="3422" y="1033"/>
                    <a:pt x="3437" y="1033"/>
                  </a:cubicBezTo>
                  <a:cubicBezTo>
                    <a:pt x="3474" y="1033"/>
                    <a:pt x="3481" y="974"/>
                    <a:pt x="3503" y="930"/>
                  </a:cubicBezTo>
                  <a:cubicBezTo>
                    <a:pt x="3510" y="916"/>
                    <a:pt x="3525" y="916"/>
                    <a:pt x="3547" y="916"/>
                  </a:cubicBezTo>
                  <a:cubicBezTo>
                    <a:pt x="3591" y="916"/>
                    <a:pt x="3650" y="952"/>
                    <a:pt x="3650" y="952"/>
                  </a:cubicBezTo>
                  <a:cubicBezTo>
                    <a:pt x="3562" y="820"/>
                    <a:pt x="3562" y="820"/>
                    <a:pt x="3562" y="820"/>
                  </a:cubicBezTo>
                  <a:cubicBezTo>
                    <a:pt x="3562" y="820"/>
                    <a:pt x="3562" y="820"/>
                    <a:pt x="3620" y="777"/>
                  </a:cubicBezTo>
                  <a:cubicBezTo>
                    <a:pt x="3620" y="777"/>
                    <a:pt x="3620" y="777"/>
                    <a:pt x="3620" y="769"/>
                  </a:cubicBezTo>
                  <a:cubicBezTo>
                    <a:pt x="3620" y="777"/>
                    <a:pt x="3620" y="784"/>
                    <a:pt x="3620" y="791"/>
                  </a:cubicBezTo>
                  <a:cubicBezTo>
                    <a:pt x="3620" y="813"/>
                    <a:pt x="3620" y="828"/>
                    <a:pt x="3620" y="828"/>
                  </a:cubicBezTo>
                  <a:cubicBezTo>
                    <a:pt x="3620" y="828"/>
                    <a:pt x="3620" y="813"/>
                    <a:pt x="3620" y="791"/>
                  </a:cubicBezTo>
                  <a:cubicBezTo>
                    <a:pt x="3620" y="784"/>
                    <a:pt x="3620" y="777"/>
                    <a:pt x="3620" y="769"/>
                  </a:cubicBezTo>
                  <a:cubicBezTo>
                    <a:pt x="3635" y="762"/>
                    <a:pt x="3650" y="762"/>
                    <a:pt x="3672" y="762"/>
                  </a:cubicBezTo>
                  <a:cubicBezTo>
                    <a:pt x="3708" y="762"/>
                    <a:pt x="3745" y="769"/>
                    <a:pt x="3789" y="769"/>
                  </a:cubicBezTo>
                  <a:cubicBezTo>
                    <a:pt x="3803" y="769"/>
                    <a:pt x="3818" y="769"/>
                    <a:pt x="3833" y="762"/>
                  </a:cubicBezTo>
                  <a:cubicBezTo>
                    <a:pt x="3899" y="725"/>
                    <a:pt x="3972" y="740"/>
                    <a:pt x="3972" y="630"/>
                  </a:cubicBezTo>
                  <a:cubicBezTo>
                    <a:pt x="3972" y="513"/>
                    <a:pt x="4082" y="527"/>
                    <a:pt x="4192" y="513"/>
                  </a:cubicBezTo>
                  <a:cubicBezTo>
                    <a:pt x="4309" y="505"/>
                    <a:pt x="4250" y="469"/>
                    <a:pt x="4272" y="425"/>
                  </a:cubicBezTo>
                  <a:cubicBezTo>
                    <a:pt x="4294" y="381"/>
                    <a:pt x="4294" y="322"/>
                    <a:pt x="4250" y="278"/>
                  </a:cubicBezTo>
                  <a:cubicBezTo>
                    <a:pt x="4236" y="256"/>
                    <a:pt x="4214" y="249"/>
                    <a:pt x="4192" y="249"/>
                  </a:cubicBezTo>
                  <a:cubicBezTo>
                    <a:pt x="4170" y="249"/>
                    <a:pt x="4155" y="256"/>
                    <a:pt x="4133" y="256"/>
                  </a:cubicBezTo>
                  <a:cubicBezTo>
                    <a:pt x="4126" y="256"/>
                    <a:pt x="4111" y="256"/>
                    <a:pt x="4104" y="256"/>
                  </a:cubicBezTo>
                  <a:cubicBezTo>
                    <a:pt x="4045" y="241"/>
                    <a:pt x="4045" y="220"/>
                    <a:pt x="4045" y="220"/>
                  </a:cubicBezTo>
                  <a:cubicBezTo>
                    <a:pt x="4045" y="220"/>
                    <a:pt x="4067" y="153"/>
                    <a:pt x="4119" y="117"/>
                  </a:cubicBezTo>
                  <a:cubicBezTo>
                    <a:pt x="4162" y="80"/>
                    <a:pt x="4221" y="73"/>
                    <a:pt x="4272" y="58"/>
                  </a:cubicBezTo>
                  <a:cubicBezTo>
                    <a:pt x="4280" y="58"/>
                    <a:pt x="4280" y="58"/>
                    <a:pt x="4287" y="58"/>
                  </a:cubicBezTo>
                  <a:cubicBezTo>
                    <a:pt x="4324" y="58"/>
                    <a:pt x="4331" y="102"/>
                    <a:pt x="4360" y="102"/>
                  </a:cubicBezTo>
                  <a:cubicBezTo>
                    <a:pt x="4368" y="102"/>
                    <a:pt x="4368" y="95"/>
                    <a:pt x="4375" y="95"/>
                  </a:cubicBezTo>
                  <a:cubicBezTo>
                    <a:pt x="4419" y="73"/>
                    <a:pt x="4419" y="44"/>
                    <a:pt x="4441" y="44"/>
                  </a:cubicBezTo>
                  <a:cubicBezTo>
                    <a:pt x="4448" y="44"/>
                    <a:pt x="4448" y="44"/>
                    <a:pt x="4456" y="51"/>
                  </a:cubicBezTo>
                  <a:cubicBezTo>
                    <a:pt x="4492" y="58"/>
                    <a:pt x="4492" y="102"/>
                    <a:pt x="4522" y="132"/>
                  </a:cubicBezTo>
                  <a:cubicBezTo>
                    <a:pt x="4529" y="132"/>
                    <a:pt x="4536" y="132"/>
                    <a:pt x="4543" y="132"/>
                  </a:cubicBezTo>
                  <a:cubicBezTo>
                    <a:pt x="4573" y="132"/>
                    <a:pt x="4602" y="102"/>
                    <a:pt x="4646" y="73"/>
                  </a:cubicBezTo>
                  <a:cubicBezTo>
                    <a:pt x="4690" y="44"/>
                    <a:pt x="4705" y="36"/>
                    <a:pt x="4727" y="36"/>
                  </a:cubicBezTo>
                  <a:lnTo>
                    <a:pt x="4727" y="0"/>
                  </a:lnTo>
                  <a:lnTo>
                    <a:pt x="4727" y="0"/>
                  </a:lnTo>
                  <a:lnTo>
                    <a:pt x="4727" y="0"/>
                  </a:lnTo>
                  <a:cubicBezTo>
                    <a:pt x="4705" y="0"/>
                    <a:pt x="4683" y="14"/>
                    <a:pt x="4653" y="36"/>
                  </a:cubicBezTo>
                  <a:cubicBezTo>
                    <a:pt x="4631" y="44"/>
                    <a:pt x="4631" y="44"/>
                    <a:pt x="4631" y="44"/>
                  </a:cubicBezTo>
                  <a:cubicBezTo>
                    <a:pt x="4617" y="58"/>
                    <a:pt x="4602" y="66"/>
                    <a:pt x="4588" y="80"/>
                  </a:cubicBezTo>
                  <a:cubicBezTo>
                    <a:pt x="4573" y="88"/>
                    <a:pt x="4551" y="102"/>
                    <a:pt x="4543" y="102"/>
                  </a:cubicBezTo>
                  <a:cubicBezTo>
                    <a:pt x="4529" y="95"/>
                    <a:pt x="4522" y="88"/>
                    <a:pt x="4522" y="73"/>
                  </a:cubicBezTo>
                  <a:cubicBezTo>
                    <a:pt x="4507" y="51"/>
                    <a:pt x="4492" y="29"/>
                    <a:pt x="4463" y="22"/>
                  </a:cubicBezTo>
                  <a:cubicBezTo>
                    <a:pt x="4456" y="14"/>
                    <a:pt x="4448" y="14"/>
                    <a:pt x="4441" y="14"/>
                  </a:cubicBezTo>
                  <a:cubicBezTo>
                    <a:pt x="4419" y="14"/>
                    <a:pt x="4404" y="29"/>
                    <a:pt x="4397" y="44"/>
                  </a:cubicBezTo>
                  <a:cubicBezTo>
                    <a:pt x="4382" y="51"/>
                    <a:pt x="4375" y="58"/>
                    <a:pt x="4360" y="66"/>
                  </a:cubicBezTo>
                  <a:lnTo>
                    <a:pt x="4360" y="66"/>
                  </a:lnTo>
                  <a:cubicBezTo>
                    <a:pt x="4360" y="66"/>
                    <a:pt x="4353" y="66"/>
                    <a:pt x="4353" y="58"/>
                  </a:cubicBezTo>
                  <a:cubicBezTo>
                    <a:pt x="4338" y="44"/>
                    <a:pt x="4317" y="29"/>
                    <a:pt x="4287" y="29"/>
                  </a:cubicBezTo>
                  <a:cubicBezTo>
                    <a:pt x="4280" y="29"/>
                    <a:pt x="4272" y="29"/>
                    <a:pt x="4265" y="29"/>
                  </a:cubicBezTo>
                  <a:cubicBezTo>
                    <a:pt x="4207" y="44"/>
                    <a:pt x="4148" y="51"/>
                    <a:pt x="4097" y="95"/>
                  </a:cubicBezTo>
                  <a:cubicBezTo>
                    <a:pt x="4045" y="132"/>
                    <a:pt x="4023" y="205"/>
                    <a:pt x="4016" y="212"/>
                  </a:cubicBezTo>
                  <a:lnTo>
                    <a:pt x="4016" y="212"/>
                  </a:lnTo>
                  <a:cubicBezTo>
                    <a:pt x="4016" y="220"/>
                    <a:pt x="4016" y="220"/>
                    <a:pt x="4016" y="220"/>
                  </a:cubicBezTo>
                  <a:cubicBezTo>
                    <a:pt x="4016" y="227"/>
                    <a:pt x="4023" y="271"/>
                    <a:pt x="4097" y="285"/>
                  </a:cubicBezTo>
                  <a:cubicBezTo>
                    <a:pt x="4111" y="285"/>
                    <a:pt x="4119" y="285"/>
                    <a:pt x="4133" y="285"/>
                  </a:cubicBezTo>
                  <a:cubicBezTo>
                    <a:pt x="4141" y="285"/>
                    <a:pt x="4155" y="285"/>
                    <a:pt x="4170" y="285"/>
                  </a:cubicBezTo>
                  <a:cubicBezTo>
                    <a:pt x="4177" y="285"/>
                    <a:pt x="4184" y="278"/>
                    <a:pt x="4192" y="278"/>
                  </a:cubicBezTo>
                  <a:cubicBezTo>
                    <a:pt x="4207" y="278"/>
                    <a:pt x="4214" y="285"/>
                    <a:pt x="4229" y="300"/>
                  </a:cubicBezTo>
                  <a:cubicBezTo>
                    <a:pt x="4272" y="344"/>
                    <a:pt x="4258" y="388"/>
                    <a:pt x="4250" y="410"/>
                  </a:cubicBezTo>
                  <a:cubicBezTo>
                    <a:pt x="4236" y="432"/>
                    <a:pt x="4236" y="454"/>
                    <a:pt x="4236" y="461"/>
                  </a:cubicBezTo>
                  <a:cubicBezTo>
                    <a:pt x="4236" y="469"/>
                    <a:pt x="4236" y="469"/>
                    <a:pt x="4236" y="476"/>
                  </a:cubicBezTo>
                  <a:cubicBezTo>
                    <a:pt x="4236" y="476"/>
                    <a:pt x="4221" y="483"/>
                    <a:pt x="4192" y="483"/>
                  </a:cubicBezTo>
                  <a:cubicBezTo>
                    <a:pt x="4177" y="483"/>
                    <a:pt x="4162" y="483"/>
                    <a:pt x="4148" y="491"/>
                  </a:cubicBezTo>
                  <a:cubicBezTo>
                    <a:pt x="4045" y="491"/>
                    <a:pt x="3935" y="498"/>
                    <a:pt x="3935" y="630"/>
                  </a:cubicBezTo>
                  <a:cubicBezTo>
                    <a:pt x="3935" y="689"/>
                    <a:pt x="3913" y="696"/>
                    <a:pt x="3869" y="718"/>
                  </a:cubicBezTo>
                  <a:cubicBezTo>
                    <a:pt x="3855" y="718"/>
                    <a:pt x="3840" y="725"/>
                    <a:pt x="3818" y="732"/>
                  </a:cubicBezTo>
                  <a:cubicBezTo>
                    <a:pt x="3811" y="740"/>
                    <a:pt x="3796" y="740"/>
                    <a:pt x="3789" y="740"/>
                  </a:cubicBezTo>
                  <a:cubicBezTo>
                    <a:pt x="3767" y="740"/>
                    <a:pt x="3752" y="740"/>
                    <a:pt x="3730" y="732"/>
                  </a:cubicBezTo>
                  <a:cubicBezTo>
                    <a:pt x="3708" y="732"/>
                    <a:pt x="3686" y="725"/>
                    <a:pt x="3672" y="725"/>
                  </a:cubicBezTo>
                  <a:cubicBezTo>
                    <a:pt x="3664" y="725"/>
                    <a:pt x="3657" y="725"/>
                    <a:pt x="3650" y="732"/>
                  </a:cubicBezTo>
                  <a:cubicBezTo>
                    <a:pt x="3650" y="710"/>
                    <a:pt x="3650" y="710"/>
                    <a:pt x="3650" y="710"/>
                  </a:cubicBezTo>
                  <a:cubicBezTo>
                    <a:pt x="3598" y="747"/>
                    <a:pt x="3598" y="747"/>
                    <a:pt x="3598" y="747"/>
                  </a:cubicBezTo>
                  <a:cubicBezTo>
                    <a:pt x="3591" y="754"/>
                    <a:pt x="3591" y="754"/>
                    <a:pt x="3591" y="754"/>
                  </a:cubicBezTo>
                  <a:cubicBezTo>
                    <a:pt x="3591" y="762"/>
                    <a:pt x="3591" y="762"/>
                    <a:pt x="3591" y="762"/>
                  </a:cubicBezTo>
                  <a:cubicBezTo>
                    <a:pt x="3540" y="798"/>
                    <a:pt x="3540" y="798"/>
                    <a:pt x="3540" y="798"/>
                  </a:cubicBezTo>
                  <a:cubicBezTo>
                    <a:pt x="3518" y="813"/>
                    <a:pt x="3518" y="813"/>
                    <a:pt x="3518" y="813"/>
                  </a:cubicBezTo>
                  <a:cubicBezTo>
                    <a:pt x="3532" y="835"/>
                    <a:pt x="3532" y="835"/>
                    <a:pt x="3532" y="835"/>
                  </a:cubicBezTo>
                  <a:cubicBezTo>
                    <a:pt x="3569" y="886"/>
                    <a:pt x="3569" y="886"/>
                    <a:pt x="3569" y="886"/>
                  </a:cubicBezTo>
                  <a:cubicBezTo>
                    <a:pt x="3562" y="886"/>
                    <a:pt x="3554" y="879"/>
                    <a:pt x="3547" y="879"/>
                  </a:cubicBezTo>
                  <a:cubicBezTo>
                    <a:pt x="3518" y="879"/>
                    <a:pt x="3488" y="894"/>
                    <a:pt x="3481" y="916"/>
                  </a:cubicBezTo>
                  <a:cubicBezTo>
                    <a:pt x="3467" y="930"/>
                    <a:pt x="3459" y="952"/>
                    <a:pt x="3452" y="967"/>
                  </a:cubicBezTo>
                  <a:cubicBezTo>
                    <a:pt x="3452" y="974"/>
                    <a:pt x="3444" y="996"/>
                    <a:pt x="3437" y="1003"/>
                  </a:cubicBezTo>
                  <a:cubicBezTo>
                    <a:pt x="3437" y="1003"/>
                    <a:pt x="3430" y="1003"/>
                    <a:pt x="3408" y="989"/>
                  </a:cubicBezTo>
                  <a:cubicBezTo>
                    <a:pt x="3379" y="967"/>
                    <a:pt x="3349" y="952"/>
                    <a:pt x="3327" y="952"/>
                  </a:cubicBezTo>
                  <a:cubicBezTo>
                    <a:pt x="3269" y="952"/>
                    <a:pt x="3247" y="1018"/>
                    <a:pt x="3239" y="1062"/>
                  </a:cubicBezTo>
                  <a:cubicBezTo>
                    <a:pt x="3225" y="1091"/>
                    <a:pt x="3225" y="1113"/>
                    <a:pt x="3225" y="1136"/>
                  </a:cubicBezTo>
                  <a:cubicBezTo>
                    <a:pt x="3217" y="1158"/>
                    <a:pt x="3217" y="1158"/>
                    <a:pt x="3210" y="1165"/>
                  </a:cubicBezTo>
                  <a:cubicBezTo>
                    <a:pt x="3195" y="1172"/>
                    <a:pt x="3173" y="1187"/>
                    <a:pt x="3144" y="1216"/>
                  </a:cubicBezTo>
                  <a:cubicBezTo>
                    <a:pt x="3122" y="1238"/>
                    <a:pt x="3078" y="1275"/>
                    <a:pt x="3056" y="1289"/>
                  </a:cubicBezTo>
                  <a:cubicBezTo>
                    <a:pt x="3056" y="1282"/>
                    <a:pt x="3056" y="1267"/>
                    <a:pt x="3056" y="1253"/>
                  </a:cubicBezTo>
                  <a:cubicBezTo>
                    <a:pt x="3056" y="1231"/>
                    <a:pt x="3063" y="1209"/>
                    <a:pt x="3063" y="1194"/>
                  </a:cubicBezTo>
                  <a:cubicBezTo>
                    <a:pt x="3063" y="1165"/>
                    <a:pt x="3063" y="1136"/>
                    <a:pt x="3071" y="1128"/>
                  </a:cubicBezTo>
                  <a:lnTo>
                    <a:pt x="3078" y="1128"/>
                  </a:lnTo>
                  <a:cubicBezTo>
                    <a:pt x="3085" y="1121"/>
                    <a:pt x="3093" y="1121"/>
                    <a:pt x="3100" y="1121"/>
                  </a:cubicBezTo>
                  <a:cubicBezTo>
                    <a:pt x="3159" y="1113"/>
                    <a:pt x="3210" y="1055"/>
                    <a:pt x="3210" y="1003"/>
                  </a:cubicBezTo>
                  <a:cubicBezTo>
                    <a:pt x="3203" y="974"/>
                    <a:pt x="3181" y="945"/>
                    <a:pt x="3129" y="945"/>
                  </a:cubicBezTo>
                  <a:cubicBezTo>
                    <a:pt x="3041" y="945"/>
                    <a:pt x="3041" y="938"/>
                    <a:pt x="3034" y="901"/>
                  </a:cubicBezTo>
                  <a:cubicBezTo>
                    <a:pt x="3027" y="864"/>
                    <a:pt x="3027" y="864"/>
                    <a:pt x="3027" y="864"/>
                  </a:cubicBezTo>
                  <a:cubicBezTo>
                    <a:pt x="2990" y="886"/>
                    <a:pt x="2990" y="886"/>
                    <a:pt x="2990" y="886"/>
                  </a:cubicBezTo>
                  <a:cubicBezTo>
                    <a:pt x="2990" y="886"/>
                    <a:pt x="2924" y="916"/>
                    <a:pt x="2866" y="916"/>
                  </a:cubicBezTo>
                  <a:cubicBezTo>
                    <a:pt x="2807" y="916"/>
                    <a:pt x="2770" y="886"/>
                    <a:pt x="2763" y="828"/>
                  </a:cubicBezTo>
                  <a:cubicBezTo>
                    <a:pt x="2756" y="791"/>
                    <a:pt x="2756" y="762"/>
                    <a:pt x="2748" y="740"/>
                  </a:cubicBezTo>
                  <a:cubicBezTo>
                    <a:pt x="2734" y="622"/>
                    <a:pt x="2726" y="564"/>
                    <a:pt x="2638" y="564"/>
                  </a:cubicBezTo>
                  <a:cubicBezTo>
                    <a:pt x="2631" y="564"/>
                    <a:pt x="2624" y="564"/>
                    <a:pt x="2617" y="564"/>
                  </a:cubicBezTo>
                  <a:cubicBezTo>
                    <a:pt x="2572" y="571"/>
                    <a:pt x="2536" y="586"/>
                    <a:pt x="2514" y="622"/>
                  </a:cubicBezTo>
                  <a:cubicBezTo>
                    <a:pt x="2492" y="659"/>
                    <a:pt x="2485" y="718"/>
                    <a:pt x="2499" y="784"/>
                  </a:cubicBezTo>
                  <a:cubicBezTo>
                    <a:pt x="2507" y="820"/>
                    <a:pt x="2507" y="864"/>
                    <a:pt x="2485" y="886"/>
                  </a:cubicBezTo>
                  <a:cubicBezTo>
                    <a:pt x="2477" y="901"/>
                    <a:pt x="2470" y="901"/>
                    <a:pt x="2462" y="901"/>
                  </a:cubicBezTo>
                  <a:cubicBezTo>
                    <a:pt x="2455" y="901"/>
                    <a:pt x="2448" y="901"/>
                    <a:pt x="2440" y="894"/>
                  </a:cubicBezTo>
                  <a:cubicBezTo>
                    <a:pt x="2411" y="879"/>
                    <a:pt x="2375" y="828"/>
                    <a:pt x="2345" y="784"/>
                  </a:cubicBezTo>
                  <a:cubicBezTo>
                    <a:pt x="2294" y="718"/>
                    <a:pt x="2257" y="659"/>
                    <a:pt x="2206" y="659"/>
                  </a:cubicBezTo>
                  <a:cubicBezTo>
                    <a:pt x="2199" y="659"/>
                    <a:pt x="2199" y="667"/>
                    <a:pt x="2191" y="667"/>
                  </a:cubicBezTo>
                  <a:cubicBezTo>
                    <a:pt x="2133" y="689"/>
                    <a:pt x="2133" y="689"/>
                    <a:pt x="2133" y="689"/>
                  </a:cubicBezTo>
                  <a:lnTo>
                    <a:pt x="2133" y="689"/>
                  </a:lnTo>
                  <a:cubicBezTo>
                    <a:pt x="2126" y="689"/>
                    <a:pt x="2126" y="689"/>
                    <a:pt x="2126" y="689"/>
                  </a:cubicBezTo>
                  <a:cubicBezTo>
                    <a:pt x="2126" y="696"/>
                    <a:pt x="2126" y="696"/>
                    <a:pt x="2126" y="696"/>
                  </a:cubicBezTo>
                  <a:cubicBezTo>
                    <a:pt x="2103" y="703"/>
                    <a:pt x="2103" y="703"/>
                    <a:pt x="2103" y="703"/>
                  </a:cubicBezTo>
                  <a:cubicBezTo>
                    <a:pt x="2111" y="718"/>
                    <a:pt x="2111" y="718"/>
                    <a:pt x="2111" y="718"/>
                  </a:cubicBezTo>
                  <a:cubicBezTo>
                    <a:pt x="2103" y="762"/>
                    <a:pt x="2081" y="923"/>
                    <a:pt x="2133" y="996"/>
                  </a:cubicBezTo>
                  <a:cubicBezTo>
                    <a:pt x="2140" y="1018"/>
                    <a:pt x="2155" y="1033"/>
                    <a:pt x="2169" y="1048"/>
                  </a:cubicBezTo>
                  <a:cubicBezTo>
                    <a:pt x="2206" y="1084"/>
                    <a:pt x="2206" y="1084"/>
                    <a:pt x="2184" y="1106"/>
                  </a:cubicBezTo>
                  <a:cubicBezTo>
                    <a:pt x="2162" y="1136"/>
                    <a:pt x="2162" y="1165"/>
                    <a:pt x="2177" y="1194"/>
                  </a:cubicBezTo>
                  <a:cubicBezTo>
                    <a:pt x="2191" y="1223"/>
                    <a:pt x="2228" y="1245"/>
                    <a:pt x="2272" y="1245"/>
                  </a:cubicBezTo>
                  <a:cubicBezTo>
                    <a:pt x="2279" y="1245"/>
                    <a:pt x="2279" y="1245"/>
                    <a:pt x="2287" y="1245"/>
                  </a:cubicBezTo>
                  <a:cubicBezTo>
                    <a:pt x="2287" y="1267"/>
                    <a:pt x="2279" y="1311"/>
                    <a:pt x="2272" y="1341"/>
                  </a:cubicBezTo>
                  <a:cubicBezTo>
                    <a:pt x="2265" y="1370"/>
                    <a:pt x="2257" y="1399"/>
                    <a:pt x="2257" y="1421"/>
                  </a:cubicBezTo>
                  <a:cubicBezTo>
                    <a:pt x="2257" y="1436"/>
                    <a:pt x="2250" y="1451"/>
                    <a:pt x="2236" y="1465"/>
                  </a:cubicBezTo>
                  <a:cubicBezTo>
                    <a:pt x="2213" y="1487"/>
                    <a:pt x="2199" y="1509"/>
                    <a:pt x="2184" y="1546"/>
                  </a:cubicBezTo>
                  <a:cubicBezTo>
                    <a:pt x="2169" y="1597"/>
                    <a:pt x="2184" y="1612"/>
                    <a:pt x="2199" y="1634"/>
                  </a:cubicBezTo>
                  <a:cubicBezTo>
                    <a:pt x="2206" y="1641"/>
                    <a:pt x="2213" y="1648"/>
                    <a:pt x="2213" y="1678"/>
                  </a:cubicBezTo>
                  <a:cubicBezTo>
                    <a:pt x="2213" y="1736"/>
                    <a:pt x="2213" y="1736"/>
                    <a:pt x="2177" y="1758"/>
                  </a:cubicBezTo>
                  <a:cubicBezTo>
                    <a:pt x="2169" y="1766"/>
                    <a:pt x="2155" y="1773"/>
                    <a:pt x="2140" y="1780"/>
                  </a:cubicBezTo>
                  <a:cubicBezTo>
                    <a:pt x="2030" y="1853"/>
                    <a:pt x="2030" y="1934"/>
                    <a:pt x="2045" y="1986"/>
                  </a:cubicBezTo>
                  <a:cubicBezTo>
                    <a:pt x="2060" y="2015"/>
                    <a:pt x="2045" y="2029"/>
                    <a:pt x="2008" y="2066"/>
                  </a:cubicBezTo>
                  <a:cubicBezTo>
                    <a:pt x="2001" y="2073"/>
                    <a:pt x="1994" y="2081"/>
                    <a:pt x="1979" y="2095"/>
                  </a:cubicBezTo>
                  <a:cubicBezTo>
                    <a:pt x="1964" y="2125"/>
                    <a:pt x="1964" y="2154"/>
                    <a:pt x="1964" y="2198"/>
                  </a:cubicBezTo>
                  <a:cubicBezTo>
                    <a:pt x="1972" y="2227"/>
                    <a:pt x="1972" y="2257"/>
                    <a:pt x="1964" y="2286"/>
                  </a:cubicBezTo>
                  <a:cubicBezTo>
                    <a:pt x="1964" y="2322"/>
                    <a:pt x="1935" y="2359"/>
                    <a:pt x="1906" y="2410"/>
                  </a:cubicBezTo>
                  <a:cubicBezTo>
                    <a:pt x="1876" y="2462"/>
                    <a:pt x="1832" y="2520"/>
                    <a:pt x="1796" y="2608"/>
                  </a:cubicBezTo>
                  <a:cubicBezTo>
                    <a:pt x="1745" y="2733"/>
                    <a:pt x="1700" y="2740"/>
                    <a:pt x="1700" y="2740"/>
                  </a:cubicBezTo>
                  <a:cubicBezTo>
                    <a:pt x="1693" y="2740"/>
                    <a:pt x="1693" y="2740"/>
                    <a:pt x="1693" y="2740"/>
                  </a:cubicBezTo>
                  <a:cubicBezTo>
                    <a:pt x="1686" y="2740"/>
                    <a:pt x="1686" y="2740"/>
                    <a:pt x="1686" y="2740"/>
                  </a:cubicBezTo>
                  <a:cubicBezTo>
                    <a:pt x="1642" y="2770"/>
                    <a:pt x="1642" y="2770"/>
                    <a:pt x="1642" y="2770"/>
                  </a:cubicBezTo>
                  <a:cubicBezTo>
                    <a:pt x="1605" y="2784"/>
                    <a:pt x="1605" y="2784"/>
                    <a:pt x="1605" y="2784"/>
                  </a:cubicBezTo>
                  <a:cubicBezTo>
                    <a:pt x="1627" y="2806"/>
                    <a:pt x="1627" y="2806"/>
                    <a:pt x="1627" y="2806"/>
                  </a:cubicBezTo>
                  <a:cubicBezTo>
                    <a:pt x="1612" y="2821"/>
                    <a:pt x="1612" y="2821"/>
                    <a:pt x="1612" y="2821"/>
                  </a:cubicBezTo>
                  <a:cubicBezTo>
                    <a:pt x="1554" y="2887"/>
                    <a:pt x="1473" y="2982"/>
                    <a:pt x="1444" y="3055"/>
                  </a:cubicBezTo>
                  <a:cubicBezTo>
                    <a:pt x="1437" y="3077"/>
                    <a:pt x="1429" y="3114"/>
                    <a:pt x="1422" y="3143"/>
                  </a:cubicBezTo>
                  <a:cubicBezTo>
                    <a:pt x="1400" y="3209"/>
                    <a:pt x="1386" y="3297"/>
                    <a:pt x="1341" y="3304"/>
                  </a:cubicBezTo>
                  <a:cubicBezTo>
                    <a:pt x="1254" y="3334"/>
                    <a:pt x="1217" y="3356"/>
                    <a:pt x="1166" y="3422"/>
                  </a:cubicBezTo>
                  <a:cubicBezTo>
                    <a:pt x="1136" y="3458"/>
                    <a:pt x="1107" y="3517"/>
                    <a:pt x="1085" y="3561"/>
                  </a:cubicBezTo>
                  <a:cubicBezTo>
                    <a:pt x="1070" y="3583"/>
                    <a:pt x="1063" y="3605"/>
                    <a:pt x="1056" y="3612"/>
                  </a:cubicBezTo>
                  <a:cubicBezTo>
                    <a:pt x="1034" y="3641"/>
                    <a:pt x="960" y="3722"/>
                    <a:pt x="902" y="3766"/>
                  </a:cubicBezTo>
                  <a:cubicBezTo>
                    <a:pt x="836" y="3817"/>
                    <a:pt x="741" y="3949"/>
                    <a:pt x="741" y="4081"/>
                  </a:cubicBezTo>
                  <a:cubicBezTo>
                    <a:pt x="741" y="4198"/>
                    <a:pt x="711" y="4272"/>
                    <a:pt x="653" y="4323"/>
                  </a:cubicBezTo>
                  <a:cubicBezTo>
                    <a:pt x="594" y="4367"/>
                    <a:pt x="601" y="4418"/>
                    <a:pt x="601" y="4462"/>
                  </a:cubicBezTo>
                  <a:cubicBezTo>
                    <a:pt x="601" y="4491"/>
                    <a:pt x="601" y="4513"/>
                    <a:pt x="594" y="4543"/>
                  </a:cubicBezTo>
                  <a:cubicBezTo>
                    <a:pt x="587" y="4579"/>
                    <a:pt x="587" y="4638"/>
                    <a:pt x="579" y="4704"/>
                  </a:cubicBezTo>
                  <a:cubicBezTo>
                    <a:pt x="579" y="4770"/>
                    <a:pt x="579" y="4880"/>
                    <a:pt x="557" y="4902"/>
                  </a:cubicBezTo>
                  <a:lnTo>
                    <a:pt x="557" y="4902"/>
                  </a:lnTo>
                  <a:cubicBezTo>
                    <a:pt x="513" y="4939"/>
                    <a:pt x="469" y="4968"/>
                    <a:pt x="448" y="5063"/>
                  </a:cubicBezTo>
                  <a:cubicBezTo>
                    <a:pt x="433" y="5122"/>
                    <a:pt x="411" y="5158"/>
                    <a:pt x="381" y="5210"/>
                  </a:cubicBezTo>
                  <a:cubicBezTo>
                    <a:pt x="360" y="5232"/>
                    <a:pt x="345" y="5261"/>
                    <a:pt x="323" y="5298"/>
                  </a:cubicBezTo>
                  <a:cubicBezTo>
                    <a:pt x="294" y="5349"/>
                    <a:pt x="279" y="5393"/>
                    <a:pt x="264" y="5429"/>
                  </a:cubicBezTo>
                  <a:cubicBezTo>
                    <a:pt x="250" y="5459"/>
                    <a:pt x="242" y="5488"/>
                    <a:pt x="228" y="5503"/>
                  </a:cubicBezTo>
                  <a:cubicBezTo>
                    <a:pt x="184" y="5561"/>
                    <a:pt x="155" y="5679"/>
                    <a:pt x="176" y="5781"/>
                  </a:cubicBezTo>
                  <a:cubicBezTo>
                    <a:pt x="191" y="5862"/>
                    <a:pt x="235" y="5928"/>
                    <a:pt x="257" y="5979"/>
                  </a:cubicBezTo>
                  <a:cubicBezTo>
                    <a:pt x="272" y="5994"/>
                    <a:pt x="272" y="6001"/>
                    <a:pt x="279" y="6016"/>
                  </a:cubicBezTo>
                  <a:cubicBezTo>
                    <a:pt x="294" y="6045"/>
                    <a:pt x="286" y="6089"/>
                    <a:pt x="250" y="6126"/>
                  </a:cubicBezTo>
                  <a:cubicBezTo>
                    <a:pt x="206" y="6170"/>
                    <a:pt x="176" y="6243"/>
                    <a:pt x="184" y="6301"/>
                  </a:cubicBezTo>
                  <a:cubicBezTo>
                    <a:pt x="162" y="6323"/>
                    <a:pt x="118" y="6397"/>
                    <a:pt x="140" y="6470"/>
                  </a:cubicBezTo>
                  <a:cubicBezTo>
                    <a:pt x="155" y="6529"/>
                    <a:pt x="155" y="6529"/>
                    <a:pt x="125" y="6572"/>
                  </a:cubicBezTo>
                  <a:cubicBezTo>
                    <a:pt x="125" y="6580"/>
                    <a:pt x="118" y="6587"/>
                    <a:pt x="110" y="6595"/>
                  </a:cubicBezTo>
                  <a:cubicBezTo>
                    <a:pt x="67" y="6668"/>
                    <a:pt x="59" y="6734"/>
                    <a:pt x="88" y="6807"/>
                  </a:cubicBezTo>
                  <a:cubicBezTo>
                    <a:pt x="96" y="6836"/>
                    <a:pt x="96" y="6844"/>
                    <a:pt x="74" y="6873"/>
                  </a:cubicBezTo>
                  <a:cubicBezTo>
                    <a:pt x="67" y="6888"/>
                    <a:pt x="59" y="6902"/>
                    <a:pt x="52" y="6917"/>
                  </a:cubicBezTo>
                  <a:cubicBezTo>
                    <a:pt x="30" y="6968"/>
                    <a:pt x="0" y="7071"/>
                    <a:pt x="125" y="7181"/>
                  </a:cubicBezTo>
                  <a:cubicBezTo>
                    <a:pt x="191" y="7232"/>
                    <a:pt x="191" y="7276"/>
                    <a:pt x="191" y="7313"/>
                  </a:cubicBezTo>
                  <a:cubicBezTo>
                    <a:pt x="191" y="7320"/>
                    <a:pt x="198" y="7335"/>
                    <a:pt x="198" y="7349"/>
                  </a:cubicBezTo>
                  <a:cubicBezTo>
                    <a:pt x="213" y="7379"/>
                    <a:pt x="250" y="7408"/>
                    <a:pt x="286" y="7408"/>
                  </a:cubicBezTo>
                  <a:cubicBezTo>
                    <a:pt x="323" y="7408"/>
                    <a:pt x="352" y="7386"/>
                    <a:pt x="381" y="7357"/>
                  </a:cubicBezTo>
                  <a:cubicBezTo>
                    <a:pt x="396" y="7327"/>
                    <a:pt x="411" y="7320"/>
                    <a:pt x="411" y="7313"/>
                  </a:cubicBezTo>
                  <a:cubicBezTo>
                    <a:pt x="411" y="7320"/>
                    <a:pt x="396" y="7349"/>
                    <a:pt x="381" y="7364"/>
                  </a:cubicBezTo>
                  <a:cubicBezTo>
                    <a:pt x="374" y="7379"/>
                    <a:pt x="360" y="7393"/>
                    <a:pt x="345" y="7415"/>
                  </a:cubicBezTo>
                  <a:cubicBezTo>
                    <a:pt x="338" y="7437"/>
                    <a:pt x="338" y="7467"/>
                    <a:pt x="352" y="7489"/>
                  </a:cubicBezTo>
                  <a:cubicBezTo>
                    <a:pt x="374" y="7525"/>
                    <a:pt x="411" y="7540"/>
                    <a:pt x="455" y="7540"/>
                  </a:cubicBezTo>
                  <a:cubicBezTo>
                    <a:pt x="484" y="7540"/>
                    <a:pt x="506" y="7532"/>
                    <a:pt x="536" y="7525"/>
                  </a:cubicBezTo>
                  <a:cubicBezTo>
                    <a:pt x="579" y="7503"/>
                    <a:pt x="631" y="7474"/>
                    <a:pt x="682" y="7445"/>
                  </a:cubicBezTo>
                  <a:cubicBezTo>
                    <a:pt x="748" y="7408"/>
                    <a:pt x="836" y="7357"/>
                    <a:pt x="865" y="7357"/>
                  </a:cubicBezTo>
                  <a:cubicBezTo>
                    <a:pt x="872" y="7364"/>
                    <a:pt x="880" y="7393"/>
                    <a:pt x="887" y="7415"/>
                  </a:cubicBezTo>
                  <a:cubicBezTo>
                    <a:pt x="895" y="7452"/>
                    <a:pt x="909" y="7496"/>
                    <a:pt x="946" y="7503"/>
                  </a:cubicBezTo>
                  <a:cubicBezTo>
                    <a:pt x="968" y="7510"/>
                    <a:pt x="1012" y="7510"/>
                    <a:pt x="1034" y="7510"/>
                  </a:cubicBezTo>
                  <a:cubicBezTo>
                    <a:pt x="1078" y="7510"/>
                    <a:pt x="1319" y="7503"/>
                    <a:pt x="1407" y="7415"/>
                  </a:cubicBezTo>
                  <a:cubicBezTo>
                    <a:pt x="1466" y="7357"/>
                    <a:pt x="1620" y="7283"/>
                    <a:pt x="1708" y="7283"/>
                  </a:cubicBezTo>
                  <a:cubicBezTo>
                    <a:pt x="1737" y="7283"/>
                    <a:pt x="1759" y="7291"/>
                    <a:pt x="1767" y="7305"/>
                  </a:cubicBezTo>
                  <a:cubicBezTo>
                    <a:pt x="1818" y="7430"/>
                    <a:pt x="1920" y="7445"/>
                    <a:pt x="1994" y="7445"/>
                  </a:cubicBezTo>
                  <a:cubicBezTo>
                    <a:pt x="2045" y="7445"/>
                    <a:pt x="2096" y="7437"/>
                    <a:pt x="2169" y="7422"/>
                  </a:cubicBezTo>
                  <a:cubicBezTo>
                    <a:pt x="2206" y="7415"/>
                    <a:pt x="2206" y="7415"/>
                    <a:pt x="2206" y="7415"/>
                  </a:cubicBezTo>
                  <a:cubicBezTo>
                    <a:pt x="2199" y="7386"/>
                    <a:pt x="2199" y="7386"/>
                    <a:pt x="2199" y="7386"/>
                  </a:cubicBezTo>
                  <a:cubicBezTo>
                    <a:pt x="2191" y="7379"/>
                    <a:pt x="2184" y="7305"/>
                    <a:pt x="2257" y="7276"/>
                  </a:cubicBezTo>
                  <a:cubicBezTo>
                    <a:pt x="2272" y="7269"/>
                    <a:pt x="2294" y="7261"/>
                    <a:pt x="2309" y="7261"/>
                  </a:cubicBezTo>
                  <a:cubicBezTo>
                    <a:pt x="2360" y="7261"/>
                    <a:pt x="2397" y="7298"/>
                    <a:pt x="2411" y="7305"/>
                  </a:cubicBezTo>
                  <a:cubicBezTo>
                    <a:pt x="2411" y="7335"/>
                    <a:pt x="2411" y="7335"/>
                    <a:pt x="2411" y="7335"/>
                  </a:cubicBezTo>
                  <a:cubicBezTo>
                    <a:pt x="2440" y="7335"/>
                    <a:pt x="2440" y="7335"/>
                    <a:pt x="2440" y="7335"/>
                  </a:cubicBezTo>
                  <a:cubicBezTo>
                    <a:pt x="2470" y="7335"/>
                    <a:pt x="2536" y="7313"/>
                    <a:pt x="2550" y="7232"/>
                  </a:cubicBezTo>
                  <a:cubicBezTo>
                    <a:pt x="2550" y="7210"/>
                    <a:pt x="2558" y="7195"/>
                    <a:pt x="2572" y="7181"/>
                  </a:cubicBezTo>
                  <a:cubicBezTo>
                    <a:pt x="2580" y="7159"/>
                    <a:pt x="2594" y="7137"/>
                    <a:pt x="2587" y="7108"/>
                  </a:cubicBezTo>
                  <a:cubicBezTo>
                    <a:pt x="2580" y="7078"/>
                    <a:pt x="2558" y="7063"/>
                    <a:pt x="2507" y="7034"/>
                  </a:cubicBezTo>
                  <a:cubicBezTo>
                    <a:pt x="2477" y="7020"/>
                    <a:pt x="2448" y="7012"/>
                    <a:pt x="2426" y="7012"/>
                  </a:cubicBezTo>
                  <a:cubicBezTo>
                    <a:pt x="2375" y="7012"/>
                    <a:pt x="2353" y="7041"/>
                    <a:pt x="2338" y="7063"/>
                  </a:cubicBezTo>
                  <a:cubicBezTo>
                    <a:pt x="2331" y="7078"/>
                    <a:pt x="2323" y="7086"/>
                    <a:pt x="2309" y="7093"/>
                  </a:cubicBezTo>
                  <a:cubicBezTo>
                    <a:pt x="2287" y="7108"/>
                    <a:pt x="2250" y="7122"/>
                    <a:pt x="2221" y="7122"/>
                  </a:cubicBezTo>
                  <a:cubicBezTo>
                    <a:pt x="2199" y="7122"/>
                    <a:pt x="2162" y="7115"/>
                    <a:pt x="2133" y="7078"/>
                  </a:cubicBezTo>
                  <a:cubicBezTo>
                    <a:pt x="2111" y="7056"/>
                    <a:pt x="2103" y="7020"/>
                    <a:pt x="2118" y="6983"/>
                  </a:cubicBezTo>
                  <a:cubicBezTo>
                    <a:pt x="2126" y="6954"/>
                    <a:pt x="2140" y="6932"/>
                    <a:pt x="2155" y="6924"/>
                  </a:cubicBezTo>
                  <a:cubicBezTo>
                    <a:pt x="2213" y="6902"/>
                    <a:pt x="2228" y="6836"/>
                    <a:pt x="2236" y="6792"/>
                  </a:cubicBezTo>
                  <a:cubicBezTo>
                    <a:pt x="2236" y="6785"/>
                    <a:pt x="2236" y="6778"/>
                    <a:pt x="2243" y="6770"/>
                  </a:cubicBezTo>
                  <a:cubicBezTo>
                    <a:pt x="2250" y="6763"/>
                    <a:pt x="2287" y="6756"/>
                    <a:pt x="2309" y="6748"/>
                  </a:cubicBezTo>
                  <a:cubicBezTo>
                    <a:pt x="2353" y="6741"/>
                    <a:pt x="2397" y="6727"/>
                    <a:pt x="2433" y="6704"/>
                  </a:cubicBezTo>
                  <a:cubicBezTo>
                    <a:pt x="2455" y="6690"/>
                    <a:pt x="2470" y="6690"/>
                    <a:pt x="2477" y="6690"/>
                  </a:cubicBezTo>
                  <a:cubicBezTo>
                    <a:pt x="2499" y="6690"/>
                    <a:pt x="2507" y="6719"/>
                    <a:pt x="2514" y="6741"/>
                  </a:cubicBezTo>
                  <a:cubicBezTo>
                    <a:pt x="2514" y="6792"/>
                    <a:pt x="2543" y="6807"/>
                    <a:pt x="2572" y="6807"/>
                  </a:cubicBezTo>
                  <a:cubicBezTo>
                    <a:pt x="2609" y="6807"/>
                    <a:pt x="2646" y="6778"/>
                    <a:pt x="2653" y="6719"/>
                  </a:cubicBezTo>
                  <a:cubicBezTo>
                    <a:pt x="2741" y="6756"/>
                    <a:pt x="2800" y="6792"/>
                    <a:pt x="2800" y="6807"/>
                  </a:cubicBezTo>
                  <a:cubicBezTo>
                    <a:pt x="2785" y="6836"/>
                    <a:pt x="2756" y="6851"/>
                    <a:pt x="2734" y="6858"/>
                  </a:cubicBezTo>
                  <a:cubicBezTo>
                    <a:pt x="2697" y="6873"/>
                    <a:pt x="2660" y="6895"/>
                    <a:pt x="2646" y="6939"/>
                  </a:cubicBezTo>
                  <a:cubicBezTo>
                    <a:pt x="2638" y="6976"/>
                    <a:pt x="2646" y="6998"/>
                    <a:pt x="2653" y="7012"/>
                  </a:cubicBezTo>
                  <a:cubicBezTo>
                    <a:pt x="2682" y="7049"/>
                    <a:pt x="2756" y="7056"/>
                    <a:pt x="2778" y="7056"/>
                  </a:cubicBezTo>
                  <a:cubicBezTo>
                    <a:pt x="2792" y="7056"/>
                    <a:pt x="2807" y="7056"/>
                    <a:pt x="2822" y="7049"/>
                  </a:cubicBezTo>
                  <a:lnTo>
                    <a:pt x="2822" y="7049"/>
                  </a:lnTo>
                  <a:cubicBezTo>
                    <a:pt x="2836" y="7049"/>
                    <a:pt x="2858" y="7063"/>
                    <a:pt x="2873" y="7071"/>
                  </a:cubicBezTo>
                  <a:cubicBezTo>
                    <a:pt x="2895" y="7086"/>
                    <a:pt x="2917" y="7093"/>
                    <a:pt x="2939" y="7093"/>
                  </a:cubicBezTo>
                  <a:cubicBezTo>
                    <a:pt x="2961" y="7093"/>
                    <a:pt x="2976" y="7086"/>
                    <a:pt x="2990" y="7063"/>
                  </a:cubicBezTo>
                  <a:cubicBezTo>
                    <a:pt x="2998" y="7034"/>
                    <a:pt x="2983" y="6983"/>
                    <a:pt x="2953" y="6946"/>
                  </a:cubicBezTo>
                  <a:cubicBezTo>
                    <a:pt x="2961" y="6954"/>
                    <a:pt x="2976" y="6961"/>
                    <a:pt x="2990" y="6968"/>
                  </a:cubicBezTo>
                  <a:cubicBezTo>
                    <a:pt x="3071" y="7020"/>
                    <a:pt x="3071" y="7056"/>
                    <a:pt x="3063" y="7093"/>
                  </a:cubicBezTo>
                  <a:cubicBezTo>
                    <a:pt x="3063" y="7122"/>
                    <a:pt x="3063" y="7144"/>
                    <a:pt x="3078" y="7159"/>
                  </a:cubicBezTo>
                  <a:cubicBezTo>
                    <a:pt x="3100" y="7181"/>
                    <a:pt x="3122" y="7195"/>
                    <a:pt x="3159" y="7195"/>
                  </a:cubicBezTo>
                  <a:cubicBezTo>
                    <a:pt x="3188" y="7195"/>
                    <a:pt x="3225" y="7181"/>
                    <a:pt x="3261" y="7159"/>
                  </a:cubicBezTo>
                  <a:cubicBezTo>
                    <a:pt x="3335" y="7115"/>
                    <a:pt x="3408" y="7086"/>
                    <a:pt x="3474" y="7086"/>
                  </a:cubicBezTo>
                  <a:cubicBezTo>
                    <a:pt x="3496" y="7086"/>
                    <a:pt x="3510" y="7093"/>
                    <a:pt x="3532" y="7093"/>
                  </a:cubicBezTo>
                  <a:cubicBezTo>
                    <a:pt x="3635" y="7115"/>
                    <a:pt x="3781" y="7173"/>
                    <a:pt x="3840" y="7203"/>
                  </a:cubicBezTo>
                  <a:cubicBezTo>
                    <a:pt x="3862" y="7217"/>
                    <a:pt x="3906" y="7232"/>
                    <a:pt x="3950" y="7247"/>
                  </a:cubicBezTo>
                  <a:cubicBezTo>
                    <a:pt x="4038" y="7276"/>
                    <a:pt x="4207" y="7327"/>
                    <a:pt x="4221" y="7371"/>
                  </a:cubicBezTo>
                  <a:cubicBezTo>
                    <a:pt x="4309" y="7577"/>
                    <a:pt x="4382" y="7679"/>
                    <a:pt x="4448" y="7686"/>
                  </a:cubicBezTo>
                  <a:cubicBezTo>
                    <a:pt x="4463" y="7686"/>
                    <a:pt x="4478" y="7686"/>
                    <a:pt x="4485" y="7686"/>
                  </a:cubicBezTo>
                  <a:cubicBezTo>
                    <a:pt x="4558" y="7686"/>
                    <a:pt x="4617" y="7650"/>
                    <a:pt x="4675" y="7613"/>
                  </a:cubicBezTo>
                  <a:cubicBezTo>
                    <a:pt x="4683" y="7606"/>
                    <a:pt x="4690" y="7606"/>
                    <a:pt x="4705" y="7606"/>
                  </a:cubicBezTo>
                  <a:cubicBezTo>
                    <a:pt x="4734" y="7606"/>
                    <a:pt x="4771" y="7642"/>
                    <a:pt x="4785" y="7650"/>
                  </a:cubicBezTo>
                  <a:cubicBezTo>
                    <a:pt x="4800" y="7672"/>
                    <a:pt x="4800" y="7672"/>
                    <a:pt x="4800" y="7672"/>
                  </a:cubicBezTo>
                  <a:cubicBezTo>
                    <a:pt x="4822" y="7657"/>
                    <a:pt x="4822" y="7657"/>
                    <a:pt x="4822" y="7657"/>
                  </a:cubicBezTo>
                  <a:cubicBezTo>
                    <a:pt x="4902" y="7606"/>
                    <a:pt x="4902" y="7606"/>
                    <a:pt x="4902" y="7606"/>
                  </a:cubicBezTo>
                  <a:cubicBezTo>
                    <a:pt x="4925" y="7613"/>
                    <a:pt x="4969" y="7628"/>
                    <a:pt x="5005" y="7628"/>
                  </a:cubicBezTo>
                  <a:cubicBezTo>
                    <a:pt x="5034" y="7628"/>
                    <a:pt x="5057" y="7620"/>
                    <a:pt x="5071" y="7606"/>
                  </a:cubicBezTo>
                  <a:cubicBezTo>
                    <a:pt x="5093" y="7569"/>
                    <a:pt x="5093" y="7525"/>
                    <a:pt x="5086" y="7503"/>
                  </a:cubicBezTo>
                  <a:cubicBezTo>
                    <a:pt x="5086" y="7474"/>
                    <a:pt x="5086" y="7474"/>
                    <a:pt x="5086" y="7474"/>
                  </a:cubicBezTo>
                  <a:cubicBezTo>
                    <a:pt x="5064" y="7474"/>
                    <a:pt x="5064" y="7474"/>
                    <a:pt x="5064" y="7474"/>
                  </a:cubicBezTo>
                  <a:cubicBezTo>
                    <a:pt x="4976" y="7467"/>
                    <a:pt x="4910" y="7445"/>
                    <a:pt x="4881" y="7422"/>
                  </a:cubicBezTo>
                  <a:cubicBezTo>
                    <a:pt x="4866" y="7415"/>
                    <a:pt x="4851" y="7408"/>
                    <a:pt x="4837" y="7401"/>
                  </a:cubicBezTo>
                  <a:cubicBezTo>
                    <a:pt x="4822" y="7393"/>
                    <a:pt x="4807" y="7379"/>
                    <a:pt x="4800" y="7379"/>
                  </a:cubicBezTo>
                  <a:cubicBezTo>
                    <a:pt x="4800" y="7371"/>
                    <a:pt x="4807" y="7371"/>
                    <a:pt x="4807" y="7371"/>
                  </a:cubicBezTo>
                  <a:cubicBezTo>
                    <a:pt x="4837" y="7342"/>
                    <a:pt x="4925" y="7327"/>
                    <a:pt x="4983" y="7313"/>
                  </a:cubicBezTo>
                  <a:cubicBezTo>
                    <a:pt x="4998" y="7313"/>
                    <a:pt x="5005" y="7313"/>
                    <a:pt x="5020" y="7313"/>
                  </a:cubicBezTo>
                  <a:cubicBezTo>
                    <a:pt x="5093" y="7298"/>
                    <a:pt x="5181" y="7247"/>
                    <a:pt x="5225" y="7188"/>
                  </a:cubicBezTo>
                  <a:cubicBezTo>
                    <a:pt x="5232" y="7173"/>
                    <a:pt x="5232" y="7173"/>
                    <a:pt x="5232" y="7173"/>
                  </a:cubicBezTo>
                  <a:cubicBezTo>
                    <a:pt x="5262" y="7144"/>
                    <a:pt x="5291" y="7108"/>
                    <a:pt x="5328" y="7108"/>
                  </a:cubicBezTo>
                  <a:cubicBezTo>
                    <a:pt x="5342" y="7108"/>
                    <a:pt x="5364" y="7115"/>
                    <a:pt x="5379" y="7129"/>
                  </a:cubicBezTo>
                  <a:cubicBezTo>
                    <a:pt x="5416" y="7144"/>
                    <a:pt x="5452" y="7159"/>
                    <a:pt x="5489" y="7159"/>
                  </a:cubicBezTo>
                  <a:cubicBezTo>
                    <a:pt x="5562" y="7159"/>
                    <a:pt x="5621" y="7115"/>
                    <a:pt x="5665" y="7078"/>
                  </a:cubicBezTo>
                  <a:cubicBezTo>
                    <a:pt x="5679" y="7063"/>
                    <a:pt x="5701" y="7056"/>
                    <a:pt x="5716" y="7056"/>
                  </a:cubicBezTo>
                  <a:cubicBezTo>
                    <a:pt x="5745" y="7056"/>
                    <a:pt x="5782" y="7078"/>
                    <a:pt x="5789" y="7100"/>
                  </a:cubicBezTo>
                  <a:cubicBezTo>
                    <a:pt x="5797" y="7115"/>
                    <a:pt x="5811" y="7129"/>
                    <a:pt x="5833" y="7129"/>
                  </a:cubicBezTo>
                  <a:cubicBezTo>
                    <a:pt x="5870" y="7129"/>
                    <a:pt x="5899" y="7086"/>
                    <a:pt x="5914" y="7071"/>
                  </a:cubicBezTo>
                  <a:cubicBezTo>
                    <a:pt x="5929" y="7041"/>
                    <a:pt x="5980" y="6954"/>
                    <a:pt x="5936" y="6851"/>
                  </a:cubicBezTo>
                  <a:cubicBezTo>
                    <a:pt x="5914" y="6800"/>
                    <a:pt x="5892" y="6763"/>
                    <a:pt x="5877" y="6734"/>
                  </a:cubicBezTo>
                  <a:cubicBezTo>
                    <a:pt x="5833" y="6660"/>
                    <a:pt x="5841" y="6660"/>
                    <a:pt x="5855" y="6646"/>
                  </a:cubicBezTo>
                  <a:cubicBezTo>
                    <a:pt x="5870" y="6639"/>
                    <a:pt x="5884" y="6631"/>
                    <a:pt x="5899" y="6624"/>
                  </a:cubicBezTo>
                  <a:cubicBezTo>
                    <a:pt x="5929" y="6617"/>
                    <a:pt x="5958" y="6602"/>
                    <a:pt x="5965" y="6572"/>
                  </a:cubicBezTo>
                  <a:cubicBezTo>
                    <a:pt x="5965" y="6536"/>
                    <a:pt x="5943" y="6514"/>
                    <a:pt x="5907" y="6477"/>
                  </a:cubicBezTo>
                  <a:cubicBezTo>
                    <a:pt x="5833" y="6411"/>
                    <a:pt x="5841" y="6404"/>
                    <a:pt x="5862" y="6331"/>
                  </a:cubicBezTo>
                  <a:cubicBezTo>
                    <a:pt x="5870" y="6316"/>
                    <a:pt x="5877" y="6301"/>
                    <a:pt x="5877" y="6279"/>
                  </a:cubicBezTo>
                  <a:cubicBezTo>
                    <a:pt x="5899" y="6213"/>
                    <a:pt x="5870" y="6162"/>
                    <a:pt x="5848" y="6126"/>
                  </a:cubicBezTo>
                  <a:cubicBezTo>
                    <a:pt x="5826" y="6089"/>
                    <a:pt x="5826" y="6089"/>
                    <a:pt x="5833" y="6082"/>
                  </a:cubicBezTo>
                  <a:cubicBezTo>
                    <a:pt x="5914" y="6016"/>
                    <a:pt x="5980" y="5832"/>
                    <a:pt x="5980" y="5730"/>
                  </a:cubicBezTo>
                  <a:cubicBezTo>
                    <a:pt x="5980" y="5671"/>
                    <a:pt x="5943" y="5598"/>
                    <a:pt x="5899" y="5510"/>
                  </a:cubicBezTo>
                  <a:cubicBezTo>
                    <a:pt x="5855" y="5422"/>
                    <a:pt x="5804" y="5320"/>
                    <a:pt x="5804" y="5239"/>
                  </a:cubicBezTo>
                  <a:cubicBezTo>
                    <a:pt x="5789" y="5092"/>
                    <a:pt x="5804" y="5041"/>
                    <a:pt x="5804" y="5041"/>
                  </a:cubicBezTo>
                  <a:cubicBezTo>
                    <a:pt x="5804" y="5034"/>
                    <a:pt x="5804" y="5034"/>
                    <a:pt x="5804" y="5034"/>
                  </a:cubicBezTo>
                  <a:cubicBezTo>
                    <a:pt x="5797" y="5019"/>
                    <a:pt x="5797" y="5019"/>
                    <a:pt x="5797" y="5019"/>
                  </a:cubicBezTo>
                  <a:cubicBezTo>
                    <a:pt x="5782" y="4997"/>
                    <a:pt x="5657" y="4799"/>
                    <a:pt x="5584" y="4748"/>
                  </a:cubicBezTo>
                  <a:lnTo>
                    <a:pt x="5577" y="4748"/>
                  </a:lnTo>
                  <a:lnTo>
                    <a:pt x="5584" y="4741"/>
                  </a:lnTo>
                  <a:cubicBezTo>
                    <a:pt x="5599" y="4719"/>
                    <a:pt x="5635" y="4689"/>
                    <a:pt x="5665" y="4631"/>
                  </a:cubicBezTo>
                  <a:cubicBezTo>
                    <a:pt x="5723" y="4499"/>
                    <a:pt x="5804" y="4418"/>
                    <a:pt x="5826" y="4418"/>
                  </a:cubicBezTo>
                  <a:cubicBezTo>
                    <a:pt x="5833" y="4426"/>
                    <a:pt x="5841" y="4433"/>
                    <a:pt x="5855" y="4440"/>
                  </a:cubicBezTo>
                  <a:cubicBezTo>
                    <a:pt x="5877" y="4455"/>
                    <a:pt x="5899" y="4477"/>
                    <a:pt x="5936" y="4477"/>
                  </a:cubicBezTo>
                  <a:cubicBezTo>
                    <a:pt x="5958" y="4477"/>
                    <a:pt x="5980" y="4470"/>
                    <a:pt x="6009" y="4448"/>
                  </a:cubicBezTo>
                  <a:cubicBezTo>
                    <a:pt x="6075" y="4389"/>
                    <a:pt x="6126" y="4374"/>
                    <a:pt x="6163" y="4360"/>
                  </a:cubicBezTo>
                  <a:cubicBezTo>
                    <a:pt x="6185" y="4360"/>
                    <a:pt x="6192" y="4345"/>
                    <a:pt x="6200" y="4330"/>
                  </a:cubicBezTo>
                  <a:cubicBezTo>
                    <a:pt x="6207" y="4308"/>
                    <a:pt x="6192" y="4294"/>
                    <a:pt x="6178" y="4286"/>
                  </a:cubicBezTo>
                  <a:cubicBezTo>
                    <a:pt x="6170" y="4279"/>
                    <a:pt x="6163" y="4264"/>
                    <a:pt x="6163" y="4264"/>
                  </a:cubicBezTo>
                  <a:cubicBezTo>
                    <a:pt x="6163" y="4257"/>
                    <a:pt x="6163" y="4257"/>
                    <a:pt x="6170" y="4257"/>
                  </a:cubicBezTo>
                  <a:cubicBezTo>
                    <a:pt x="6185" y="4257"/>
                    <a:pt x="6200" y="4264"/>
                    <a:pt x="6214" y="4279"/>
                  </a:cubicBezTo>
                  <a:cubicBezTo>
                    <a:pt x="6222" y="4286"/>
                    <a:pt x="6236" y="4286"/>
                    <a:pt x="6243" y="4286"/>
                  </a:cubicBezTo>
                  <a:cubicBezTo>
                    <a:pt x="6265" y="4286"/>
                    <a:pt x="6288" y="4272"/>
                    <a:pt x="6302" y="4235"/>
                  </a:cubicBezTo>
                  <a:cubicBezTo>
                    <a:pt x="6331" y="4177"/>
                    <a:pt x="6346" y="4059"/>
                    <a:pt x="6295" y="3993"/>
                  </a:cubicBezTo>
                  <a:cubicBezTo>
                    <a:pt x="6273" y="3971"/>
                    <a:pt x="6265" y="3964"/>
                    <a:pt x="6265" y="3957"/>
                  </a:cubicBezTo>
                  <a:lnTo>
                    <a:pt x="6273" y="3957"/>
                  </a:lnTo>
                  <a:cubicBezTo>
                    <a:pt x="6280" y="3957"/>
                    <a:pt x="6288" y="3957"/>
                    <a:pt x="6302" y="3957"/>
                  </a:cubicBezTo>
                  <a:cubicBezTo>
                    <a:pt x="6317" y="3898"/>
                    <a:pt x="6317" y="3898"/>
                    <a:pt x="6317" y="3898"/>
                  </a:cubicBezTo>
                  <a:cubicBezTo>
                    <a:pt x="6265" y="3869"/>
                    <a:pt x="6163" y="3803"/>
                    <a:pt x="6178" y="3751"/>
                  </a:cubicBezTo>
                  <a:cubicBezTo>
                    <a:pt x="6192" y="3686"/>
                    <a:pt x="6200" y="3686"/>
                    <a:pt x="6214" y="3686"/>
                  </a:cubicBezTo>
                  <a:cubicBezTo>
                    <a:pt x="6229" y="3686"/>
                    <a:pt x="6243" y="3686"/>
                    <a:pt x="6273" y="3693"/>
                  </a:cubicBezTo>
                  <a:cubicBezTo>
                    <a:pt x="6317" y="3708"/>
                    <a:pt x="6346" y="3729"/>
                    <a:pt x="6375" y="3759"/>
                  </a:cubicBezTo>
                  <a:cubicBezTo>
                    <a:pt x="6397" y="3773"/>
                    <a:pt x="6411" y="3795"/>
                    <a:pt x="6433" y="3795"/>
                  </a:cubicBezTo>
                  <a:cubicBezTo>
                    <a:pt x="6448" y="3795"/>
                    <a:pt x="6455" y="3788"/>
                    <a:pt x="6470" y="3773"/>
                  </a:cubicBezTo>
                  <a:cubicBezTo>
                    <a:pt x="6484" y="3766"/>
                    <a:pt x="6499" y="3759"/>
                    <a:pt x="6536" y="3759"/>
                  </a:cubicBezTo>
                  <a:cubicBezTo>
                    <a:pt x="6543" y="3759"/>
                    <a:pt x="6550" y="3759"/>
                    <a:pt x="6565" y="3766"/>
                  </a:cubicBezTo>
                  <a:cubicBezTo>
                    <a:pt x="6572" y="3766"/>
                    <a:pt x="6580" y="3766"/>
                    <a:pt x="6587" y="3766"/>
                  </a:cubicBezTo>
                  <a:cubicBezTo>
                    <a:pt x="6616" y="3766"/>
                    <a:pt x="6653" y="3737"/>
                    <a:pt x="6675" y="3708"/>
                  </a:cubicBezTo>
                  <a:cubicBezTo>
                    <a:pt x="6697" y="3671"/>
                    <a:pt x="6697" y="3627"/>
                    <a:pt x="6668" y="3583"/>
                  </a:cubicBezTo>
                  <a:cubicBezTo>
                    <a:pt x="6638" y="3532"/>
                    <a:pt x="6602" y="3524"/>
                    <a:pt x="6580" y="3517"/>
                  </a:cubicBezTo>
                  <a:cubicBezTo>
                    <a:pt x="6565" y="3517"/>
                    <a:pt x="6558" y="3510"/>
                    <a:pt x="6543" y="3495"/>
                  </a:cubicBezTo>
                  <a:cubicBezTo>
                    <a:pt x="6514" y="3429"/>
                    <a:pt x="6521" y="3363"/>
                    <a:pt x="6558" y="3304"/>
                  </a:cubicBezTo>
                  <a:cubicBezTo>
                    <a:pt x="6594" y="3253"/>
                    <a:pt x="6594" y="3187"/>
                    <a:pt x="6565" y="3129"/>
                  </a:cubicBezTo>
                  <a:cubicBezTo>
                    <a:pt x="6580" y="3121"/>
                    <a:pt x="6594" y="3114"/>
                    <a:pt x="6602" y="3085"/>
                  </a:cubicBezTo>
                  <a:cubicBezTo>
                    <a:pt x="6616" y="3026"/>
                    <a:pt x="6602" y="2799"/>
                    <a:pt x="6470" y="2667"/>
                  </a:cubicBezTo>
                  <a:cubicBezTo>
                    <a:pt x="6346" y="2542"/>
                    <a:pt x="6273" y="2506"/>
                    <a:pt x="6185" y="2477"/>
                  </a:cubicBezTo>
                  <a:cubicBezTo>
                    <a:pt x="6156" y="2469"/>
                    <a:pt x="6156" y="2462"/>
                    <a:pt x="6156" y="2432"/>
                  </a:cubicBezTo>
                  <a:cubicBezTo>
                    <a:pt x="6156" y="2418"/>
                    <a:pt x="6156" y="2403"/>
                    <a:pt x="6148" y="2389"/>
                  </a:cubicBezTo>
                  <a:cubicBezTo>
                    <a:pt x="6141" y="2344"/>
                    <a:pt x="6104" y="2337"/>
                    <a:pt x="6082" y="2322"/>
                  </a:cubicBezTo>
                  <a:cubicBezTo>
                    <a:pt x="6075" y="2322"/>
                    <a:pt x="6060" y="2315"/>
                    <a:pt x="6060" y="2308"/>
                  </a:cubicBezTo>
                  <a:cubicBezTo>
                    <a:pt x="6053" y="2301"/>
                    <a:pt x="6068" y="2279"/>
                    <a:pt x="6104" y="2249"/>
                  </a:cubicBezTo>
                  <a:cubicBezTo>
                    <a:pt x="6141" y="2227"/>
                    <a:pt x="6156" y="2198"/>
                    <a:pt x="6148" y="2169"/>
                  </a:cubicBezTo>
                  <a:cubicBezTo>
                    <a:pt x="6148" y="2132"/>
                    <a:pt x="6119" y="2103"/>
                    <a:pt x="6068" y="2081"/>
                  </a:cubicBezTo>
                  <a:cubicBezTo>
                    <a:pt x="5987" y="2051"/>
                    <a:pt x="5870" y="1941"/>
                    <a:pt x="5870" y="1861"/>
                  </a:cubicBezTo>
                  <a:cubicBezTo>
                    <a:pt x="5870" y="1824"/>
                    <a:pt x="5877" y="1788"/>
                    <a:pt x="5892" y="1758"/>
                  </a:cubicBezTo>
                  <a:cubicBezTo>
                    <a:pt x="5907" y="1707"/>
                    <a:pt x="5921" y="1656"/>
                    <a:pt x="5884" y="1612"/>
                  </a:cubicBezTo>
                  <a:cubicBezTo>
                    <a:pt x="5848" y="1575"/>
                    <a:pt x="5804" y="1465"/>
                    <a:pt x="5833" y="1414"/>
                  </a:cubicBezTo>
                  <a:cubicBezTo>
                    <a:pt x="5848" y="1377"/>
                    <a:pt x="5877" y="1370"/>
                    <a:pt x="5899" y="1370"/>
                  </a:cubicBezTo>
                  <a:lnTo>
                    <a:pt x="5899" y="1370"/>
                  </a:lnTo>
                  <a:cubicBezTo>
                    <a:pt x="5943" y="1377"/>
                    <a:pt x="5943" y="1377"/>
                    <a:pt x="5943" y="1377"/>
                  </a:cubicBezTo>
                  <a:cubicBezTo>
                    <a:pt x="5936" y="1341"/>
                    <a:pt x="5936" y="1341"/>
                    <a:pt x="5936" y="1341"/>
                  </a:cubicBezTo>
                  <a:cubicBezTo>
                    <a:pt x="5936" y="1304"/>
                    <a:pt x="5921" y="1194"/>
                    <a:pt x="5862" y="1165"/>
                  </a:cubicBezTo>
                  <a:cubicBezTo>
                    <a:pt x="5855" y="1165"/>
                    <a:pt x="5855" y="1165"/>
                    <a:pt x="5855" y="1165"/>
                  </a:cubicBezTo>
                  <a:cubicBezTo>
                    <a:pt x="5819" y="1143"/>
                    <a:pt x="5804" y="1136"/>
                    <a:pt x="5811" y="1084"/>
                  </a:cubicBezTo>
                  <a:cubicBezTo>
                    <a:pt x="5819" y="1033"/>
                    <a:pt x="5811" y="1003"/>
                    <a:pt x="5797" y="974"/>
                  </a:cubicBezTo>
                  <a:cubicBezTo>
                    <a:pt x="5789" y="952"/>
                    <a:pt x="5782" y="930"/>
                    <a:pt x="5782" y="894"/>
                  </a:cubicBezTo>
                  <a:cubicBezTo>
                    <a:pt x="5767" y="820"/>
                    <a:pt x="5723" y="813"/>
                    <a:pt x="5709" y="813"/>
                  </a:cubicBezTo>
                  <a:cubicBezTo>
                    <a:pt x="5672" y="813"/>
                    <a:pt x="5635" y="842"/>
                    <a:pt x="5606" y="894"/>
                  </a:cubicBezTo>
                  <a:cubicBezTo>
                    <a:pt x="5599" y="916"/>
                    <a:pt x="5591" y="938"/>
                    <a:pt x="5591" y="952"/>
                  </a:cubicBezTo>
                  <a:cubicBezTo>
                    <a:pt x="5584" y="974"/>
                    <a:pt x="5577" y="982"/>
                    <a:pt x="5518" y="996"/>
                  </a:cubicBezTo>
                  <a:cubicBezTo>
                    <a:pt x="5503" y="996"/>
                    <a:pt x="5496" y="996"/>
                    <a:pt x="5481" y="996"/>
                  </a:cubicBezTo>
                  <a:cubicBezTo>
                    <a:pt x="5460" y="996"/>
                    <a:pt x="5416" y="996"/>
                    <a:pt x="5416" y="886"/>
                  </a:cubicBezTo>
                  <a:cubicBezTo>
                    <a:pt x="5416" y="842"/>
                    <a:pt x="5393" y="667"/>
                    <a:pt x="5320" y="667"/>
                  </a:cubicBezTo>
                  <a:cubicBezTo>
                    <a:pt x="5313" y="667"/>
                    <a:pt x="5291" y="667"/>
                    <a:pt x="5276" y="689"/>
                  </a:cubicBezTo>
                  <a:cubicBezTo>
                    <a:pt x="5269" y="710"/>
                    <a:pt x="5247" y="732"/>
                    <a:pt x="5232" y="754"/>
                  </a:cubicBezTo>
                  <a:cubicBezTo>
                    <a:pt x="5232" y="740"/>
                    <a:pt x="5240" y="732"/>
                    <a:pt x="5247" y="718"/>
                  </a:cubicBezTo>
                  <a:cubicBezTo>
                    <a:pt x="5262" y="659"/>
                    <a:pt x="5276" y="622"/>
                    <a:pt x="5284" y="601"/>
                  </a:cubicBezTo>
                  <a:cubicBezTo>
                    <a:pt x="5306" y="549"/>
                    <a:pt x="5313" y="535"/>
                    <a:pt x="5298" y="520"/>
                  </a:cubicBezTo>
                  <a:cubicBezTo>
                    <a:pt x="5291" y="498"/>
                    <a:pt x="5276" y="498"/>
                    <a:pt x="5262" y="491"/>
                  </a:cubicBezTo>
                  <a:cubicBezTo>
                    <a:pt x="5262" y="491"/>
                    <a:pt x="5254" y="491"/>
                    <a:pt x="5247" y="483"/>
                  </a:cubicBezTo>
                  <a:cubicBezTo>
                    <a:pt x="5210" y="469"/>
                    <a:pt x="5203" y="447"/>
                    <a:pt x="5210" y="417"/>
                  </a:cubicBezTo>
                  <a:cubicBezTo>
                    <a:pt x="5218" y="381"/>
                    <a:pt x="5203" y="300"/>
                    <a:pt x="5174" y="256"/>
                  </a:cubicBezTo>
                  <a:cubicBezTo>
                    <a:pt x="5152" y="227"/>
                    <a:pt x="5122" y="220"/>
                    <a:pt x="5108" y="220"/>
                  </a:cubicBezTo>
                  <a:cubicBezTo>
                    <a:pt x="5100" y="220"/>
                    <a:pt x="5086" y="220"/>
                    <a:pt x="5079" y="227"/>
                  </a:cubicBezTo>
                  <a:cubicBezTo>
                    <a:pt x="5049" y="234"/>
                    <a:pt x="5027" y="263"/>
                    <a:pt x="5005" y="293"/>
                  </a:cubicBezTo>
                  <a:cubicBezTo>
                    <a:pt x="4991" y="308"/>
                    <a:pt x="4976" y="329"/>
                    <a:pt x="4969" y="329"/>
                  </a:cubicBezTo>
                  <a:cubicBezTo>
                    <a:pt x="4961" y="329"/>
                    <a:pt x="4954" y="322"/>
                    <a:pt x="4939" y="308"/>
                  </a:cubicBezTo>
                  <a:cubicBezTo>
                    <a:pt x="4902" y="271"/>
                    <a:pt x="4881" y="249"/>
                    <a:pt x="4859" y="249"/>
                  </a:cubicBezTo>
                  <a:cubicBezTo>
                    <a:pt x="4837" y="249"/>
                    <a:pt x="4822" y="271"/>
                    <a:pt x="4807" y="293"/>
                  </a:cubicBezTo>
                  <a:cubicBezTo>
                    <a:pt x="4800" y="308"/>
                    <a:pt x="4793" y="315"/>
                    <a:pt x="4785" y="329"/>
                  </a:cubicBezTo>
                  <a:cubicBezTo>
                    <a:pt x="4785" y="315"/>
                    <a:pt x="4785" y="293"/>
                    <a:pt x="4793" y="256"/>
                  </a:cubicBezTo>
                  <a:cubicBezTo>
                    <a:pt x="4807" y="110"/>
                    <a:pt x="4815" y="29"/>
                    <a:pt x="4763" y="7"/>
                  </a:cubicBezTo>
                  <a:cubicBezTo>
                    <a:pt x="4749" y="7"/>
                    <a:pt x="4741" y="0"/>
                    <a:pt x="4727" y="0"/>
                  </a:cubicBezTo>
                  <a:lnTo>
                    <a:pt x="4727" y="3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" name="Freeform 14"/>
            <p:cNvSpPr>
              <a:spLocks noChangeArrowheads="1"/>
            </p:cNvSpPr>
            <p:nvPr/>
          </p:nvSpPr>
          <p:spPr bwMode="auto">
            <a:xfrm>
              <a:off x="5863572" y="8279562"/>
              <a:ext cx="4125675" cy="4147562"/>
            </a:xfrm>
            <a:custGeom>
              <a:avLst/>
              <a:gdLst>
                <a:gd name="T0" fmla="*/ 2616 w 10735"/>
                <a:gd name="T1" fmla="*/ 10618 h 10919"/>
                <a:gd name="T2" fmla="*/ 2183 w 10735"/>
                <a:gd name="T3" fmla="*/ 10031 h 10919"/>
                <a:gd name="T4" fmla="*/ 1759 w 10735"/>
                <a:gd name="T5" fmla="*/ 10039 h 10919"/>
                <a:gd name="T6" fmla="*/ 2008 w 10735"/>
                <a:gd name="T7" fmla="*/ 9584 h 10919"/>
                <a:gd name="T8" fmla="*/ 2513 w 10735"/>
                <a:gd name="T9" fmla="*/ 9130 h 10919"/>
                <a:gd name="T10" fmla="*/ 2433 w 10735"/>
                <a:gd name="T11" fmla="*/ 7760 h 10919"/>
                <a:gd name="T12" fmla="*/ 2660 w 10735"/>
                <a:gd name="T13" fmla="*/ 6932 h 10919"/>
                <a:gd name="T14" fmla="*/ 2814 w 10735"/>
                <a:gd name="T15" fmla="*/ 6258 h 10919"/>
                <a:gd name="T16" fmla="*/ 3252 w 10735"/>
                <a:gd name="T17" fmla="*/ 6082 h 10919"/>
                <a:gd name="T18" fmla="*/ 2784 w 10735"/>
                <a:gd name="T19" fmla="*/ 4917 h 10919"/>
                <a:gd name="T20" fmla="*/ 2572 w 10735"/>
                <a:gd name="T21" fmla="*/ 3847 h 10919"/>
                <a:gd name="T22" fmla="*/ 2161 w 10735"/>
                <a:gd name="T23" fmla="*/ 3561 h 10919"/>
                <a:gd name="T24" fmla="*/ 1927 w 10735"/>
                <a:gd name="T25" fmla="*/ 3056 h 10919"/>
                <a:gd name="T26" fmla="*/ 1531 w 10735"/>
                <a:gd name="T27" fmla="*/ 2843 h 10919"/>
                <a:gd name="T28" fmla="*/ 1223 w 10735"/>
                <a:gd name="T29" fmla="*/ 2667 h 10919"/>
                <a:gd name="T30" fmla="*/ 960 w 10735"/>
                <a:gd name="T31" fmla="*/ 2594 h 10919"/>
                <a:gd name="T32" fmla="*/ 879 w 10735"/>
                <a:gd name="T33" fmla="*/ 3048 h 10919"/>
                <a:gd name="T34" fmla="*/ 286 w 10735"/>
                <a:gd name="T35" fmla="*/ 3298 h 10919"/>
                <a:gd name="T36" fmla="*/ 300 w 10735"/>
                <a:gd name="T37" fmla="*/ 2865 h 10919"/>
                <a:gd name="T38" fmla="*/ 51 w 10735"/>
                <a:gd name="T39" fmla="*/ 1590 h 10919"/>
                <a:gd name="T40" fmla="*/ 659 w 10735"/>
                <a:gd name="T41" fmla="*/ 1363 h 10919"/>
                <a:gd name="T42" fmla="*/ 1121 w 10735"/>
                <a:gd name="T43" fmla="*/ 1062 h 10919"/>
                <a:gd name="T44" fmla="*/ 1590 w 10735"/>
                <a:gd name="T45" fmla="*/ 879 h 10919"/>
                <a:gd name="T46" fmla="*/ 2220 w 10735"/>
                <a:gd name="T47" fmla="*/ 286 h 10919"/>
                <a:gd name="T48" fmla="*/ 2506 w 10735"/>
                <a:gd name="T49" fmla="*/ 29 h 10919"/>
                <a:gd name="T50" fmla="*/ 3098 w 10735"/>
                <a:gd name="T51" fmla="*/ 542 h 10919"/>
                <a:gd name="T52" fmla="*/ 3523 w 10735"/>
                <a:gd name="T53" fmla="*/ 1062 h 10919"/>
                <a:gd name="T54" fmla="*/ 3919 w 10735"/>
                <a:gd name="T55" fmla="*/ 1004 h 10919"/>
                <a:gd name="T56" fmla="*/ 4007 w 10735"/>
                <a:gd name="T57" fmla="*/ 506 h 10919"/>
                <a:gd name="T58" fmla="*/ 4622 w 10735"/>
                <a:gd name="T59" fmla="*/ 623 h 10919"/>
                <a:gd name="T60" fmla="*/ 4886 w 10735"/>
                <a:gd name="T61" fmla="*/ 872 h 10919"/>
                <a:gd name="T62" fmla="*/ 5128 w 10735"/>
                <a:gd name="T63" fmla="*/ 51 h 10919"/>
                <a:gd name="T64" fmla="*/ 5560 w 10735"/>
                <a:gd name="T65" fmla="*/ 410 h 10919"/>
                <a:gd name="T66" fmla="*/ 6286 w 10735"/>
                <a:gd name="T67" fmla="*/ 352 h 10919"/>
                <a:gd name="T68" fmla="*/ 6682 w 10735"/>
                <a:gd name="T69" fmla="*/ 901 h 10919"/>
                <a:gd name="T70" fmla="*/ 7158 w 10735"/>
                <a:gd name="T71" fmla="*/ 1546 h 10919"/>
                <a:gd name="T72" fmla="*/ 7539 w 10735"/>
                <a:gd name="T73" fmla="*/ 2293 h 10919"/>
                <a:gd name="T74" fmla="*/ 7700 w 10735"/>
                <a:gd name="T75" fmla="*/ 2909 h 10919"/>
                <a:gd name="T76" fmla="*/ 8477 w 10735"/>
                <a:gd name="T77" fmla="*/ 3803 h 10919"/>
                <a:gd name="T78" fmla="*/ 9708 w 10735"/>
                <a:gd name="T79" fmla="*/ 4778 h 10919"/>
                <a:gd name="T80" fmla="*/ 10331 w 10735"/>
                <a:gd name="T81" fmla="*/ 5239 h 10919"/>
                <a:gd name="T82" fmla="*/ 10682 w 10735"/>
                <a:gd name="T83" fmla="*/ 5884 h 10919"/>
                <a:gd name="T84" fmla="*/ 10360 w 10735"/>
                <a:gd name="T85" fmla="*/ 6419 h 10919"/>
                <a:gd name="T86" fmla="*/ 9869 w 10735"/>
                <a:gd name="T87" fmla="*/ 6390 h 10919"/>
                <a:gd name="T88" fmla="*/ 9100 w 10735"/>
                <a:gd name="T89" fmla="*/ 7379 h 10919"/>
                <a:gd name="T90" fmla="*/ 8418 w 10735"/>
                <a:gd name="T91" fmla="*/ 8031 h 10919"/>
                <a:gd name="T92" fmla="*/ 8836 w 10735"/>
                <a:gd name="T93" fmla="*/ 9174 h 10919"/>
                <a:gd name="T94" fmla="*/ 9165 w 10735"/>
                <a:gd name="T95" fmla="*/ 9812 h 10919"/>
                <a:gd name="T96" fmla="*/ 8557 w 10735"/>
                <a:gd name="T97" fmla="*/ 9636 h 10919"/>
                <a:gd name="T98" fmla="*/ 8081 w 10735"/>
                <a:gd name="T99" fmla="*/ 9526 h 10919"/>
                <a:gd name="T100" fmla="*/ 7334 w 10735"/>
                <a:gd name="T101" fmla="*/ 9350 h 10919"/>
                <a:gd name="T102" fmla="*/ 6938 w 10735"/>
                <a:gd name="T103" fmla="*/ 9665 h 10919"/>
                <a:gd name="T104" fmla="*/ 5883 w 10735"/>
                <a:gd name="T105" fmla="*/ 9973 h 10919"/>
                <a:gd name="T106" fmla="*/ 5516 w 10735"/>
                <a:gd name="T107" fmla="*/ 10302 h 10919"/>
                <a:gd name="T108" fmla="*/ 4989 w 10735"/>
                <a:gd name="T109" fmla="*/ 10369 h 10919"/>
                <a:gd name="T110" fmla="*/ 4256 w 10735"/>
                <a:gd name="T111" fmla="*/ 10017 h 10919"/>
                <a:gd name="T112" fmla="*/ 3355 w 10735"/>
                <a:gd name="T113" fmla="*/ 9951 h 10919"/>
                <a:gd name="T114" fmla="*/ 2784 w 10735"/>
                <a:gd name="T115" fmla="*/ 10918 h 10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735" h="10919">
                  <a:moveTo>
                    <a:pt x="2784" y="10918"/>
                  </a:moveTo>
                  <a:lnTo>
                    <a:pt x="2784" y="10918"/>
                  </a:lnTo>
                  <a:cubicBezTo>
                    <a:pt x="2755" y="10918"/>
                    <a:pt x="2733" y="10911"/>
                    <a:pt x="2726" y="10889"/>
                  </a:cubicBezTo>
                  <a:cubicBezTo>
                    <a:pt x="2718" y="10860"/>
                    <a:pt x="2733" y="10830"/>
                    <a:pt x="2762" y="10808"/>
                  </a:cubicBezTo>
                  <a:cubicBezTo>
                    <a:pt x="2792" y="10786"/>
                    <a:pt x="2799" y="10750"/>
                    <a:pt x="2806" y="10684"/>
                  </a:cubicBezTo>
                  <a:cubicBezTo>
                    <a:pt x="2814" y="10662"/>
                    <a:pt x="2814" y="10640"/>
                    <a:pt x="2821" y="10618"/>
                  </a:cubicBezTo>
                  <a:cubicBezTo>
                    <a:pt x="2828" y="10574"/>
                    <a:pt x="2814" y="10552"/>
                    <a:pt x="2806" y="10537"/>
                  </a:cubicBezTo>
                  <a:cubicBezTo>
                    <a:pt x="2799" y="10530"/>
                    <a:pt x="2784" y="10522"/>
                    <a:pt x="2777" y="10522"/>
                  </a:cubicBezTo>
                  <a:cubicBezTo>
                    <a:pt x="2762" y="10522"/>
                    <a:pt x="2755" y="10530"/>
                    <a:pt x="2748" y="10544"/>
                  </a:cubicBezTo>
                  <a:cubicBezTo>
                    <a:pt x="2733" y="10588"/>
                    <a:pt x="2682" y="10618"/>
                    <a:pt x="2616" y="10618"/>
                  </a:cubicBezTo>
                  <a:cubicBezTo>
                    <a:pt x="2587" y="10618"/>
                    <a:pt x="2557" y="10610"/>
                    <a:pt x="2535" y="10596"/>
                  </a:cubicBezTo>
                  <a:cubicBezTo>
                    <a:pt x="2506" y="10581"/>
                    <a:pt x="2491" y="10552"/>
                    <a:pt x="2484" y="10522"/>
                  </a:cubicBezTo>
                  <a:cubicBezTo>
                    <a:pt x="2477" y="10486"/>
                    <a:pt x="2499" y="10449"/>
                    <a:pt x="2528" y="10412"/>
                  </a:cubicBezTo>
                  <a:cubicBezTo>
                    <a:pt x="2557" y="10391"/>
                    <a:pt x="2542" y="10339"/>
                    <a:pt x="2535" y="10325"/>
                  </a:cubicBezTo>
                  <a:cubicBezTo>
                    <a:pt x="2513" y="10281"/>
                    <a:pt x="2484" y="10244"/>
                    <a:pt x="2477" y="10244"/>
                  </a:cubicBezTo>
                  <a:cubicBezTo>
                    <a:pt x="2469" y="10251"/>
                    <a:pt x="2462" y="10251"/>
                    <a:pt x="2454" y="10251"/>
                  </a:cubicBezTo>
                  <a:cubicBezTo>
                    <a:pt x="2411" y="10251"/>
                    <a:pt x="2345" y="10229"/>
                    <a:pt x="2301" y="10185"/>
                  </a:cubicBezTo>
                  <a:cubicBezTo>
                    <a:pt x="2271" y="10156"/>
                    <a:pt x="2257" y="10112"/>
                    <a:pt x="2242" y="10083"/>
                  </a:cubicBezTo>
                  <a:cubicBezTo>
                    <a:pt x="2235" y="10068"/>
                    <a:pt x="2228" y="10046"/>
                    <a:pt x="2220" y="10039"/>
                  </a:cubicBezTo>
                  <a:cubicBezTo>
                    <a:pt x="2220" y="10039"/>
                    <a:pt x="2220" y="10031"/>
                    <a:pt x="2183" y="10031"/>
                  </a:cubicBezTo>
                  <a:cubicBezTo>
                    <a:pt x="2147" y="10031"/>
                    <a:pt x="2096" y="10039"/>
                    <a:pt x="2052" y="10046"/>
                  </a:cubicBezTo>
                  <a:cubicBezTo>
                    <a:pt x="2037" y="10053"/>
                    <a:pt x="2022" y="10053"/>
                    <a:pt x="2015" y="10053"/>
                  </a:cubicBezTo>
                  <a:cubicBezTo>
                    <a:pt x="2000" y="10053"/>
                    <a:pt x="1993" y="10053"/>
                    <a:pt x="1986" y="10053"/>
                  </a:cubicBezTo>
                  <a:cubicBezTo>
                    <a:pt x="1964" y="10053"/>
                    <a:pt x="1942" y="10046"/>
                    <a:pt x="1927" y="10024"/>
                  </a:cubicBezTo>
                  <a:cubicBezTo>
                    <a:pt x="1905" y="10002"/>
                    <a:pt x="1905" y="9966"/>
                    <a:pt x="1912" y="9922"/>
                  </a:cubicBezTo>
                  <a:cubicBezTo>
                    <a:pt x="1920" y="9907"/>
                    <a:pt x="1920" y="9892"/>
                    <a:pt x="1912" y="9878"/>
                  </a:cubicBezTo>
                  <a:cubicBezTo>
                    <a:pt x="1898" y="9870"/>
                    <a:pt x="1876" y="9856"/>
                    <a:pt x="1854" y="9856"/>
                  </a:cubicBezTo>
                  <a:cubicBezTo>
                    <a:pt x="1839" y="9856"/>
                    <a:pt x="1824" y="9863"/>
                    <a:pt x="1817" y="9870"/>
                  </a:cubicBezTo>
                  <a:cubicBezTo>
                    <a:pt x="1780" y="9892"/>
                    <a:pt x="1759" y="9980"/>
                    <a:pt x="1751" y="10017"/>
                  </a:cubicBezTo>
                  <a:lnTo>
                    <a:pt x="1759" y="10039"/>
                  </a:lnTo>
                  <a:cubicBezTo>
                    <a:pt x="1737" y="10039"/>
                    <a:pt x="1737" y="10039"/>
                    <a:pt x="1737" y="10039"/>
                  </a:cubicBezTo>
                  <a:cubicBezTo>
                    <a:pt x="1685" y="10031"/>
                    <a:pt x="1582" y="10017"/>
                    <a:pt x="1539" y="9988"/>
                  </a:cubicBezTo>
                  <a:cubicBezTo>
                    <a:pt x="1524" y="9973"/>
                    <a:pt x="1509" y="9966"/>
                    <a:pt x="1495" y="9958"/>
                  </a:cubicBezTo>
                  <a:cubicBezTo>
                    <a:pt x="1458" y="9943"/>
                    <a:pt x="1436" y="9929"/>
                    <a:pt x="1436" y="9900"/>
                  </a:cubicBezTo>
                  <a:cubicBezTo>
                    <a:pt x="1429" y="9885"/>
                    <a:pt x="1443" y="9870"/>
                    <a:pt x="1451" y="9856"/>
                  </a:cubicBezTo>
                  <a:cubicBezTo>
                    <a:pt x="1495" y="9819"/>
                    <a:pt x="1582" y="9804"/>
                    <a:pt x="1656" y="9790"/>
                  </a:cubicBezTo>
                  <a:cubicBezTo>
                    <a:pt x="1685" y="9790"/>
                    <a:pt x="1685" y="9790"/>
                    <a:pt x="1685" y="9790"/>
                  </a:cubicBezTo>
                  <a:cubicBezTo>
                    <a:pt x="1751" y="9775"/>
                    <a:pt x="1832" y="9731"/>
                    <a:pt x="1876" y="9680"/>
                  </a:cubicBezTo>
                  <a:cubicBezTo>
                    <a:pt x="1883" y="9672"/>
                    <a:pt x="1883" y="9672"/>
                    <a:pt x="1883" y="9672"/>
                  </a:cubicBezTo>
                  <a:cubicBezTo>
                    <a:pt x="1912" y="9629"/>
                    <a:pt x="1949" y="9584"/>
                    <a:pt x="2008" y="9584"/>
                  </a:cubicBezTo>
                  <a:cubicBezTo>
                    <a:pt x="2030" y="9584"/>
                    <a:pt x="2059" y="9592"/>
                    <a:pt x="2081" y="9607"/>
                  </a:cubicBezTo>
                  <a:cubicBezTo>
                    <a:pt x="2110" y="9621"/>
                    <a:pt x="2140" y="9629"/>
                    <a:pt x="2169" y="9629"/>
                  </a:cubicBezTo>
                  <a:cubicBezTo>
                    <a:pt x="2228" y="9629"/>
                    <a:pt x="2279" y="9592"/>
                    <a:pt x="2315" y="9562"/>
                  </a:cubicBezTo>
                  <a:cubicBezTo>
                    <a:pt x="2337" y="9541"/>
                    <a:pt x="2367" y="9533"/>
                    <a:pt x="2396" y="9533"/>
                  </a:cubicBezTo>
                  <a:cubicBezTo>
                    <a:pt x="2447" y="9533"/>
                    <a:pt x="2491" y="9570"/>
                    <a:pt x="2513" y="9599"/>
                  </a:cubicBezTo>
                  <a:lnTo>
                    <a:pt x="2513" y="9599"/>
                  </a:lnTo>
                  <a:cubicBezTo>
                    <a:pt x="2521" y="9599"/>
                    <a:pt x="2535" y="9592"/>
                    <a:pt x="2550" y="9562"/>
                  </a:cubicBezTo>
                  <a:cubicBezTo>
                    <a:pt x="2579" y="9526"/>
                    <a:pt x="2601" y="9453"/>
                    <a:pt x="2572" y="9387"/>
                  </a:cubicBezTo>
                  <a:cubicBezTo>
                    <a:pt x="2557" y="9343"/>
                    <a:pt x="2535" y="9306"/>
                    <a:pt x="2513" y="9277"/>
                  </a:cubicBezTo>
                  <a:cubicBezTo>
                    <a:pt x="2484" y="9218"/>
                    <a:pt x="2454" y="9167"/>
                    <a:pt x="2513" y="9130"/>
                  </a:cubicBezTo>
                  <a:cubicBezTo>
                    <a:pt x="2528" y="9123"/>
                    <a:pt x="2550" y="9108"/>
                    <a:pt x="2564" y="9101"/>
                  </a:cubicBezTo>
                  <a:cubicBezTo>
                    <a:pt x="2579" y="9101"/>
                    <a:pt x="2594" y="9086"/>
                    <a:pt x="2601" y="9086"/>
                  </a:cubicBezTo>
                  <a:cubicBezTo>
                    <a:pt x="2601" y="9079"/>
                    <a:pt x="2594" y="9072"/>
                    <a:pt x="2557" y="9028"/>
                  </a:cubicBezTo>
                  <a:cubicBezTo>
                    <a:pt x="2462" y="8954"/>
                    <a:pt x="2469" y="8918"/>
                    <a:pt x="2499" y="8837"/>
                  </a:cubicBezTo>
                  <a:cubicBezTo>
                    <a:pt x="2506" y="8822"/>
                    <a:pt x="2513" y="8808"/>
                    <a:pt x="2513" y="8786"/>
                  </a:cubicBezTo>
                  <a:cubicBezTo>
                    <a:pt x="2528" y="8742"/>
                    <a:pt x="2506" y="8705"/>
                    <a:pt x="2484" y="8669"/>
                  </a:cubicBezTo>
                  <a:cubicBezTo>
                    <a:pt x="2469" y="8639"/>
                    <a:pt x="2440" y="8603"/>
                    <a:pt x="2484" y="8566"/>
                  </a:cubicBezTo>
                  <a:cubicBezTo>
                    <a:pt x="2550" y="8515"/>
                    <a:pt x="2616" y="8346"/>
                    <a:pt x="2616" y="8251"/>
                  </a:cubicBezTo>
                  <a:cubicBezTo>
                    <a:pt x="2616" y="8207"/>
                    <a:pt x="2579" y="8134"/>
                    <a:pt x="2542" y="8053"/>
                  </a:cubicBezTo>
                  <a:cubicBezTo>
                    <a:pt x="2491" y="7958"/>
                    <a:pt x="2440" y="7848"/>
                    <a:pt x="2433" y="7760"/>
                  </a:cubicBezTo>
                  <a:cubicBezTo>
                    <a:pt x="2425" y="7635"/>
                    <a:pt x="2433" y="7577"/>
                    <a:pt x="2433" y="7562"/>
                  </a:cubicBezTo>
                  <a:cubicBezTo>
                    <a:pt x="2411" y="7525"/>
                    <a:pt x="2301" y="7350"/>
                    <a:pt x="2242" y="7313"/>
                  </a:cubicBezTo>
                  <a:cubicBezTo>
                    <a:pt x="2220" y="7298"/>
                    <a:pt x="2205" y="7284"/>
                    <a:pt x="2205" y="7269"/>
                  </a:cubicBezTo>
                  <a:cubicBezTo>
                    <a:pt x="2205" y="7254"/>
                    <a:pt x="2213" y="7247"/>
                    <a:pt x="2228" y="7232"/>
                  </a:cubicBezTo>
                  <a:cubicBezTo>
                    <a:pt x="2249" y="7210"/>
                    <a:pt x="2279" y="7181"/>
                    <a:pt x="2301" y="7130"/>
                  </a:cubicBezTo>
                  <a:cubicBezTo>
                    <a:pt x="2352" y="7020"/>
                    <a:pt x="2447" y="6895"/>
                    <a:pt x="2506" y="6895"/>
                  </a:cubicBezTo>
                  <a:cubicBezTo>
                    <a:pt x="2513" y="6895"/>
                    <a:pt x="2521" y="6895"/>
                    <a:pt x="2528" y="6895"/>
                  </a:cubicBezTo>
                  <a:cubicBezTo>
                    <a:pt x="2542" y="6903"/>
                    <a:pt x="2550" y="6917"/>
                    <a:pt x="2564" y="6925"/>
                  </a:cubicBezTo>
                  <a:cubicBezTo>
                    <a:pt x="2579" y="6939"/>
                    <a:pt x="2601" y="6954"/>
                    <a:pt x="2616" y="6954"/>
                  </a:cubicBezTo>
                  <a:cubicBezTo>
                    <a:pt x="2630" y="6954"/>
                    <a:pt x="2645" y="6947"/>
                    <a:pt x="2660" y="6932"/>
                  </a:cubicBezTo>
                  <a:cubicBezTo>
                    <a:pt x="2711" y="6888"/>
                    <a:pt x="2770" y="6859"/>
                    <a:pt x="2828" y="6844"/>
                  </a:cubicBezTo>
                  <a:cubicBezTo>
                    <a:pt x="2828" y="6837"/>
                    <a:pt x="2828" y="6837"/>
                    <a:pt x="2828" y="6837"/>
                  </a:cubicBezTo>
                  <a:cubicBezTo>
                    <a:pt x="2814" y="6822"/>
                    <a:pt x="2792" y="6800"/>
                    <a:pt x="2799" y="6771"/>
                  </a:cubicBezTo>
                  <a:cubicBezTo>
                    <a:pt x="2806" y="6749"/>
                    <a:pt x="2828" y="6727"/>
                    <a:pt x="2850" y="6727"/>
                  </a:cubicBezTo>
                  <a:cubicBezTo>
                    <a:pt x="2880" y="6727"/>
                    <a:pt x="2902" y="6741"/>
                    <a:pt x="2923" y="6763"/>
                  </a:cubicBezTo>
                  <a:cubicBezTo>
                    <a:pt x="2931" y="6763"/>
                    <a:pt x="2945" y="6741"/>
                    <a:pt x="2953" y="6705"/>
                  </a:cubicBezTo>
                  <a:cubicBezTo>
                    <a:pt x="2968" y="6653"/>
                    <a:pt x="2968" y="6588"/>
                    <a:pt x="2938" y="6551"/>
                  </a:cubicBezTo>
                  <a:cubicBezTo>
                    <a:pt x="2902" y="6507"/>
                    <a:pt x="2894" y="6478"/>
                    <a:pt x="2902" y="6456"/>
                  </a:cubicBezTo>
                  <a:cubicBezTo>
                    <a:pt x="2902" y="6448"/>
                    <a:pt x="2909" y="6434"/>
                    <a:pt x="2931" y="6434"/>
                  </a:cubicBezTo>
                  <a:cubicBezTo>
                    <a:pt x="2872" y="6397"/>
                    <a:pt x="2792" y="6331"/>
                    <a:pt x="2814" y="6258"/>
                  </a:cubicBezTo>
                  <a:cubicBezTo>
                    <a:pt x="2828" y="6199"/>
                    <a:pt x="2836" y="6162"/>
                    <a:pt x="2894" y="6162"/>
                  </a:cubicBezTo>
                  <a:cubicBezTo>
                    <a:pt x="2909" y="6162"/>
                    <a:pt x="2931" y="6162"/>
                    <a:pt x="2968" y="6170"/>
                  </a:cubicBezTo>
                  <a:cubicBezTo>
                    <a:pt x="3019" y="6184"/>
                    <a:pt x="3055" y="6221"/>
                    <a:pt x="3084" y="6243"/>
                  </a:cubicBezTo>
                  <a:cubicBezTo>
                    <a:pt x="3098" y="6258"/>
                    <a:pt x="3106" y="6265"/>
                    <a:pt x="3113" y="6265"/>
                  </a:cubicBezTo>
                  <a:cubicBezTo>
                    <a:pt x="3142" y="6243"/>
                    <a:pt x="3186" y="6236"/>
                    <a:pt x="3216" y="6236"/>
                  </a:cubicBezTo>
                  <a:cubicBezTo>
                    <a:pt x="3223" y="6236"/>
                    <a:pt x="3238" y="6236"/>
                    <a:pt x="3245" y="6236"/>
                  </a:cubicBezTo>
                  <a:cubicBezTo>
                    <a:pt x="3252" y="6236"/>
                    <a:pt x="3260" y="6236"/>
                    <a:pt x="3267" y="6236"/>
                  </a:cubicBezTo>
                  <a:cubicBezTo>
                    <a:pt x="3274" y="6236"/>
                    <a:pt x="3303" y="6229"/>
                    <a:pt x="3311" y="6207"/>
                  </a:cubicBezTo>
                  <a:cubicBezTo>
                    <a:pt x="3326" y="6184"/>
                    <a:pt x="3333" y="6162"/>
                    <a:pt x="3311" y="6126"/>
                  </a:cubicBezTo>
                  <a:cubicBezTo>
                    <a:pt x="3289" y="6089"/>
                    <a:pt x="3274" y="6089"/>
                    <a:pt x="3252" y="6082"/>
                  </a:cubicBezTo>
                  <a:cubicBezTo>
                    <a:pt x="3230" y="6082"/>
                    <a:pt x="3201" y="6074"/>
                    <a:pt x="3186" y="6031"/>
                  </a:cubicBezTo>
                  <a:cubicBezTo>
                    <a:pt x="3150" y="5957"/>
                    <a:pt x="3150" y="5869"/>
                    <a:pt x="3194" y="5803"/>
                  </a:cubicBezTo>
                  <a:cubicBezTo>
                    <a:pt x="3230" y="5760"/>
                    <a:pt x="3230" y="5708"/>
                    <a:pt x="3194" y="5664"/>
                  </a:cubicBezTo>
                  <a:cubicBezTo>
                    <a:pt x="3194" y="5657"/>
                    <a:pt x="3186" y="5642"/>
                    <a:pt x="3194" y="5635"/>
                  </a:cubicBezTo>
                  <a:cubicBezTo>
                    <a:pt x="3194" y="5620"/>
                    <a:pt x="3208" y="5620"/>
                    <a:pt x="3216" y="5613"/>
                  </a:cubicBezTo>
                  <a:cubicBezTo>
                    <a:pt x="3230" y="5613"/>
                    <a:pt x="3238" y="5606"/>
                    <a:pt x="3238" y="5591"/>
                  </a:cubicBezTo>
                  <a:cubicBezTo>
                    <a:pt x="3252" y="5547"/>
                    <a:pt x="3238" y="5342"/>
                    <a:pt x="3120" y="5224"/>
                  </a:cubicBezTo>
                  <a:cubicBezTo>
                    <a:pt x="2997" y="5100"/>
                    <a:pt x="2931" y="5063"/>
                    <a:pt x="2858" y="5041"/>
                  </a:cubicBezTo>
                  <a:cubicBezTo>
                    <a:pt x="2784" y="5027"/>
                    <a:pt x="2792" y="4983"/>
                    <a:pt x="2792" y="4953"/>
                  </a:cubicBezTo>
                  <a:cubicBezTo>
                    <a:pt x="2792" y="4939"/>
                    <a:pt x="2792" y="4931"/>
                    <a:pt x="2784" y="4917"/>
                  </a:cubicBezTo>
                  <a:cubicBezTo>
                    <a:pt x="2784" y="4902"/>
                    <a:pt x="2770" y="4895"/>
                    <a:pt x="2748" y="4888"/>
                  </a:cubicBezTo>
                  <a:cubicBezTo>
                    <a:pt x="2733" y="4880"/>
                    <a:pt x="2711" y="4873"/>
                    <a:pt x="2696" y="4858"/>
                  </a:cubicBezTo>
                  <a:cubicBezTo>
                    <a:pt x="2667" y="4807"/>
                    <a:pt x="2726" y="4756"/>
                    <a:pt x="2762" y="4734"/>
                  </a:cubicBezTo>
                  <a:cubicBezTo>
                    <a:pt x="2770" y="4726"/>
                    <a:pt x="2784" y="4712"/>
                    <a:pt x="2784" y="4697"/>
                  </a:cubicBezTo>
                  <a:cubicBezTo>
                    <a:pt x="2784" y="4675"/>
                    <a:pt x="2762" y="4660"/>
                    <a:pt x="2726" y="4646"/>
                  </a:cubicBezTo>
                  <a:cubicBezTo>
                    <a:pt x="2645" y="4609"/>
                    <a:pt x="2506" y="4492"/>
                    <a:pt x="2506" y="4382"/>
                  </a:cubicBezTo>
                  <a:cubicBezTo>
                    <a:pt x="2506" y="4338"/>
                    <a:pt x="2513" y="4301"/>
                    <a:pt x="2528" y="4265"/>
                  </a:cubicBezTo>
                  <a:cubicBezTo>
                    <a:pt x="2542" y="4213"/>
                    <a:pt x="2550" y="4184"/>
                    <a:pt x="2528" y="4169"/>
                  </a:cubicBezTo>
                  <a:cubicBezTo>
                    <a:pt x="2484" y="4118"/>
                    <a:pt x="2433" y="3986"/>
                    <a:pt x="2469" y="3913"/>
                  </a:cubicBezTo>
                  <a:cubicBezTo>
                    <a:pt x="2499" y="3854"/>
                    <a:pt x="2542" y="3847"/>
                    <a:pt x="2572" y="3847"/>
                  </a:cubicBezTo>
                  <a:cubicBezTo>
                    <a:pt x="2564" y="3803"/>
                    <a:pt x="2550" y="3737"/>
                    <a:pt x="2521" y="3730"/>
                  </a:cubicBezTo>
                  <a:cubicBezTo>
                    <a:pt x="2513" y="3722"/>
                    <a:pt x="2513" y="3722"/>
                    <a:pt x="2513" y="3722"/>
                  </a:cubicBezTo>
                  <a:cubicBezTo>
                    <a:pt x="2477" y="3700"/>
                    <a:pt x="2433" y="3686"/>
                    <a:pt x="2447" y="3598"/>
                  </a:cubicBezTo>
                  <a:cubicBezTo>
                    <a:pt x="2454" y="3554"/>
                    <a:pt x="2447" y="3539"/>
                    <a:pt x="2433" y="3510"/>
                  </a:cubicBezTo>
                  <a:cubicBezTo>
                    <a:pt x="2425" y="3488"/>
                    <a:pt x="2418" y="3459"/>
                    <a:pt x="2411" y="3422"/>
                  </a:cubicBezTo>
                  <a:cubicBezTo>
                    <a:pt x="2411" y="3407"/>
                    <a:pt x="2403" y="3378"/>
                    <a:pt x="2389" y="3378"/>
                  </a:cubicBezTo>
                  <a:cubicBezTo>
                    <a:pt x="2374" y="3378"/>
                    <a:pt x="2345" y="3400"/>
                    <a:pt x="2330" y="3437"/>
                  </a:cubicBezTo>
                  <a:cubicBezTo>
                    <a:pt x="2323" y="3459"/>
                    <a:pt x="2315" y="3466"/>
                    <a:pt x="2315" y="3481"/>
                  </a:cubicBezTo>
                  <a:cubicBezTo>
                    <a:pt x="2301" y="3524"/>
                    <a:pt x="2293" y="3539"/>
                    <a:pt x="2205" y="3561"/>
                  </a:cubicBezTo>
                  <a:cubicBezTo>
                    <a:pt x="2191" y="3561"/>
                    <a:pt x="2176" y="3561"/>
                    <a:pt x="2161" y="3561"/>
                  </a:cubicBezTo>
                  <a:cubicBezTo>
                    <a:pt x="2088" y="3561"/>
                    <a:pt x="2052" y="3510"/>
                    <a:pt x="2052" y="3407"/>
                  </a:cubicBezTo>
                  <a:cubicBezTo>
                    <a:pt x="2052" y="3341"/>
                    <a:pt x="2015" y="3239"/>
                    <a:pt x="2000" y="3231"/>
                  </a:cubicBezTo>
                  <a:lnTo>
                    <a:pt x="2000" y="3231"/>
                  </a:lnTo>
                  <a:cubicBezTo>
                    <a:pt x="2000" y="3239"/>
                    <a:pt x="1927" y="3349"/>
                    <a:pt x="1883" y="3349"/>
                  </a:cubicBezTo>
                  <a:cubicBezTo>
                    <a:pt x="1876" y="3349"/>
                    <a:pt x="1868" y="3341"/>
                    <a:pt x="1868" y="3334"/>
                  </a:cubicBezTo>
                  <a:cubicBezTo>
                    <a:pt x="1861" y="3327"/>
                    <a:pt x="1854" y="3305"/>
                    <a:pt x="1883" y="3224"/>
                  </a:cubicBezTo>
                  <a:cubicBezTo>
                    <a:pt x="1898" y="3165"/>
                    <a:pt x="1912" y="3129"/>
                    <a:pt x="1927" y="3100"/>
                  </a:cubicBezTo>
                  <a:cubicBezTo>
                    <a:pt x="1934" y="3078"/>
                    <a:pt x="1942" y="3063"/>
                    <a:pt x="1942" y="3056"/>
                  </a:cubicBezTo>
                  <a:cubicBezTo>
                    <a:pt x="1942" y="3056"/>
                    <a:pt x="1942" y="3056"/>
                    <a:pt x="1934" y="3056"/>
                  </a:cubicBezTo>
                  <a:cubicBezTo>
                    <a:pt x="1934" y="3056"/>
                    <a:pt x="1934" y="3056"/>
                    <a:pt x="1927" y="3056"/>
                  </a:cubicBezTo>
                  <a:cubicBezTo>
                    <a:pt x="1927" y="3056"/>
                    <a:pt x="1920" y="3048"/>
                    <a:pt x="1912" y="3048"/>
                  </a:cubicBezTo>
                  <a:cubicBezTo>
                    <a:pt x="1854" y="3026"/>
                    <a:pt x="1832" y="2990"/>
                    <a:pt x="1846" y="2931"/>
                  </a:cubicBezTo>
                  <a:cubicBezTo>
                    <a:pt x="1854" y="2902"/>
                    <a:pt x="1839" y="2836"/>
                    <a:pt x="1817" y="2806"/>
                  </a:cubicBezTo>
                  <a:cubicBezTo>
                    <a:pt x="1802" y="2792"/>
                    <a:pt x="1795" y="2784"/>
                    <a:pt x="1788" y="2784"/>
                  </a:cubicBezTo>
                  <a:cubicBezTo>
                    <a:pt x="1780" y="2784"/>
                    <a:pt x="1780" y="2784"/>
                    <a:pt x="1773" y="2792"/>
                  </a:cubicBezTo>
                  <a:cubicBezTo>
                    <a:pt x="1751" y="2792"/>
                    <a:pt x="1737" y="2814"/>
                    <a:pt x="1722" y="2836"/>
                  </a:cubicBezTo>
                  <a:cubicBezTo>
                    <a:pt x="1700" y="2865"/>
                    <a:pt x="1678" y="2894"/>
                    <a:pt x="1649" y="2894"/>
                  </a:cubicBezTo>
                  <a:cubicBezTo>
                    <a:pt x="1627" y="2894"/>
                    <a:pt x="1612" y="2887"/>
                    <a:pt x="1590" y="2865"/>
                  </a:cubicBezTo>
                  <a:cubicBezTo>
                    <a:pt x="1568" y="2843"/>
                    <a:pt x="1546" y="2821"/>
                    <a:pt x="1539" y="2821"/>
                  </a:cubicBezTo>
                  <a:cubicBezTo>
                    <a:pt x="1539" y="2821"/>
                    <a:pt x="1531" y="2829"/>
                    <a:pt x="1531" y="2843"/>
                  </a:cubicBezTo>
                  <a:cubicBezTo>
                    <a:pt x="1524" y="2850"/>
                    <a:pt x="1509" y="2865"/>
                    <a:pt x="1502" y="2887"/>
                  </a:cubicBezTo>
                  <a:cubicBezTo>
                    <a:pt x="1480" y="2909"/>
                    <a:pt x="1465" y="2924"/>
                    <a:pt x="1451" y="2924"/>
                  </a:cubicBezTo>
                  <a:cubicBezTo>
                    <a:pt x="1443" y="2924"/>
                    <a:pt x="1436" y="2916"/>
                    <a:pt x="1436" y="2909"/>
                  </a:cubicBezTo>
                  <a:cubicBezTo>
                    <a:pt x="1429" y="2909"/>
                    <a:pt x="1414" y="2887"/>
                    <a:pt x="1429" y="2770"/>
                  </a:cubicBezTo>
                  <a:cubicBezTo>
                    <a:pt x="1451" y="2601"/>
                    <a:pt x="1436" y="2572"/>
                    <a:pt x="1429" y="2572"/>
                  </a:cubicBezTo>
                  <a:cubicBezTo>
                    <a:pt x="1421" y="2572"/>
                    <a:pt x="1414" y="2572"/>
                    <a:pt x="1407" y="2572"/>
                  </a:cubicBezTo>
                  <a:cubicBezTo>
                    <a:pt x="1399" y="2572"/>
                    <a:pt x="1385" y="2579"/>
                    <a:pt x="1355" y="2594"/>
                  </a:cubicBezTo>
                  <a:cubicBezTo>
                    <a:pt x="1333" y="2609"/>
                    <a:pt x="1333" y="2609"/>
                    <a:pt x="1333" y="2609"/>
                  </a:cubicBezTo>
                  <a:cubicBezTo>
                    <a:pt x="1319" y="2616"/>
                    <a:pt x="1304" y="2623"/>
                    <a:pt x="1290" y="2638"/>
                  </a:cubicBezTo>
                  <a:cubicBezTo>
                    <a:pt x="1268" y="2653"/>
                    <a:pt x="1246" y="2667"/>
                    <a:pt x="1223" y="2667"/>
                  </a:cubicBezTo>
                  <a:cubicBezTo>
                    <a:pt x="1216" y="2667"/>
                    <a:pt x="1202" y="2667"/>
                    <a:pt x="1194" y="2660"/>
                  </a:cubicBezTo>
                  <a:cubicBezTo>
                    <a:pt x="1180" y="2645"/>
                    <a:pt x="1165" y="2631"/>
                    <a:pt x="1158" y="2616"/>
                  </a:cubicBezTo>
                  <a:cubicBezTo>
                    <a:pt x="1150" y="2601"/>
                    <a:pt x="1143" y="2587"/>
                    <a:pt x="1128" y="2587"/>
                  </a:cubicBezTo>
                  <a:cubicBezTo>
                    <a:pt x="1128" y="2587"/>
                    <a:pt x="1128" y="2579"/>
                    <a:pt x="1121" y="2579"/>
                  </a:cubicBezTo>
                  <a:cubicBezTo>
                    <a:pt x="1121" y="2579"/>
                    <a:pt x="1114" y="2587"/>
                    <a:pt x="1106" y="2594"/>
                  </a:cubicBezTo>
                  <a:cubicBezTo>
                    <a:pt x="1099" y="2601"/>
                    <a:pt x="1084" y="2616"/>
                    <a:pt x="1062" y="2631"/>
                  </a:cubicBezTo>
                  <a:cubicBezTo>
                    <a:pt x="1055" y="2631"/>
                    <a:pt x="1048" y="2638"/>
                    <a:pt x="1040" y="2638"/>
                  </a:cubicBezTo>
                  <a:cubicBezTo>
                    <a:pt x="1018" y="2638"/>
                    <a:pt x="1011" y="2623"/>
                    <a:pt x="997" y="2616"/>
                  </a:cubicBezTo>
                  <a:cubicBezTo>
                    <a:pt x="989" y="2601"/>
                    <a:pt x="982" y="2594"/>
                    <a:pt x="967" y="2594"/>
                  </a:cubicBezTo>
                  <a:lnTo>
                    <a:pt x="960" y="2594"/>
                  </a:lnTo>
                  <a:cubicBezTo>
                    <a:pt x="901" y="2609"/>
                    <a:pt x="850" y="2616"/>
                    <a:pt x="806" y="2653"/>
                  </a:cubicBezTo>
                  <a:cubicBezTo>
                    <a:pt x="769" y="2674"/>
                    <a:pt x="747" y="2726"/>
                    <a:pt x="747" y="2741"/>
                  </a:cubicBezTo>
                  <a:cubicBezTo>
                    <a:pt x="747" y="2748"/>
                    <a:pt x="762" y="2755"/>
                    <a:pt x="791" y="2755"/>
                  </a:cubicBezTo>
                  <a:cubicBezTo>
                    <a:pt x="799" y="2762"/>
                    <a:pt x="806" y="2762"/>
                    <a:pt x="813" y="2762"/>
                  </a:cubicBezTo>
                  <a:cubicBezTo>
                    <a:pt x="821" y="2762"/>
                    <a:pt x="835" y="2762"/>
                    <a:pt x="842" y="2762"/>
                  </a:cubicBezTo>
                  <a:cubicBezTo>
                    <a:pt x="850" y="2755"/>
                    <a:pt x="864" y="2755"/>
                    <a:pt x="872" y="2755"/>
                  </a:cubicBezTo>
                  <a:cubicBezTo>
                    <a:pt x="894" y="2755"/>
                    <a:pt x="916" y="2762"/>
                    <a:pt x="945" y="2784"/>
                  </a:cubicBezTo>
                  <a:cubicBezTo>
                    <a:pt x="989" y="2829"/>
                    <a:pt x="997" y="2894"/>
                    <a:pt x="967" y="2953"/>
                  </a:cubicBezTo>
                  <a:cubicBezTo>
                    <a:pt x="960" y="2960"/>
                    <a:pt x="960" y="2975"/>
                    <a:pt x="967" y="2982"/>
                  </a:cubicBezTo>
                  <a:cubicBezTo>
                    <a:pt x="967" y="3019"/>
                    <a:pt x="952" y="3041"/>
                    <a:pt x="879" y="3048"/>
                  </a:cubicBezTo>
                  <a:cubicBezTo>
                    <a:pt x="857" y="3048"/>
                    <a:pt x="842" y="3056"/>
                    <a:pt x="828" y="3056"/>
                  </a:cubicBezTo>
                  <a:cubicBezTo>
                    <a:pt x="725" y="3063"/>
                    <a:pt x="667" y="3070"/>
                    <a:pt x="667" y="3151"/>
                  </a:cubicBezTo>
                  <a:cubicBezTo>
                    <a:pt x="667" y="3246"/>
                    <a:pt x="615" y="3261"/>
                    <a:pt x="564" y="3283"/>
                  </a:cubicBezTo>
                  <a:cubicBezTo>
                    <a:pt x="549" y="3283"/>
                    <a:pt x="535" y="3290"/>
                    <a:pt x="520" y="3298"/>
                  </a:cubicBezTo>
                  <a:cubicBezTo>
                    <a:pt x="506" y="3305"/>
                    <a:pt x="483" y="3312"/>
                    <a:pt x="469" y="3312"/>
                  </a:cubicBezTo>
                  <a:cubicBezTo>
                    <a:pt x="447" y="3312"/>
                    <a:pt x="425" y="3305"/>
                    <a:pt x="403" y="3305"/>
                  </a:cubicBezTo>
                  <a:cubicBezTo>
                    <a:pt x="381" y="3298"/>
                    <a:pt x="366" y="3298"/>
                    <a:pt x="352" y="3298"/>
                  </a:cubicBezTo>
                  <a:cubicBezTo>
                    <a:pt x="330" y="3298"/>
                    <a:pt x="322" y="3298"/>
                    <a:pt x="308" y="3305"/>
                  </a:cubicBezTo>
                  <a:cubicBezTo>
                    <a:pt x="286" y="3319"/>
                    <a:pt x="286" y="3319"/>
                    <a:pt x="286" y="3319"/>
                  </a:cubicBezTo>
                  <a:cubicBezTo>
                    <a:pt x="286" y="3298"/>
                    <a:pt x="286" y="3298"/>
                    <a:pt x="286" y="3298"/>
                  </a:cubicBezTo>
                  <a:cubicBezTo>
                    <a:pt x="286" y="3268"/>
                    <a:pt x="278" y="3253"/>
                    <a:pt x="271" y="3246"/>
                  </a:cubicBezTo>
                  <a:cubicBezTo>
                    <a:pt x="271" y="3246"/>
                    <a:pt x="271" y="3239"/>
                    <a:pt x="256" y="3239"/>
                  </a:cubicBezTo>
                  <a:lnTo>
                    <a:pt x="242" y="3239"/>
                  </a:lnTo>
                  <a:cubicBezTo>
                    <a:pt x="234" y="3239"/>
                    <a:pt x="220" y="3239"/>
                    <a:pt x="212" y="3231"/>
                  </a:cubicBezTo>
                  <a:cubicBezTo>
                    <a:pt x="205" y="3224"/>
                    <a:pt x="198" y="3202"/>
                    <a:pt x="205" y="3180"/>
                  </a:cubicBezTo>
                  <a:cubicBezTo>
                    <a:pt x="212" y="3129"/>
                    <a:pt x="227" y="3122"/>
                    <a:pt x="242" y="3114"/>
                  </a:cubicBezTo>
                  <a:cubicBezTo>
                    <a:pt x="256" y="3114"/>
                    <a:pt x="264" y="3114"/>
                    <a:pt x="271" y="3085"/>
                  </a:cubicBezTo>
                  <a:cubicBezTo>
                    <a:pt x="286" y="3048"/>
                    <a:pt x="278" y="3026"/>
                    <a:pt x="278" y="2997"/>
                  </a:cubicBezTo>
                  <a:cubicBezTo>
                    <a:pt x="271" y="2975"/>
                    <a:pt x="271" y="2960"/>
                    <a:pt x="271" y="2931"/>
                  </a:cubicBezTo>
                  <a:cubicBezTo>
                    <a:pt x="271" y="2894"/>
                    <a:pt x="278" y="2880"/>
                    <a:pt x="300" y="2865"/>
                  </a:cubicBezTo>
                  <a:cubicBezTo>
                    <a:pt x="308" y="2858"/>
                    <a:pt x="315" y="2850"/>
                    <a:pt x="330" y="2814"/>
                  </a:cubicBezTo>
                  <a:cubicBezTo>
                    <a:pt x="344" y="2762"/>
                    <a:pt x="337" y="2741"/>
                    <a:pt x="330" y="2697"/>
                  </a:cubicBezTo>
                  <a:cubicBezTo>
                    <a:pt x="322" y="2682"/>
                    <a:pt x="322" y="2667"/>
                    <a:pt x="315" y="2638"/>
                  </a:cubicBezTo>
                  <a:cubicBezTo>
                    <a:pt x="308" y="2572"/>
                    <a:pt x="278" y="2535"/>
                    <a:pt x="249" y="2484"/>
                  </a:cubicBezTo>
                  <a:cubicBezTo>
                    <a:pt x="227" y="2440"/>
                    <a:pt x="227" y="2440"/>
                    <a:pt x="227" y="2440"/>
                  </a:cubicBezTo>
                  <a:cubicBezTo>
                    <a:pt x="190" y="2381"/>
                    <a:pt x="132" y="2293"/>
                    <a:pt x="110" y="2198"/>
                  </a:cubicBezTo>
                  <a:cubicBezTo>
                    <a:pt x="88" y="2096"/>
                    <a:pt x="88" y="1964"/>
                    <a:pt x="110" y="1920"/>
                  </a:cubicBezTo>
                  <a:cubicBezTo>
                    <a:pt x="124" y="1891"/>
                    <a:pt x="168" y="1795"/>
                    <a:pt x="117" y="1766"/>
                  </a:cubicBezTo>
                  <a:cubicBezTo>
                    <a:pt x="73" y="1737"/>
                    <a:pt x="0" y="1700"/>
                    <a:pt x="44" y="1597"/>
                  </a:cubicBezTo>
                  <a:cubicBezTo>
                    <a:pt x="51" y="1590"/>
                    <a:pt x="51" y="1590"/>
                    <a:pt x="51" y="1590"/>
                  </a:cubicBezTo>
                  <a:cubicBezTo>
                    <a:pt x="80" y="1517"/>
                    <a:pt x="95" y="1480"/>
                    <a:pt x="190" y="1443"/>
                  </a:cubicBezTo>
                  <a:cubicBezTo>
                    <a:pt x="212" y="1436"/>
                    <a:pt x="234" y="1436"/>
                    <a:pt x="249" y="1436"/>
                  </a:cubicBezTo>
                  <a:cubicBezTo>
                    <a:pt x="278" y="1436"/>
                    <a:pt x="308" y="1443"/>
                    <a:pt x="322" y="1451"/>
                  </a:cubicBezTo>
                  <a:cubicBezTo>
                    <a:pt x="337" y="1451"/>
                    <a:pt x="352" y="1458"/>
                    <a:pt x="366" y="1458"/>
                  </a:cubicBezTo>
                  <a:cubicBezTo>
                    <a:pt x="366" y="1458"/>
                    <a:pt x="366" y="1458"/>
                    <a:pt x="373" y="1458"/>
                  </a:cubicBezTo>
                  <a:cubicBezTo>
                    <a:pt x="373" y="1451"/>
                    <a:pt x="381" y="1451"/>
                    <a:pt x="381" y="1451"/>
                  </a:cubicBezTo>
                  <a:cubicBezTo>
                    <a:pt x="396" y="1451"/>
                    <a:pt x="403" y="1458"/>
                    <a:pt x="410" y="1465"/>
                  </a:cubicBezTo>
                  <a:lnTo>
                    <a:pt x="410" y="1465"/>
                  </a:lnTo>
                  <a:cubicBezTo>
                    <a:pt x="440" y="1429"/>
                    <a:pt x="483" y="1385"/>
                    <a:pt x="520" y="1378"/>
                  </a:cubicBezTo>
                  <a:cubicBezTo>
                    <a:pt x="557" y="1370"/>
                    <a:pt x="608" y="1363"/>
                    <a:pt x="659" y="1363"/>
                  </a:cubicBezTo>
                  <a:cubicBezTo>
                    <a:pt x="703" y="1363"/>
                    <a:pt x="740" y="1370"/>
                    <a:pt x="755" y="1378"/>
                  </a:cubicBezTo>
                  <a:cubicBezTo>
                    <a:pt x="791" y="1392"/>
                    <a:pt x="850" y="1429"/>
                    <a:pt x="887" y="1488"/>
                  </a:cubicBezTo>
                  <a:cubicBezTo>
                    <a:pt x="916" y="1517"/>
                    <a:pt x="967" y="1553"/>
                    <a:pt x="1018" y="1553"/>
                  </a:cubicBezTo>
                  <a:cubicBezTo>
                    <a:pt x="1033" y="1553"/>
                    <a:pt x="1040" y="1553"/>
                    <a:pt x="1055" y="1546"/>
                  </a:cubicBezTo>
                  <a:cubicBezTo>
                    <a:pt x="1114" y="1524"/>
                    <a:pt x="1143" y="1495"/>
                    <a:pt x="1143" y="1451"/>
                  </a:cubicBezTo>
                  <a:cubicBezTo>
                    <a:pt x="1143" y="1414"/>
                    <a:pt x="1165" y="1392"/>
                    <a:pt x="1180" y="1370"/>
                  </a:cubicBezTo>
                  <a:cubicBezTo>
                    <a:pt x="1187" y="1356"/>
                    <a:pt x="1202" y="1341"/>
                    <a:pt x="1202" y="1326"/>
                  </a:cubicBezTo>
                  <a:cubicBezTo>
                    <a:pt x="1202" y="1312"/>
                    <a:pt x="1194" y="1304"/>
                    <a:pt x="1180" y="1297"/>
                  </a:cubicBezTo>
                  <a:cubicBezTo>
                    <a:pt x="1158" y="1282"/>
                    <a:pt x="1136" y="1268"/>
                    <a:pt x="1136" y="1231"/>
                  </a:cubicBezTo>
                  <a:cubicBezTo>
                    <a:pt x="1136" y="1180"/>
                    <a:pt x="1121" y="1062"/>
                    <a:pt x="1121" y="1062"/>
                  </a:cubicBezTo>
                  <a:cubicBezTo>
                    <a:pt x="1121" y="1048"/>
                    <a:pt x="1121" y="1048"/>
                    <a:pt x="1121" y="1048"/>
                  </a:cubicBezTo>
                  <a:cubicBezTo>
                    <a:pt x="1136" y="1048"/>
                    <a:pt x="1136" y="1048"/>
                    <a:pt x="1136" y="1048"/>
                  </a:cubicBezTo>
                  <a:cubicBezTo>
                    <a:pt x="1150" y="1048"/>
                    <a:pt x="1260" y="1048"/>
                    <a:pt x="1297" y="1084"/>
                  </a:cubicBezTo>
                  <a:cubicBezTo>
                    <a:pt x="1297" y="1084"/>
                    <a:pt x="1304" y="1092"/>
                    <a:pt x="1326" y="1092"/>
                  </a:cubicBezTo>
                  <a:cubicBezTo>
                    <a:pt x="1355" y="1092"/>
                    <a:pt x="1407" y="1084"/>
                    <a:pt x="1436" y="1070"/>
                  </a:cubicBezTo>
                  <a:cubicBezTo>
                    <a:pt x="1421" y="1062"/>
                    <a:pt x="1407" y="1055"/>
                    <a:pt x="1399" y="1033"/>
                  </a:cubicBezTo>
                  <a:cubicBezTo>
                    <a:pt x="1399" y="1026"/>
                    <a:pt x="1399" y="1004"/>
                    <a:pt x="1421" y="982"/>
                  </a:cubicBezTo>
                  <a:cubicBezTo>
                    <a:pt x="1451" y="953"/>
                    <a:pt x="1480" y="945"/>
                    <a:pt x="1502" y="938"/>
                  </a:cubicBezTo>
                  <a:cubicBezTo>
                    <a:pt x="1531" y="938"/>
                    <a:pt x="1546" y="931"/>
                    <a:pt x="1568" y="909"/>
                  </a:cubicBezTo>
                  <a:cubicBezTo>
                    <a:pt x="1575" y="894"/>
                    <a:pt x="1582" y="887"/>
                    <a:pt x="1590" y="879"/>
                  </a:cubicBezTo>
                  <a:cubicBezTo>
                    <a:pt x="1619" y="843"/>
                    <a:pt x="1641" y="813"/>
                    <a:pt x="1641" y="755"/>
                  </a:cubicBezTo>
                  <a:cubicBezTo>
                    <a:pt x="1641" y="733"/>
                    <a:pt x="1634" y="711"/>
                    <a:pt x="1627" y="681"/>
                  </a:cubicBezTo>
                  <a:cubicBezTo>
                    <a:pt x="1605" y="638"/>
                    <a:pt x="1582" y="586"/>
                    <a:pt x="1634" y="520"/>
                  </a:cubicBezTo>
                  <a:cubicBezTo>
                    <a:pt x="1671" y="469"/>
                    <a:pt x="1692" y="447"/>
                    <a:pt x="1722" y="447"/>
                  </a:cubicBezTo>
                  <a:cubicBezTo>
                    <a:pt x="1737" y="447"/>
                    <a:pt x="1751" y="462"/>
                    <a:pt x="1773" y="469"/>
                  </a:cubicBezTo>
                  <a:cubicBezTo>
                    <a:pt x="1788" y="484"/>
                    <a:pt x="1788" y="484"/>
                    <a:pt x="1788" y="484"/>
                  </a:cubicBezTo>
                  <a:cubicBezTo>
                    <a:pt x="1810" y="491"/>
                    <a:pt x="1839" y="498"/>
                    <a:pt x="1868" y="498"/>
                  </a:cubicBezTo>
                  <a:cubicBezTo>
                    <a:pt x="1920" y="498"/>
                    <a:pt x="2000" y="484"/>
                    <a:pt x="2044" y="440"/>
                  </a:cubicBezTo>
                  <a:cubicBezTo>
                    <a:pt x="2073" y="410"/>
                    <a:pt x="2103" y="388"/>
                    <a:pt x="2132" y="366"/>
                  </a:cubicBezTo>
                  <a:cubicBezTo>
                    <a:pt x="2169" y="337"/>
                    <a:pt x="2205" y="315"/>
                    <a:pt x="2220" y="286"/>
                  </a:cubicBezTo>
                  <a:cubicBezTo>
                    <a:pt x="2235" y="264"/>
                    <a:pt x="2235" y="242"/>
                    <a:pt x="2235" y="220"/>
                  </a:cubicBezTo>
                  <a:cubicBezTo>
                    <a:pt x="2242" y="191"/>
                    <a:pt x="2242" y="154"/>
                    <a:pt x="2271" y="124"/>
                  </a:cubicBezTo>
                  <a:cubicBezTo>
                    <a:pt x="2286" y="103"/>
                    <a:pt x="2301" y="88"/>
                    <a:pt x="2323" y="73"/>
                  </a:cubicBezTo>
                  <a:cubicBezTo>
                    <a:pt x="2323" y="66"/>
                    <a:pt x="2323" y="66"/>
                    <a:pt x="2323" y="66"/>
                  </a:cubicBezTo>
                  <a:cubicBezTo>
                    <a:pt x="2345" y="51"/>
                    <a:pt x="2345" y="51"/>
                    <a:pt x="2345" y="51"/>
                  </a:cubicBezTo>
                  <a:lnTo>
                    <a:pt x="2345" y="51"/>
                  </a:lnTo>
                  <a:cubicBezTo>
                    <a:pt x="2374" y="29"/>
                    <a:pt x="2403" y="15"/>
                    <a:pt x="2425" y="7"/>
                  </a:cubicBezTo>
                  <a:cubicBezTo>
                    <a:pt x="2433" y="0"/>
                    <a:pt x="2433" y="0"/>
                    <a:pt x="2440" y="0"/>
                  </a:cubicBezTo>
                  <a:cubicBezTo>
                    <a:pt x="2454" y="0"/>
                    <a:pt x="2462" y="7"/>
                    <a:pt x="2462" y="15"/>
                  </a:cubicBezTo>
                  <a:cubicBezTo>
                    <a:pt x="2469" y="22"/>
                    <a:pt x="2477" y="29"/>
                    <a:pt x="2506" y="29"/>
                  </a:cubicBezTo>
                  <a:cubicBezTo>
                    <a:pt x="2528" y="29"/>
                    <a:pt x="2542" y="15"/>
                    <a:pt x="2557" y="7"/>
                  </a:cubicBezTo>
                  <a:cubicBezTo>
                    <a:pt x="2572" y="0"/>
                    <a:pt x="2587" y="0"/>
                    <a:pt x="2601" y="0"/>
                  </a:cubicBezTo>
                  <a:cubicBezTo>
                    <a:pt x="2616" y="0"/>
                    <a:pt x="2638" y="7"/>
                    <a:pt x="2652" y="29"/>
                  </a:cubicBezTo>
                  <a:cubicBezTo>
                    <a:pt x="2674" y="51"/>
                    <a:pt x="2689" y="73"/>
                    <a:pt x="2696" y="95"/>
                  </a:cubicBezTo>
                  <a:cubicBezTo>
                    <a:pt x="2733" y="147"/>
                    <a:pt x="2762" y="191"/>
                    <a:pt x="2814" y="198"/>
                  </a:cubicBezTo>
                  <a:cubicBezTo>
                    <a:pt x="2872" y="205"/>
                    <a:pt x="2880" y="227"/>
                    <a:pt x="2894" y="256"/>
                  </a:cubicBezTo>
                  <a:cubicBezTo>
                    <a:pt x="2902" y="271"/>
                    <a:pt x="2909" y="293"/>
                    <a:pt x="2931" y="315"/>
                  </a:cubicBezTo>
                  <a:cubicBezTo>
                    <a:pt x="2982" y="374"/>
                    <a:pt x="2997" y="403"/>
                    <a:pt x="3019" y="447"/>
                  </a:cubicBezTo>
                  <a:cubicBezTo>
                    <a:pt x="3041" y="484"/>
                    <a:pt x="3041" y="484"/>
                    <a:pt x="3041" y="484"/>
                  </a:cubicBezTo>
                  <a:cubicBezTo>
                    <a:pt x="3063" y="520"/>
                    <a:pt x="3077" y="542"/>
                    <a:pt x="3098" y="542"/>
                  </a:cubicBezTo>
                  <a:cubicBezTo>
                    <a:pt x="3106" y="542"/>
                    <a:pt x="3113" y="535"/>
                    <a:pt x="3113" y="535"/>
                  </a:cubicBezTo>
                  <a:cubicBezTo>
                    <a:pt x="3120" y="535"/>
                    <a:pt x="3128" y="535"/>
                    <a:pt x="3128" y="535"/>
                  </a:cubicBezTo>
                  <a:cubicBezTo>
                    <a:pt x="3164" y="535"/>
                    <a:pt x="3179" y="564"/>
                    <a:pt x="3194" y="586"/>
                  </a:cubicBezTo>
                  <a:cubicBezTo>
                    <a:pt x="3208" y="601"/>
                    <a:pt x="3216" y="615"/>
                    <a:pt x="3230" y="630"/>
                  </a:cubicBezTo>
                  <a:cubicBezTo>
                    <a:pt x="3245" y="645"/>
                    <a:pt x="3282" y="652"/>
                    <a:pt x="3326" y="652"/>
                  </a:cubicBezTo>
                  <a:cubicBezTo>
                    <a:pt x="3348" y="652"/>
                    <a:pt x="3370" y="652"/>
                    <a:pt x="3370" y="652"/>
                  </a:cubicBezTo>
                  <a:cubicBezTo>
                    <a:pt x="3399" y="652"/>
                    <a:pt x="3450" y="681"/>
                    <a:pt x="3450" y="747"/>
                  </a:cubicBezTo>
                  <a:cubicBezTo>
                    <a:pt x="3450" y="769"/>
                    <a:pt x="3458" y="791"/>
                    <a:pt x="3472" y="813"/>
                  </a:cubicBezTo>
                  <a:cubicBezTo>
                    <a:pt x="3479" y="835"/>
                    <a:pt x="3494" y="865"/>
                    <a:pt x="3487" y="909"/>
                  </a:cubicBezTo>
                  <a:cubicBezTo>
                    <a:pt x="3472" y="982"/>
                    <a:pt x="3465" y="1041"/>
                    <a:pt x="3523" y="1062"/>
                  </a:cubicBezTo>
                  <a:cubicBezTo>
                    <a:pt x="3589" y="1077"/>
                    <a:pt x="3655" y="1092"/>
                    <a:pt x="3655" y="1092"/>
                  </a:cubicBezTo>
                  <a:cubicBezTo>
                    <a:pt x="3655" y="1092"/>
                    <a:pt x="3677" y="1099"/>
                    <a:pt x="3692" y="1099"/>
                  </a:cubicBezTo>
                  <a:cubicBezTo>
                    <a:pt x="3707" y="1099"/>
                    <a:pt x="3714" y="1099"/>
                    <a:pt x="3721" y="1092"/>
                  </a:cubicBezTo>
                  <a:cubicBezTo>
                    <a:pt x="3729" y="1077"/>
                    <a:pt x="3736" y="1055"/>
                    <a:pt x="3729" y="1033"/>
                  </a:cubicBezTo>
                  <a:cubicBezTo>
                    <a:pt x="3721" y="997"/>
                    <a:pt x="3721" y="997"/>
                    <a:pt x="3721" y="997"/>
                  </a:cubicBezTo>
                  <a:cubicBezTo>
                    <a:pt x="3751" y="1019"/>
                    <a:pt x="3751" y="1019"/>
                    <a:pt x="3751" y="1019"/>
                  </a:cubicBezTo>
                  <a:cubicBezTo>
                    <a:pt x="3751" y="1019"/>
                    <a:pt x="3794" y="1041"/>
                    <a:pt x="3824" y="1041"/>
                  </a:cubicBezTo>
                  <a:cubicBezTo>
                    <a:pt x="3839" y="1041"/>
                    <a:pt x="3846" y="1041"/>
                    <a:pt x="3853" y="1033"/>
                  </a:cubicBezTo>
                  <a:cubicBezTo>
                    <a:pt x="3868" y="1011"/>
                    <a:pt x="3882" y="1004"/>
                    <a:pt x="3897" y="1004"/>
                  </a:cubicBezTo>
                  <a:cubicBezTo>
                    <a:pt x="3904" y="1004"/>
                    <a:pt x="3912" y="1004"/>
                    <a:pt x="3919" y="1004"/>
                  </a:cubicBezTo>
                  <a:cubicBezTo>
                    <a:pt x="3926" y="1011"/>
                    <a:pt x="3934" y="1011"/>
                    <a:pt x="3948" y="1011"/>
                  </a:cubicBezTo>
                  <a:cubicBezTo>
                    <a:pt x="3963" y="1011"/>
                    <a:pt x="3978" y="997"/>
                    <a:pt x="3985" y="974"/>
                  </a:cubicBezTo>
                  <a:cubicBezTo>
                    <a:pt x="3992" y="953"/>
                    <a:pt x="3978" y="931"/>
                    <a:pt x="3948" y="916"/>
                  </a:cubicBezTo>
                  <a:cubicBezTo>
                    <a:pt x="3926" y="901"/>
                    <a:pt x="3897" y="894"/>
                    <a:pt x="3868" y="879"/>
                  </a:cubicBezTo>
                  <a:cubicBezTo>
                    <a:pt x="3809" y="857"/>
                    <a:pt x="3758" y="835"/>
                    <a:pt x="3736" y="784"/>
                  </a:cubicBezTo>
                  <a:cubicBezTo>
                    <a:pt x="3736" y="762"/>
                    <a:pt x="3736" y="762"/>
                    <a:pt x="3736" y="762"/>
                  </a:cubicBezTo>
                  <a:cubicBezTo>
                    <a:pt x="3714" y="711"/>
                    <a:pt x="3699" y="667"/>
                    <a:pt x="3780" y="608"/>
                  </a:cubicBezTo>
                  <a:cubicBezTo>
                    <a:pt x="3802" y="593"/>
                    <a:pt x="3802" y="593"/>
                    <a:pt x="3802" y="593"/>
                  </a:cubicBezTo>
                  <a:cubicBezTo>
                    <a:pt x="3860" y="550"/>
                    <a:pt x="3875" y="535"/>
                    <a:pt x="3941" y="513"/>
                  </a:cubicBezTo>
                  <a:cubicBezTo>
                    <a:pt x="3963" y="506"/>
                    <a:pt x="3985" y="506"/>
                    <a:pt x="4007" y="506"/>
                  </a:cubicBezTo>
                  <a:cubicBezTo>
                    <a:pt x="4022" y="506"/>
                    <a:pt x="4036" y="506"/>
                    <a:pt x="4051" y="513"/>
                  </a:cubicBezTo>
                  <a:cubicBezTo>
                    <a:pt x="4066" y="513"/>
                    <a:pt x="4080" y="513"/>
                    <a:pt x="4095" y="513"/>
                  </a:cubicBezTo>
                  <a:cubicBezTo>
                    <a:pt x="4117" y="513"/>
                    <a:pt x="4227" y="520"/>
                    <a:pt x="4256" y="579"/>
                  </a:cubicBezTo>
                  <a:cubicBezTo>
                    <a:pt x="4271" y="608"/>
                    <a:pt x="4293" y="623"/>
                    <a:pt x="4293" y="623"/>
                  </a:cubicBezTo>
                  <a:cubicBezTo>
                    <a:pt x="4293" y="601"/>
                    <a:pt x="4308" y="593"/>
                    <a:pt x="4322" y="593"/>
                  </a:cubicBezTo>
                  <a:cubicBezTo>
                    <a:pt x="4337" y="593"/>
                    <a:pt x="4366" y="601"/>
                    <a:pt x="4410" y="630"/>
                  </a:cubicBezTo>
                  <a:lnTo>
                    <a:pt x="4417" y="630"/>
                  </a:lnTo>
                  <a:cubicBezTo>
                    <a:pt x="4454" y="630"/>
                    <a:pt x="4498" y="608"/>
                    <a:pt x="4513" y="593"/>
                  </a:cubicBezTo>
                  <a:cubicBezTo>
                    <a:pt x="4520" y="593"/>
                    <a:pt x="4534" y="593"/>
                    <a:pt x="4549" y="593"/>
                  </a:cubicBezTo>
                  <a:cubicBezTo>
                    <a:pt x="4571" y="593"/>
                    <a:pt x="4601" y="593"/>
                    <a:pt x="4622" y="623"/>
                  </a:cubicBezTo>
                  <a:cubicBezTo>
                    <a:pt x="4666" y="660"/>
                    <a:pt x="4644" y="747"/>
                    <a:pt x="4644" y="762"/>
                  </a:cubicBezTo>
                  <a:cubicBezTo>
                    <a:pt x="4637" y="762"/>
                    <a:pt x="4622" y="806"/>
                    <a:pt x="4652" y="835"/>
                  </a:cubicBezTo>
                  <a:cubicBezTo>
                    <a:pt x="4674" y="865"/>
                    <a:pt x="4703" y="879"/>
                    <a:pt x="4718" y="879"/>
                  </a:cubicBezTo>
                  <a:cubicBezTo>
                    <a:pt x="4725" y="879"/>
                    <a:pt x="4732" y="879"/>
                    <a:pt x="4740" y="872"/>
                  </a:cubicBezTo>
                  <a:cubicBezTo>
                    <a:pt x="4754" y="857"/>
                    <a:pt x="4762" y="850"/>
                    <a:pt x="4776" y="850"/>
                  </a:cubicBezTo>
                  <a:cubicBezTo>
                    <a:pt x="4791" y="850"/>
                    <a:pt x="4798" y="857"/>
                    <a:pt x="4806" y="865"/>
                  </a:cubicBezTo>
                  <a:cubicBezTo>
                    <a:pt x="4813" y="872"/>
                    <a:pt x="4820" y="879"/>
                    <a:pt x="4828" y="879"/>
                  </a:cubicBezTo>
                  <a:cubicBezTo>
                    <a:pt x="4835" y="879"/>
                    <a:pt x="4842" y="879"/>
                    <a:pt x="4842" y="879"/>
                  </a:cubicBezTo>
                  <a:cubicBezTo>
                    <a:pt x="4850" y="879"/>
                    <a:pt x="4857" y="879"/>
                    <a:pt x="4857" y="879"/>
                  </a:cubicBezTo>
                  <a:cubicBezTo>
                    <a:pt x="4872" y="879"/>
                    <a:pt x="4879" y="879"/>
                    <a:pt x="4886" y="872"/>
                  </a:cubicBezTo>
                  <a:cubicBezTo>
                    <a:pt x="4894" y="865"/>
                    <a:pt x="4901" y="835"/>
                    <a:pt x="4894" y="777"/>
                  </a:cubicBezTo>
                  <a:cubicBezTo>
                    <a:pt x="4894" y="725"/>
                    <a:pt x="4894" y="681"/>
                    <a:pt x="4894" y="638"/>
                  </a:cubicBezTo>
                  <a:cubicBezTo>
                    <a:pt x="4901" y="572"/>
                    <a:pt x="4901" y="513"/>
                    <a:pt x="4872" y="469"/>
                  </a:cubicBezTo>
                  <a:cubicBezTo>
                    <a:pt x="4828" y="388"/>
                    <a:pt x="4813" y="249"/>
                    <a:pt x="4813" y="249"/>
                  </a:cubicBezTo>
                  <a:cubicBezTo>
                    <a:pt x="4813" y="242"/>
                    <a:pt x="4813" y="242"/>
                    <a:pt x="4813" y="242"/>
                  </a:cubicBezTo>
                  <a:cubicBezTo>
                    <a:pt x="4820" y="234"/>
                    <a:pt x="4820" y="234"/>
                    <a:pt x="4820" y="234"/>
                  </a:cubicBezTo>
                  <a:cubicBezTo>
                    <a:pt x="4820" y="234"/>
                    <a:pt x="4864" y="198"/>
                    <a:pt x="4923" y="161"/>
                  </a:cubicBezTo>
                  <a:cubicBezTo>
                    <a:pt x="4974" y="132"/>
                    <a:pt x="5011" y="110"/>
                    <a:pt x="5018" y="81"/>
                  </a:cubicBezTo>
                  <a:cubicBezTo>
                    <a:pt x="5033" y="44"/>
                    <a:pt x="5077" y="44"/>
                    <a:pt x="5091" y="44"/>
                  </a:cubicBezTo>
                  <a:cubicBezTo>
                    <a:pt x="5106" y="44"/>
                    <a:pt x="5113" y="51"/>
                    <a:pt x="5128" y="51"/>
                  </a:cubicBezTo>
                  <a:cubicBezTo>
                    <a:pt x="5135" y="51"/>
                    <a:pt x="5150" y="51"/>
                    <a:pt x="5157" y="51"/>
                  </a:cubicBezTo>
                  <a:cubicBezTo>
                    <a:pt x="5179" y="51"/>
                    <a:pt x="5194" y="59"/>
                    <a:pt x="5209" y="73"/>
                  </a:cubicBezTo>
                  <a:cubicBezTo>
                    <a:pt x="5231" y="110"/>
                    <a:pt x="5231" y="176"/>
                    <a:pt x="5216" y="205"/>
                  </a:cubicBezTo>
                  <a:cubicBezTo>
                    <a:pt x="5216" y="220"/>
                    <a:pt x="5216" y="256"/>
                    <a:pt x="5238" y="286"/>
                  </a:cubicBezTo>
                  <a:cubicBezTo>
                    <a:pt x="5245" y="300"/>
                    <a:pt x="5253" y="315"/>
                    <a:pt x="5275" y="322"/>
                  </a:cubicBezTo>
                  <a:cubicBezTo>
                    <a:pt x="5341" y="337"/>
                    <a:pt x="5355" y="381"/>
                    <a:pt x="5370" y="425"/>
                  </a:cubicBezTo>
                  <a:cubicBezTo>
                    <a:pt x="5377" y="462"/>
                    <a:pt x="5407" y="513"/>
                    <a:pt x="5436" y="513"/>
                  </a:cubicBezTo>
                  <a:cubicBezTo>
                    <a:pt x="5443" y="513"/>
                    <a:pt x="5451" y="513"/>
                    <a:pt x="5458" y="506"/>
                  </a:cubicBezTo>
                  <a:cubicBezTo>
                    <a:pt x="5472" y="491"/>
                    <a:pt x="5487" y="469"/>
                    <a:pt x="5502" y="454"/>
                  </a:cubicBezTo>
                  <a:cubicBezTo>
                    <a:pt x="5524" y="432"/>
                    <a:pt x="5539" y="410"/>
                    <a:pt x="5560" y="410"/>
                  </a:cubicBezTo>
                  <a:cubicBezTo>
                    <a:pt x="5568" y="410"/>
                    <a:pt x="5575" y="410"/>
                    <a:pt x="5582" y="410"/>
                  </a:cubicBezTo>
                  <a:cubicBezTo>
                    <a:pt x="5604" y="425"/>
                    <a:pt x="5612" y="432"/>
                    <a:pt x="5626" y="447"/>
                  </a:cubicBezTo>
                  <a:cubicBezTo>
                    <a:pt x="5641" y="462"/>
                    <a:pt x="5648" y="469"/>
                    <a:pt x="5663" y="469"/>
                  </a:cubicBezTo>
                  <a:cubicBezTo>
                    <a:pt x="5678" y="469"/>
                    <a:pt x="5685" y="462"/>
                    <a:pt x="5700" y="462"/>
                  </a:cubicBezTo>
                  <a:cubicBezTo>
                    <a:pt x="5773" y="425"/>
                    <a:pt x="5883" y="381"/>
                    <a:pt x="5956" y="381"/>
                  </a:cubicBezTo>
                  <a:cubicBezTo>
                    <a:pt x="5985" y="381"/>
                    <a:pt x="6000" y="381"/>
                    <a:pt x="6000" y="403"/>
                  </a:cubicBezTo>
                  <a:cubicBezTo>
                    <a:pt x="6007" y="410"/>
                    <a:pt x="6007" y="410"/>
                    <a:pt x="6044" y="410"/>
                  </a:cubicBezTo>
                  <a:cubicBezTo>
                    <a:pt x="6132" y="410"/>
                    <a:pt x="6139" y="410"/>
                    <a:pt x="6198" y="381"/>
                  </a:cubicBezTo>
                  <a:cubicBezTo>
                    <a:pt x="6220" y="366"/>
                    <a:pt x="6249" y="359"/>
                    <a:pt x="6271" y="352"/>
                  </a:cubicBezTo>
                  <a:cubicBezTo>
                    <a:pt x="6271" y="352"/>
                    <a:pt x="6279" y="352"/>
                    <a:pt x="6286" y="352"/>
                  </a:cubicBezTo>
                  <a:cubicBezTo>
                    <a:pt x="6315" y="352"/>
                    <a:pt x="6337" y="366"/>
                    <a:pt x="6352" y="381"/>
                  </a:cubicBezTo>
                  <a:cubicBezTo>
                    <a:pt x="6359" y="403"/>
                    <a:pt x="6366" y="425"/>
                    <a:pt x="6366" y="462"/>
                  </a:cubicBezTo>
                  <a:cubicBezTo>
                    <a:pt x="6374" y="506"/>
                    <a:pt x="6381" y="564"/>
                    <a:pt x="6410" y="572"/>
                  </a:cubicBezTo>
                  <a:cubicBezTo>
                    <a:pt x="6469" y="593"/>
                    <a:pt x="6520" y="615"/>
                    <a:pt x="6564" y="615"/>
                  </a:cubicBezTo>
                  <a:cubicBezTo>
                    <a:pt x="6572" y="615"/>
                    <a:pt x="6601" y="615"/>
                    <a:pt x="6718" y="681"/>
                  </a:cubicBezTo>
                  <a:cubicBezTo>
                    <a:pt x="6725" y="681"/>
                    <a:pt x="6725" y="681"/>
                    <a:pt x="6725" y="681"/>
                  </a:cubicBezTo>
                  <a:cubicBezTo>
                    <a:pt x="6725" y="689"/>
                    <a:pt x="6725" y="689"/>
                    <a:pt x="6725" y="689"/>
                  </a:cubicBezTo>
                  <a:cubicBezTo>
                    <a:pt x="6740" y="711"/>
                    <a:pt x="6770" y="762"/>
                    <a:pt x="6755" y="806"/>
                  </a:cubicBezTo>
                  <a:cubicBezTo>
                    <a:pt x="6747" y="828"/>
                    <a:pt x="6733" y="843"/>
                    <a:pt x="6718" y="850"/>
                  </a:cubicBezTo>
                  <a:cubicBezTo>
                    <a:pt x="6696" y="865"/>
                    <a:pt x="6682" y="879"/>
                    <a:pt x="6682" y="901"/>
                  </a:cubicBezTo>
                  <a:cubicBezTo>
                    <a:pt x="6682" y="931"/>
                    <a:pt x="6703" y="945"/>
                    <a:pt x="6725" y="960"/>
                  </a:cubicBezTo>
                  <a:cubicBezTo>
                    <a:pt x="6762" y="967"/>
                    <a:pt x="6777" y="982"/>
                    <a:pt x="6791" y="989"/>
                  </a:cubicBezTo>
                  <a:cubicBezTo>
                    <a:pt x="6813" y="1004"/>
                    <a:pt x="6828" y="1019"/>
                    <a:pt x="6872" y="1026"/>
                  </a:cubicBezTo>
                  <a:cubicBezTo>
                    <a:pt x="6909" y="1026"/>
                    <a:pt x="6931" y="1048"/>
                    <a:pt x="6938" y="1077"/>
                  </a:cubicBezTo>
                  <a:cubicBezTo>
                    <a:pt x="6953" y="1121"/>
                    <a:pt x="6945" y="1172"/>
                    <a:pt x="6916" y="1194"/>
                  </a:cubicBezTo>
                  <a:cubicBezTo>
                    <a:pt x="6901" y="1216"/>
                    <a:pt x="6887" y="1253"/>
                    <a:pt x="6894" y="1290"/>
                  </a:cubicBezTo>
                  <a:cubicBezTo>
                    <a:pt x="6894" y="1312"/>
                    <a:pt x="6901" y="1334"/>
                    <a:pt x="6916" y="1348"/>
                  </a:cubicBezTo>
                  <a:cubicBezTo>
                    <a:pt x="6923" y="1356"/>
                    <a:pt x="6938" y="1363"/>
                    <a:pt x="6953" y="1370"/>
                  </a:cubicBezTo>
                  <a:cubicBezTo>
                    <a:pt x="6989" y="1385"/>
                    <a:pt x="7026" y="1407"/>
                    <a:pt x="7055" y="1465"/>
                  </a:cubicBezTo>
                  <a:cubicBezTo>
                    <a:pt x="7077" y="1510"/>
                    <a:pt x="7106" y="1524"/>
                    <a:pt x="7158" y="1546"/>
                  </a:cubicBezTo>
                  <a:cubicBezTo>
                    <a:pt x="7187" y="1561"/>
                    <a:pt x="7216" y="1575"/>
                    <a:pt x="7253" y="1605"/>
                  </a:cubicBezTo>
                  <a:cubicBezTo>
                    <a:pt x="7275" y="1619"/>
                    <a:pt x="7290" y="1634"/>
                    <a:pt x="7304" y="1641"/>
                  </a:cubicBezTo>
                  <a:cubicBezTo>
                    <a:pt x="7348" y="1678"/>
                    <a:pt x="7370" y="1693"/>
                    <a:pt x="7429" y="1707"/>
                  </a:cubicBezTo>
                  <a:cubicBezTo>
                    <a:pt x="7488" y="1715"/>
                    <a:pt x="7546" y="1744"/>
                    <a:pt x="7553" y="1781"/>
                  </a:cubicBezTo>
                  <a:cubicBezTo>
                    <a:pt x="7561" y="1803"/>
                    <a:pt x="7553" y="1824"/>
                    <a:pt x="7539" y="1847"/>
                  </a:cubicBezTo>
                  <a:cubicBezTo>
                    <a:pt x="7524" y="1854"/>
                    <a:pt x="7524" y="1869"/>
                    <a:pt x="7524" y="1876"/>
                  </a:cubicBezTo>
                  <a:cubicBezTo>
                    <a:pt x="7524" y="1883"/>
                    <a:pt x="7546" y="1905"/>
                    <a:pt x="7612" y="1934"/>
                  </a:cubicBezTo>
                  <a:cubicBezTo>
                    <a:pt x="7649" y="1949"/>
                    <a:pt x="7678" y="1964"/>
                    <a:pt x="7678" y="1993"/>
                  </a:cubicBezTo>
                  <a:cubicBezTo>
                    <a:pt x="7693" y="2037"/>
                    <a:pt x="7663" y="2081"/>
                    <a:pt x="7634" y="2118"/>
                  </a:cubicBezTo>
                  <a:cubicBezTo>
                    <a:pt x="7575" y="2176"/>
                    <a:pt x="7568" y="2206"/>
                    <a:pt x="7539" y="2293"/>
                  </a:cubicBezTo>
                  <a:cubicBezTo>
                    <a:pt x="7532" y="2301"/>
                    <a:pt x="7532" y="2301"/>
                    <a:pt x="7532" y="2301"/>
                  </a:cubicBezTo>
                  <a:cubicBezTo>
                    <a:pt x="7524" y="2330"/>
                    <a:pt x="7517" y="2352"/>
                    <a:pt x="7524" y="2360"/>
                  </a:cubicBezTo>
                  <a:cubicBezTo>
                    <a:pt x="7539" y="2374"/>
                    <a:pt x="7553" y="2374"/>
                    <a:pt x="7553" y="2374"/>
                  </a:cubicBezTo>
                  <a:cubicBezTo>
                    <a:pt x="7605" y="2374"/>
                    <a:pt x="7605" y="2374"/>
                    <a:pt x="7605" y="2374"/>
                  </a:cubicBezTo>
                  <a:cubicBezTo>
                    <a:pt x="7561" y="2403"/>
                    <a:pt x="7561" y="2403"/>
                    <a:pt x="7561" y="2403"/>
                  </a:cubicBezTo>
                  <a:cubicBezTo>
                    <a:pt x="7561" y="2403"/>
                    <a:pt x="7480" y="2448"/>
                    <a:pt x="7436" y="2499"/>
                  </a:cubicBezTo>
                  <a:cubicBezTo>
                    <a:pt x="7400" y="2550"/>
                    <a:pt x="7414" y="2572"/>
                    <a:pt x="7451" y="2616"/>
                  </a:cubicBezTo>
                  <a:cubicBezTo>
                    <a:pt x="7480" y="2653"/>
                    <a:pt x="7568" y="2689"/>
                    <a:pt x="7620" y="2704"/>
                  </a:cubicBezTo>
                  <a:cubicBezTo>
                    <a:pt x="7685" y="2719"/>
                    <a:pt x="7663" y="2821"/>
                    <a:pt x="7656" y="2865"/>
                  </a:cubicBezTo>
                  <a:cubicBezTo>
                    <a:pt x="7649" y="2887"/>
                    <a:pt x="7663" y="2894"/>
                    <a:pt x="7700" y="2909"/>
                  </a:cubicBezTo>
                  <a:cubicBezTo>
                    <a:pt x="7715" y="2924"/>
                    <a:pt x="7737" y="2931"/>
                    <a:pt x="7744" y="2946"/>
                  </a:cubicBezTo>
                  <a:cubicBezTo>
                    <a:pt x="7766" y="2982"/>
                    <a:pt x="7832" y="3165"/>
                    <a:pt x="7846" y="3217"/>
                  </a:cubicBezTo>
                  <a:cubicBezTo>
                    <a:pt x="7869" y="3224"/>
                    <a:pt x="7942" y="3253"/>
                    <a:pt x="7949" y="3312"/>
                  </a:cubicBezTo>
                  <a:cubicBezTo>
                    <a:pt x="7956" y="3334"/>
                    <a:pt x="7956" y="3363"/>
                    <a:pt x="7956" y="3393"/>
                  </a:cubicBezTo>
                  <a:cubicBezTo>
                    <a:pt x="7956" y="3451"/>
                    <a:pt x="7956" y="3524"/>
                    <a:pt x="7979" y="3554"/>
                  </a:cubicBezTo>
                  <a:cubicBezTo>
                    <a:pt x="7986" y="3561"/>
                    <a:pt x="7993" y="3561"/>
                    <a:pt x="8008" y="3561"/>
                  </a:cubicBezTo>
                  <a:cubicBezTo>
                    <a:pt x="8103" y="3561"/>
                    <a:pt x="8220" y="3679"/>
                    <a:pt x="8257" y="3774"/>
                  </a:cubicBezTo>
                  <a:cubicBezTo>
                    <a:pt x="8272" y="3825"/>
                    <a:pt x="8301" y="3832"/>
                    <a:pt x="8330" y="3832"/>
                  </a:cubicBezTo>
                  <a:cubicBezTo>
                    <a:pt x="8360" y="3832"/>
                    <a:pt x="8403" y="3818"/>
                    <a:pt x="8455" y="3810"/>
                  </a:cubicBezTo>
                  <a:cubicBezTo>
                    <a:pt x="8477" y="3803"/>
                    <a:pt x="8477" y="3803"/>
                    <a:pt x="8477" y="3803"/>
                  </a:cubicBezTo>
                  <a:cubicBezTo>
                    <a:pt x="8491" y="3796"/>
                    <a:pt x="8513" y="3796"/>
                    <a:pt x="8528" y="3796"/>
                  </a:cubicBezTo>
                  <a:cubicBezTo>
                    <a:pt x="8638" y="3796"/>
                    <a:pt x="8733" y="3891"/>
                    <a:pt x="8784" y="3942"/>
                  </a:cubicBezTo>
                  <a:cubicBezTo>
                    <a:pt x="8799" y="3957"/>
                    <a:pt x="8799" y="3957"/>
                    <a:pt x="8799" y="3957"/>
                  </a:cubicBezTo>
                  <a:cubicBezTo>
                    <a:pt x="8843" y="4001"/>
                    <a:pt x="8887" y="4052"/>
                    <a:pt x="8931" y="4111"/>
                  </a:cubicBezTo>
                  <a:cubicBezTo>
                    <a:pt x="8946" y="4133"/>
                    <a:pt x="8953" y="4155"/>
                    <a:pt x="8968" y="4169"/>
                  </a:cubicBezTo>
                  <a:cubicBezTo>
                    <a:pt x="8975" y="4199"/>
                    <a:pt x="8990" y="4228"/>
                    <a:pt x="9019" y="4243"/>
                  </a:cubicBezTo>
                  <a:cubicBezTo>
                    <a:pt x="9070" y="4272"/>
                    <a:pt x="9165" y="4345"/>
                    <a:pt x="9173" y="4411"/>
                  </a:cubicBezTo>
                  <a:cubicBezTo>
                    <a:pt x="9187" y="4455"/>
                    <a:pt x="9232" y="4499"/>
                    <a:pt x="9246" y="4514"/>
                  </a:cubicBezTo>
                  <a:cubicBezTo>
                    <a:pt x="9275" y="4514"/>
                    <a:pt x="9415" y="4514"/>
                    <a:pt x="9466" y="4529"/>
                  </a:cubicBezTo>
                  <a:cubicBezTo>
                    <a:pt x="9532" y="4543"/>
                    <a:pt x="9686" y="4719"/>
                    <a:pt x="9708" y="4778"/>
                  </a:cubicBezTo>
                  <a:cubicBezTo>
                    <a:pt x="9722" y="4807"/>
                    <a:pt x="9708" y="4851"/>
                    <a:pt x="9701" y="4895"/>
                  </a:cubicBezTo>
                  <a:cubicBezTo>
                    <a:pt x="9693" y="4910"/>
                    <a:pt x="9686" y="4939"/>
                    <a:pt x="9686" y="4946"/>
                  </a:cubicBezTo>
                  <a:cubicBezTo>
                    <a:pt x="9693" y="4953"/>
                    <a:pt x="9693" y="4953"/>
                    <a:pt x="9693" y="4953"/>
                  </a:cubicBezTo>
                  <a:cubicBezTo>
                    <a:pt x="9737" y="4961"/>
                    <a:pt x="9810" y="4990"/>
                    <a:pt x="9884" y="5049"/>
                  </a:cubicBezTo>
                  <a:cubicBezTo>
                    <a:pt x="9898" y="5063"/>
                    <a:pt x="9906" y="5063"/>
                    <a:pt x="9906" y="5063"/>
                  </a:cubicBezTo>
                  <a:cubicBezTo>
                    <a:pt x="9913" y="5063"/>
                    <a:pt x="9920" y="5049"/>
                    <a:pt x="9927" y="5034"/>
                  </a:cubicBezTo>
                  <a:cubicBezTo>
                    <a:pt x="9935" y="5012"/>
                    <a:pt x="9950" y="4975"/>
                    <a:pt x="9986" y="4975"/>
                  </a:cubicBezTo>
                  <a:cubicBezTo>
                    <a:pt x="9994" y="4975"/>
                    <a:pt x="9994" y="4975"/>
                    <a:pt x="10001" y="4983"/>
                  </a:cubicBezTo>
                  <a:cubicBezTo>
                    <a:pt x="10082" y="5005"/>
                    <a:pt x="10169" y="5027"/>
                    <a:pt x="10206" y="5115"/>
                  </a:cubicBezTo>
                  <a:cubicBezTo>
                    <a:pt x="10243" y="5195"/>
                    <a:pt x="10272" y="5232"/>
                    <a:pt x="10331" y="5239"/>
                  </a:cubicBezTo>
                  <a:cubicBezTo>
                    <a:pt x="10338" y="5239"/>
                    <a:pt x="10345" y="5239"/>
                    <a:pt x="10353" y="5239"/>
                  </a:cubicBezTo>
                  <a:cubicBezTo>
                    <a:pt x="10375" y="5239"/>
                    <a:pt x="10389" y="5239"/>
                    <a:pt x="10411" y="5232"/>
                  </a:cubicBezTo>
                  <a:cubicBezTo>
                    <a:pt x="10426" y="5232"/>
                    <a:pt x="10433" y="5224"/>
                    <a:pt x="10448" y="5224"/>
                  </a:cubicBezTo>
                  <a:cubicBezTo>
                    <a:pt x="10470" y="5224"/>
                    <a:pt x="10477" y="5239"/>
                    <a:pt x="10477" y="5254"/>
                  </a:cubicBezTo>
                  <a:cubicBezTo>
                    <a:pt x="10492" y="5283"/>
                    <a:pt x="10543" y="5371"/>
                    <a:pt x="10580" y="5415"/>
                  </a:cubicBezTo>
                  <a:cubicBezTo>
                    <a:pt x="10602" y="5452"/>
                    <a:pt x="10616" y="5481"/>
                    <a:pt x="10638" y="5518"/>
                  </a:cubicBezTo>
                  <a:cubicBezTo>
                    <a:pt x="10646" y="5532"/>
                    <a:pt x="10653" y="5547"/>
                    <a:pt x="10660" y="5569"/>
                  </a:cubicBezTo>
                  <a:cubicBezTo>
                    <a:pt x="10690" y="5620"/>
                    <a:pt x="10682" y="5657"/>
                    <a:pt x="10668" y="5708"/>
                  </a:cubicBezTo>
                  <a:cubicBezTo>
                    <a:pt x="10668" y="5730"/>
                    <a:pt x="10660" y="5752"/>
                    <a:pt x="10660" y="5781"/>
                  </a:cubicBezTo>
                  <a:cubicBezTo>
                    <a:pt x="10653" y="5848"/>
                    <a:pt x="10660" y="5862"/>
                    <a:pt x="10682" y="5884"/>
                  </a:cubicBezTo>
                  <a:cubicBezTo>
                    <a:pt x="10690" y="5891"/>
                    <a:pt x="10697" y="5899"/>
                    <a:pt x="10704" y="5921"/>
                  </a:cubicBezTo>
                  <a:cubicBezTo>
                    <a:pt x="10734" y="5965"/>
                    <a:pt x="10719" y="6016"/>
                    <a:pt x="10697" y="6082"/>
                  </a:cubicBezTo>
                  <a:cubicBezTo>
                    <a:pt x="10690" y="6111"/>
                    <a:pt x="10682" y="6141"/>
                    <a:pt x="10675" y="6177"/>
                  </a:cubicBezTo>
                  <a:cubicBezTo>
                    <a:pt x="10653" y="6250"/>
                    <a:pt x="10638" y="6272"/>
                    <a:pt x="10609" y="6287"/>
                  </a:cubicBezTo>
                  <a:cubicBezTo>
                    <a:pt x="10594" y="6294"/>
                    <a:pt x="10580" y="6309"/>
                    <a:pt x="10565" y="6331"/>
                  </a:cubicBezTo>
                  <a:cubicBezTo>
                    <a:pt x="10551" y="6360"/>
                    <a:pt x="10543" y="6382"/>
                    <a:pt x="10536" y="6404"/>
                  </a:cubicBezTo>
                  <a:cubicBezTo>
                    <a:pt x="10521" y="6434"/>
                    <a:pt x="10514" y="6463"/>
                    <a:pt x="10484" y="6478"/>
                  </a:cubicBezTo>
                  <a:cubicBezTo>
                    <a:pt x="10477" y="6485"/>
                    <a:pt x="10470" y="6492"/>
                    <a:pt x="10455" y="6492"/>
                  </a:cubicBezTo>
                  <a:lnTo>
                    <a:pt x="10455" y="6492"/>
                  </a:lnTo>
                  <a:cubicBezTo>
                    <a:pt x="10426" y="6492"/>
                    <a:pt x="10389" y="6456"/>
                    <a:pt x="10360" y="6419"/>
                  </a:cubicBezTo>
                  <a:cubicBezTo>
                    <a:pt x="10345" y="6404"/>
                    <a:pt x="10331" y="6390"/>
                    <a:pt x="10316" y="6382"/>
                  </a:cubicBezTo>
                  <a:cubicBezTo>
                    <a:pt x="10294" y="6360"/>
                    <a:pt x="10257" y="6353"/>
                    <a:pt x="10221" y="6346"/>
                  </a:cubicBezTo>
                  <a:cubicBezTo>
                    <a:pt x="10184" y="6338"/>
                    <a:pt x="10147" y="6331"/>
                    <a:pt x="10111" y="6316"/>
                  </a:cubicBezTo>
                  <a:cubicBezTo>
                    <a:pt x="10060" y="6294"/>
                    <a:pt x="10045" y="6272"/>
                    <a:pt x="10030" y="6258"/>
                  </a:cubicBezTo>
                  <a:lnTo>
                    <a:pt x="10023" y="6250"/>
                  </a:lnTo>
                  <a:cubicBezTo>
                    <a:pt x="10023" y="6250"/>
                    <a:pt x="10015" y="6258"/>
                    <a:pt x="10008" y="6265"/>
                  </a:cubicBezTo>
                  <a:cubicBezTo>
                    <a:pt x="9994" y="6280"/>
                    <a:pt x="9986" y="6294"/>
                    <a:pt x="9986" y="6302"/>
                  </a:cubicBezTo>
                  <a:cubicBezTo>
                    <a:pt x="9979" y="6316"/>
                    <a:pt x="9972" y="6331"/>
                    <a:pt x="9927" y="6360"/>
                  </a:cubicBezTo>
                  <a:cubicBezTo>
                    <a:pt x="9898" y="6375"/>
                    <a:pt x="9884" y="6382"/>
                    <a:pt x="9876" y="6382"/>
                  </a:cubicBezTo>
                  <a:cubicBezTo>
                    <a:pt x="9869" y="6390"/>
                    <a:pt x="9869" y="6390"/>
                    <a:pt x="9869" y="6390"/>
                  </a:cubicBezTo>
                  <a:cubicBezTo>
                    <a:pt x="9869" y="6390"/>
                    <a:pt x="9869" y="6397"/>
                    <a:pt x="9869" y="6412"/>
                  </a:cubicBezTo>
                  <a:cubicBezTo>
                    <a:pt x="9869" y="6463"/>
                    <a:pt x="9913" y="6588"/>
                    <a:pt x="9913" y="6588"/>
                  </a:cubicBezTo>
                  <a:cubicBezTo>
                    <a:pt x="9913" y="6595"/>
                    <a:pt x="9913" y="6595"/>
                    <a:pt x="9913" y="6595"/>
                  </a:cubicBezTo>
                  <a:cubicBezTo>
                    <a:pt x="9913" y="6602"/>
                    <a:pt x="9913" y="6602"/>
                    <a:pt x="9913" y="6602"/>
                  </a:cubicBezTo>
                  <a:cubicBezTo>
                    <a:pt x="9913" y="6602"/>
                    <a:pt x="9891" y="6668"/>
                    <a:pt x="9869" y="6749"/>
                  </a:cubicBezTo>
                  <a:cubicBezTo>
                    <a:pt x="9854" y="6785"/>
                    <a:pt x="9854" y="6815"/>
                    <a:pt x="9854" y="6851"/>
                  </a:cubicBezTo>
                  <a:cubicBezTo>
                    <a:pt x="9854" y="6888"/>
                    <a:pt x="9854" y="6932"/>
                    <a:pt x="9847" y="6983"/>
                  </a:cubicBezTo>
                  <a:cubicBezTo>
                    <a:pt x="9818" y="7100"/>
                    <a:pt x="9503" y="7276"/>
                    <a:pt x="9415" y="7298"/>
                  </a:cubicBezTo>
                  <a:cubicBezTo>
                    <a:pt x="9385" y="7306"/>
                    <a:pt x="9349" y="7313"/>
                    <a:pt x="9319" y="7320"/>
                  </a:cubicBezTo>
                  <a:cubicBezTo>
                    <a:pt x="9246" y="7335"/>
                    <a:pt x="9158" y="7357"/>
                    <a:pt x="9100" y="7379"/>
                  </a:cubicBezTo>
                  <a:cubicBezTo>
                    <a:pt x="9012" y="7416"/>
                    <a:pt x="8887" y="7548"/>
                    <a:pt x="8865" y="7577"/>
                  </a:cubicBezTo>
                  <a:cubicBezTo>
                    <a:pt x="8851" y="7599"/>
                    <a:pt x="8828" y="7599"/>
                    <a:pt x="8814" y="7599"/>
                  </a:cubicBezTo>
                  <a:cubicBezTo>
                    <a:pt x="8799" y="7599"/>
                    <a:pt x="8792" y="7599"/>
                    <a:pt x="8784" y="7599"/>
                  </a:cubicBezTo>
                  <a:cubicBezTo>
                    <a:pt x="8777" y="7599"/>
                    <a:pt x="8762" y="7599"/>
                    <a:pt x="8755" y="7599"/>
                  </a:cubicBezTo>
                  <a:cubicBezTo>
                    <a:pt x="8733" y="7599"/>
                    <a:pt x="8719" y="7599"/>
                    <a:pt x="8704" y="7606"/>
                  </a:cubicBezTo>
                  <a:cubicBezTo>
                    <a:pt x="8667" y="7613"/>
                    <a:pt x="8667" y="7635"/>
                    <a:pt x="8660" y="7665"/>
                  </a:cubicBezTo>
                  <a:cubicBezTo>
                    <a:pt x="8653" y="7694"/>
                    <a:pt x="8645" y="7731"/>
                    <a:pt x="8616" y="7767"/>
                  </a:cubicBezTo>
                  <a:cubicBezTo>
                    <a:pt x="8587" y="7819"/>
                    <a:pt x="8550" y="7841"/>
                    <a:pt x="8513" y="7862"/>
                  </a:cubicBezTo>
                  <a:cubicBezTo>
                    <a:pt x="8484" y="7877"/>
                    <a:pt x="8455" y="7892"/>
                    <a:pt x="8440" y="7929"/>
                  </a:cubicBezTo>
                  <a:cubicBezTo>
                    <a:pt x="8418" y="7965"/>
                    <a:pt x="8411" y="7994"/>
                    <a:pt x="8418" y="8031"/>
                  </a:cubicBezTo>
                  <a:cubicBezTo>
                    <a:pt x="8433" y="8060"/>
                    <a:pt x="8455" y="8090"/>
                    <a:pt x="8499" y="8112"/>
                  </a:cubicBezTo>
                  <a:cubicBezTo>
                    <a:pt x="8521" y="8119"/>
                    <a:pt x="8543" y="8134"/>
                    <a:pt x="8565" y="8141"/>
                  </a:cubicBezTo>
                  <a:cubicBezTo>
                    <a:pt x="8623" y="8163"/>
                    <a:pt x="8667" y="8178"/>
                    <a:pt x="8675" y="8243"/>
                  </a:cubicBezTo>
                  <a:cubicBezTo>
                    <a:pt x="8689" y="8317"/>
                    <a:pt x="8741" y="8383"/>
                    <a:pt x="8799" y="8405"/>
                  </a:cubicBezTo>
                  <a:cubicBezTo>
                    <a:pt x="8851" y="8419"/>
                    <a:pt x="8880" y="8478"/>
                    <a:pt x="8909" y="8544"/>
                  </a:cubicBezTo>
                  <a:cubicBezTo>
                    <a:pt x="8931" y="8581"/>
                    <a:pt x="8953" y="8625"/>
                    <a:pt x="8982" y="8669"/>
                  </a:cubicBezTo>
                  <a:cubicBezTo>
                    <a:pt x="9041" y="8771"/>
                    <a:pt x="8982" y="8852"/>
                    <a:pt x="8938" y="8925"/>
                  </a:cubicBezTo>
                  <a:cubicBezTo>
                    <a:pt x="8916" y="8954"/>
                    <a:pt x="8902" y="8976"/>
                    <a:pt x="8894" y="9006"/>
                  </a:cubicBezTo>
                  <a:cubicBezTo>
                    <a:pt x="8880" y="9035"/>
                    <a:pt x="8865" y="9057"/>
                    <a:pt x="8851" y="9079"/>
                  </a:cubicBezTo>
                  <a:cubicBezTo>
                    <a:pt x="8828" y="9108"/>
                    <a:pt x="8814" y="9123"/>
                    <a:pt x="8836" y="9174"/>
                  </a:cubicBezTo>
                  <a:cubicBezTo>
                    <a:pt x="8836" y="9189"/>
                    <a:pt x="8836" y="9189"/>
                    <a:pt x="8836" y="9189"/>
                  </a:cubicBezTo>
                  <a:cubicBezTo>
                    <a:pt x="8858" y="9225"/>
                    <a:pt x="8865" y="9240"/>
                    <a:pt x="8872" y="9240"/>
                  </a:cubicBezTo>
                  <a:cubicBezTo>
                    <a:pt x="8894" y="9240"/>
                    <a:pt x="8938" y="9218"/>
                    <a:pt x="8982" y="9189"/>
                  </a:cubicBezTo>
                  <a:cubicBezTo>
                    <a:pt x="9004" y="9174"/>
                    <a:pt x="9034" y="9167"/>
                    <a:pt x="9056" y="9167"/>
                  </a:cubicBezTo>
                  <a:cubicBezTo>
                    <a:pt x="9136" y="9167"/>
                    <a:pt x="9180" y="9255"/>
                    <a:pt x="9217" y="9335"/>
                  </a:cubicBezTo>
                  <a:cubicBezTo>
                    <a:pt x="9232" y="9357"/>
                    <a:pt x="9239" y="9379"/>
                    <a:pt x="9253" y="9394"/>
                  </a:cubicBezTo>
                  <a:cubicBezTo>
                    <a:pt x="9312" y="9489"/>
                    <a:pt x="9261" y="9541"/>
                    <a:pt x="9202" y="9607"/>
                  </a:cubicBezTo>
                  <a:cubicBezTo>
                    <a:pt x="9180" y="9629"/>
                    <a:pt x="9180" y="9629"/>
                    <a:pt x="9180" y="9629"/>
                  </a:cubicBezTo>
                  <a:cubicBezTo>
                    <a:pt x="9136" y="9680"/>
                    <a:pt x="9151" y="9724"/>
                    <a:pt x="9158" y="9760"/>
                  </a:cubicBezTo>
                  <a:cubicBezTo>
                    <a:pt x="9158" y="9782"/>
                    <a:pt x="9165" y="9797"/>
                    <a:pt x="9165" y="9812"/>
                  </a:cubicBezTo>
                  <a:cubicBezTo>
                    <a:pt x="9165" y="9834"/>
                    <a:pt x="9173" y="9848"/>
                    <a:pt x="9180" y="9863"/>
                  </a:cubicBezTo>
                  <a:cubicBezTo>
                    <a:pt x="9202" y="9892"/>
                    <a:pt x="9217" y="9922"/>
                    <a:pt x="9180" y="9958"/>
                  </a:cubicBezTo>
                  <a:cubicBezTo>
                    <a:pt x="9165" y="9973"/>
                    <a:pt x="9158" y="9988"/>
                    <a:pt x="9151" y="10002"/>
                  </a:cubicBezTo>
                  <a:cubicBezTo>
                    <a:pt x="9136" y="10024"/>
                    <a:pt x="9122" y="10046"/>
                    <a:pt x="9085" y="10046"/>
                  </a:cubicBezTo>
                  <a:cubicBezTo>
                    <a:pt x="9078" y="10046"/>
                    <a:pt x="9078" y="10046"/>
                    <a:pt x="9070" y="10046"/>
                  </a:cubicBezTo>
                  <a:cubicBezTo>
                    <a:pt x="9012" y="10031"/>
                    <a:pt x="9012" y="10031"/>
                    <a:pt x="8916" y="10010"/>
                  </a:cubicBezTo>
                  <a:cubicBezTo>
                    <a:pt x="8865" y="9995"/>
                    <a:pt x="8828" y="9958"/>
                    <a:pt x="8784" y="9914"/>
                  </a:cubicBezTo>
                  <a:cubicBezTo>
                    <a:pt x="8755" y="9878"/>
                    <a:pt x="8719" y="9841"/>
                    <a:pt x="8682" y="9826"/>
                  </a:cubicBezTo>
                  <a:cubicBezTo>
                    <a:pt x="8609" y="9804"/>
                    <a:pt x="8557" y="9746"/>
                    <a:pt x="8543" y="9694"/>
                  </a:cubicBezTo>
                  <a:cubicBezTo>
                    <a:pt x="8535" y="9672"/>
                    <a:pt x="8543" y="9650"/>
                    <a:pt x="8557" y="9636"/>
                  </a:cubicBezTo>
                  <a:cubicBezTo>
                    <a:pt x="8565" y="9629"/>
                    <a:pt x="8572" y="9621"/>
                    <a:pt x="8579" y="9614"/>
                  </a:cubicBezTo>
                  <a:cubicBezTo>
                    <a:pt x="8594" y="9599"/>
                    <a:pt x="8609" y="9584"/>
                    <a:pt x="8609" y="9577"/>
                  </a:cubicBezTo>
                  <a:cubicBezTo>
                    <a:pt x="8609" y="9577"/>
                    <a:pt x="8609" y="9570"/>
                    <a:pt x="8579" y="9555"/>
                  </a:cubicBezTo>
                  <a:cubicBezTo>
                    <a:pt x="8521" y="9533"/>
                    <a:pt x="8506" y="9497"/>
                    <a:pt x="8491" y="9460"/>
                  </a:cubicBezTo>
                  <a:cubicBezTo>
                    <a:pt x="8484" y="9438"/>
                    <a:pt x="8477" y="9423"/>
                    <a:pt x="8455" y="9401"/>
                  </a:cubicBezTo>
                  <a:cubicBezTo>
                    <a:pt x="8440" y="9387"/>
                    <a:pt x="8418" y="9379"/>
                    <a:pt x="8381" y="9379"/>
                  </a:cubicBezTo>
                  <a:cubicBezTo>
                    <a:pt x="8352" y="9379"/>
                    <a:pt x="8323" y="9379"/>
                    <a:pt x="8294" y="9387"/>
                  </a:cubicBezTo>
                  <a:cubicBezTo>
                    <a:pt x="8264" y="9387"/>
                    <a:pt x="8264" y="9387"/>
                    <a:pt x="8264" y="9387"/>
                  </a:cubicBezTo>
                  <a:cubicBezTo>
                    <a:pt x="8191" y="9394"/>
                    <a:pt x="8162" y="9431"/>
                    <a:pt x="8118" y="9482"/>
                  </a:cubicBezTo>
                  <a:cubicBezTo>
                    <a:pt x="8110" y="9497"/>
                    <a:pt x="8096" y="9511"/>
                    <a:pt x="8081" y="9526"/>
                  </a:cubicBezTo>
                  <a:cubicBezTo>
                    <a:pt x="8052" y="9570"/>
                    <a:pt x="8022" y="9584"/>
                    <a:pt x="7993" y="9584"/>
                  </a:cubicBezTo>
                  <a:cubicBezTo>
                    <a:pt x="7971" y="9584"/>
                    <a:pt x="7949" y="9577"/>
                    <a:pt x="7927" y="9570"/>
                  </a:cubicBezTo>
                  <a:cubicBezTo>
                    <a:pt x="7920" y="9562"/>
                    <a:pt x="7905" y="9562"/>
                    <a:pt x="7898" y="9555"/>
                  </a:cubicBezTo>
                  <a:cubicBezTo>
                    <a:pt x="7839" y="9533"/>
                    <a:pt x="7803" y="9467"/>
                    <a:pt x="7781" y="9416"/>
                  </a:cubicBezTo>
                  <a:cubicBezTo>
                    <a:pt x="7766" y="9394"/>
                    <a:pt x="7759" y="9379"/>
                    <a:pt x="7751" y="9365"/>
                  </a:cubicBezTo>
                  <a:cubicBezTo>
                    <a:pt x="7744" y="9350"/>
                    <a:pt x="7707" y="9335"/>
                    <a:pt x="7656" y="9335"/>
                  </a:cubicBezTo>
                  <a:cubicBezTo>
                    <a:pt x="7605" y="9335"/>
                    <a:pt x="7539" y="9350"/>
                    <a:pt x="7480" y="9372"/>
                  </a:cubicBezTo>
                  <a:cubicBezTo>
                    <a:pt x="7414" y="9401"/>
                    <a:pt x="7378" y="9409"/>
                    <a:pt x="7356" y="9409"/>
                  </a:cubicBezTo>
                  <a:cubicBezTo>
                    <a:pt x="7341" y="9409"/>
                    <a:pt x="7334" y="9401"/>
                    <a:pt x="7326" y="9394"/>
                  </a:cubicBezTo>
                  <a:cubicBezTo>
                    <a:pt x="7319" y="9379"/>
                    <a:pt x="7326" y="9365"/>
                    <a:pt x="7334" y="9350"/>
                  </a:cubicBezTo>
                  <a:cubicBezTo>
                    <a:pt x="7356" y="9306"/>
                    <a:pt x="7363" y="9225"/>
                    <a:pt x="7356" y="9218"/>
                  </a:cubicBezTo>
                  <a:cubicBezTo>
                    <a:pt x="7326" y="9218"/>
                    <a:pt x="7304" y="9248"/>
                    <a:pt x="7275" y="9284"/>
                  </a:cubicBezTo>
                  <a:cubicBezTo>
                    <a:pt x="7260" y="9306"/>
                    <a:pt x="7238" y="9335"/>
                    <a:pt x="7209" y="9357"/>
                  </a:cubicBezTo>
                  <a:cubicBezTo>
                    <a:pt x="7158" y="9409"/>
                    <a:pt x="7180" y="9453"/>
                    <a:pt x="7231" y="9533"/>
                  </a:cubicBezTo>
                  <a:cubicBezTo>
                    <a:pt x="7246" y="9555"/>
                    <a:pt x="7246" y="9555"/>
                    <a:pt x="7246" y="9555"/>
                  </a:cubicBezTo>
                  <a:cubicBezTo>
                    <a:pt x="7282" y="9607"/>
                    <a:pt x="7290" y="9636"/>
                    <a:pt x="7282" y="9650"/>
                  </a:cubicBezTo>
                  <a:cubicBezTo>
                    <a:pt x="7275" y="9672"/>
                    <a:pt x="7253" y="9672"/>
                    <a:pt x="7216" y="9680"/>
                  </a:cubicBezTo>
                  <a:cubicBezTo>
                    <a:pt x="7180" y="9687"/>
                    <a:pt x="7158" y="9687"/>
                    <a:pt x="7129" y="9687"/>
                  </a:cubicBezTo>
                  <a:cubicBezTo>
                    <a:pt x="7106" y="9687"/>
                    <a:pt x="7084" y="9687"/>
                    <a:pt x="7048" y="9680"/>
                  </a:cubicBezTo>
                  <a:cubicBezTo>
                    <a:pt x="7019" y="9672"/>
                    <a:pt x="6975" y="9672"/>
                    <a:pt x="6938" y="9665"/>
                  </a:cubicBezTo>
                  <a:cubicBezTo>
                    <a:pt x="6894" y="9658"/>
                    <a:pt x="6857" y="9650"/>
                    <a:pt x="6821" y="9650"/>
                  </a:cubicBezTo>
                  <a:cubicBezTo>
                    <a:pt x="6821" y="9643"/>
                    <a:pt x="6813" y="9643"/>
                    <a:pt x="6806" y="9643"/>
                  </a:cubicBezTo>
                  <a:cubicBezTo>
                    <a:pt x="6725" y="9643"/>
                    <a:pt x="6528" y="9709"/>
                    <a:pt x="6462" y="9768"/>
                  </a:cubicBezTo>
                  <a:cubicBezTo>
                    <a:pt x="6432" y="9797"/>
                    <a:pt x="6389" y="9804"/>
                    <a:pt x="6330" y="9804"/>
                  </a:cubicBezTo>
                  <a:cubicBezTo>
                    <a:pt x="6293" y="9804"/>
                    <a:pt x="6256" y="9804"/>
                    <a:pt x="6227" y="9797"/>
                  </a:cubicBezTo>
                  <a:cubicBezTo>
                    <a:pt x="6191" y="9797"/>
                    <a:pt x="6169" y="9790"/>
                    <a:pt x="6139" y="9790"/>
                  </a:cubicBezTo>
                  <a:cubicBezTo>
                    <a:pt x="6132" y="9790"/>
                    <a:pt x="6125" y="9797"/>
                    <a:pt x="6110" y="9797"/>
                  </a:cubicBezTo>
                  <a:cubicBezTo>
                    <a:pt x="6088" y="9797"/>
                    <a:pt x="6088" y="9797"/>
                    <a:pt x="6088" y="9797"/>
                  </a:cubicBezTo>
                  <a:cubicBezTo>
                    <a:pt x="6015" y="9804"/>
                    <a:pt x="5956" y="9812"/>
                    <a:pt x="5898" y="9892"/>
                  </a:cubicBezTo>
                  <a:cubicBezTo>
                    <a:pt x="5868" y="9936"/>
                    <a:pt x="5875" y="9951"/>
                    <a:pt x="5883" y="9973"/>
                  </a:cubicBezTo>
                  <a:cubicBezTo>
                    <a:pt x="5883" y="9988"/>
                    <a:pt x="5898" y="10010"/>
                    <a:pt x="5861" y="10039"/>
                  </a:cubicBezTo>
                  <a:cubicBezTo>
                    <a:pt x="5824" y="10068"/>
                    <a:pt x="5773" y="10075"/>
                    <a:pt x="5736" y="10075"/>
                  </a:cubicBezTo>
                  <a:cubicBezTo>
                    <a:pt x="5707" y="10075"/>
                    <a:pt x="5685" y="10068"/>
                    <a:pt x="5656" y="10068"/>
                  </a:cubicBezTo>
                  <a:cubicBezTo>
                    <a:pt x="5634" y="10068"/>
                    <a:pt x="5612" y="10068"/>
                    <a:pt x="5590" y="10068"/>
                  </a:cubicBezTo>
                  <a:cubicBezTo>
                    <a:pt x="5509" y="10068"/>
                    <a:pt x="5502" y="10090"/>
                    <a:pt x="5494" y="10185"/>
                  </a:cubicBezTo>
                  <a:cubicBezTo>
                    <a:pt x="5487" y="10222"/>
                    <a:pt x="5494" y="10229"/>
                    <a:pt x="5494" y="10229"/>
                  </a:cubicBezTo>
                  <a:cubicBezTo>
                    <a:pt x="5494" y="10229"/>
                    <a:pt x="5502" y="10222"/>
                    <a:pt x="5509" y="10215"/>
                  </a:cubicBezTo>
                  <a:cubicBezTo>
                    <a:pt x="5539" y="10178"/>
                    <a:pt x="5539" y="10178"/>
                    <a:pt x="5539" y="10178"/>
                  </a:cubicBezTo>
                  <a:cubicBezTo>
                    <a:pt x="5539" y="10310"/>
                    <a:pt x="5539" y="10310"/>
                    <a:pt x="5539" y="10310"/>
                  </a:cubicBezTo>
                  <a:cubicBezTo>
                    <a:pt x="5516" y="10302"/>
                    <a:pt x="5516" y="10302"/>
                    <a:pt x="5516" y="10302"/>
                  </a:cubicBezTo>
                  <a:cubicBezTo>
                    <a:pt x="5516" y="10302"/>
                    <a:pt x="5472" y="10295"/>
                    <a:pt x="5392" y="10281"/>
                  </a:cubicBezTo>
                  <a:cubicBezTo>
                    <a:pt x="5392" y="10281"/>
                    <a:pt x="5384" y="10281"/>
                    <a:pt x="5377" y="10281"/>
                  </a:cubicBezTo>
                  <a:cubicBezTo>
                    <a:pt x="5326" y="10281"/>
                    <a:pt x="5297" y="10325"/>
                    <a:pt x="5253" y="10383"/>
                  </a:cubicBezTo>
                  <a:cubicBezTo>
                    <a:pt x="5238" y="10398"/>
                    <a:pt x="5238" y="10398"/>
                    <a:pt x="5238" y="10398"/>
                  </a:cubicBezTo>
                  <a:cubicBezTo>
                    <a:pt x="5209" y="10442"/>
                    <a:pt x="5194" y="10464"/>
                    <a:pt x="5165" y="10464"/>
                  </a:cubicBezTo>
                  <a:cubicBezTo>
                    <a:pt x="5150" y="10464"/>
                    <a:pt x="5135" y="10457"/>
                    <a:pt x="5113" y="10449"/>
                  </a:cubicBezTo>
                  <a:cubicBezTo>
                    <a:pt x="5099" y="10442"/>
                    <a:pt x="5099" y="10442"/>
                    <a:pt x="5099" y="10442"/>
                  </a:cubicBezTo>
                  <a:cubicBezTo>
                    <a:pt x="5070" y="10427"/>
                    <a:pt x="5062" y="10412"/>
                    <a:pt x="5062" y="10398"/>
                  </a:cubicBezTo>
                  <a:cubicBezTo>
                    <a:pt x="5062" y="10376"/>
                    <a:pt x="5070" y="10354"/>
                    <a:pt x="5084" y="10339"/>
                  </a:cubicBezTo>
                  <a:cubicBezTo>
                    <a:pt x="5055" y="10347"/>
                    <a:pt x="5025" y="10361"/>
                    <a:pt x="4989" y="10369"/>
                  </a:cubicBezTo>
                  <a:cubicBezTo>
                    <a:pt x="4894" y="10405"/>
                    <a:pt x="4776" y="10442"/>
                    <a:pt x="4681" y="10449"/>
                  </a:cubicBezTo>
                  <a:cubicBezTo>
                    <a:pt x="4674" y="10449"/>
                    <a:pt x="4666" y="10457"/>
                    <a:pt x="4652" y="10457"/>
                  </a:cubicBezTo>
                  <a:cubicBezTo>
                    <a:pt x="4534" y="10457"/>
                    <a:pt x="4520" y="10383"/>
                    <a:pt x="4513" y="10339"/>
                  </a:cubicBezTo>
                  <a:cubicBezTo>
                    <a:pt x="4513" y="10325"/>
                    <a:pt x="4513" y="10325"/>
                    <a:pt x="4513" y="10325"/>
                  </a:cubicBezTo>
                  <a:cubicBezTo>
                    <a:pt x="4498" y="10288"/>
                    <a:pt x="4454" y="10193"/>
                    <a:pt x="4403" y="10193"/>
                  </a:cubicBezTo>
                  <a:cubicBezTo>
                    <a:pt x="4344" y="10193"/>
                    <a:pt x="4344" y="10193"/>
                    <a:pt x="4344" y="10193"/>
                  </a:cubicBezTo>
                  <a:cubicBezTo>
                    <a:pt x="4293" y="10193"/>
                    <a:pt x="4256" y="10185"/>
                    <a:pt x="4249" y="10163"/>
                  </a:cubicBezTo>
                  <a:cubicBezTo>
                    <a:pt x="4241" y="10141"/>
                    <a:pt x="4271" y="10119"/>
                    <a:pt x="4285" y="10105"/>
                  </a:cubicBezTo>
                  <a:cubicBezTo>
                    <a:pt x="4315" y="10090"/>
                    <a:pt x="4322" y="10068"/>
                    <a:pt x="4315" y="10053"/>
                  </a:cubicBezTo>
                  <a:cubicBezTo>
                    <a:pt x="4308" y="10031"/>
                    <a:pt x="4285" y="10017"/>
                    <a:pt x="4256" y="10017"/>
                  </a:cubicBezTo>
                  <a:cubicBezTo>
                    <a:pt x="4241" y="10017"/>
                    <a:pt x="4227" y="10024"/>
                    <a:pt x="4212" y="10031"/>
                  </a:cubicBezTo>
                  <a:cubicBezTo>
                    <a:pt x="4168" y="10053"/>
                    <a:pt x="4132" y="10068"/>
                    <a:pt x="4095" y="10068"/>
                  </a:cubicBezTo>
                  <a:cubicBezTo>
                    <a:pt x="4066" y="10068"/>
                    <a:pt x="4044" y="10061"/>
                    <a:pt x="4014" y="10039"/>
                  </a:cubicBezTo>
                  <a:cubicBezTo>
                    <a:pt x="3992" y="10024"/>
                    <a:pt x="3948" y="10002"/>
                    <a:pt x="3897" y="9988"/>
                  </a:cubicBezTo>
                  <a:cubicBezTo>
                    <a:pt x="3860" y="9973"/>
                    <a:pt x="3817" y="9958"/>
                    <a:pt x="3794" y="9943"/>
                  </a:cubicBezTo>
                  <a:cubicBezTo>
                    <a:pt x="3765" y="9922"/>
                    <a:pt x="3736" y="9914"/>
                    <a:pt x="3714" y="9914"/>
                  </a:cubicBezTo>
                  <a:cubicBezTo>
                    <a:pt x="3685" y="9914"/>
                    <a:pt x="3663" y="9929"/>
                    <a:pt x="3655" y="9951"/>
                  </a:cubicBezTo>
                  <a:cubicBezTo>
                    <a:pt x="3633" y="10017"/>
                    <a:pt x="3531" y="10024"/>
                    <a:pt x="3487" y="10024"/>
                  </a:cubicBezTo>
                  <a:cubicBezTo>
                    <a:pt x="3465" y="10024"/>
                    <a:pt x="3443" y="10024"/>
                    <a:pt x="3421" y="10024"/>
                  </a:cubicBezTo>
                  <a:cubicBezTo>
                    <a:pt x="3391" y="10017"/>
                    <a:pt x="3370" y="9988"/>
                    <a:pt x="3355" y="9951"/>
                  </a:cubicBezTo>
                  <a:cubicBezTo>
                    <a:pt x="3355" y="9980"/>
                    <a:pt x="3348" y="10002"/>
                    <a:pt x="3340" y="10046"/>
                  </a:cubicBezTo>
                  <a:cubicBezTo>
                    <a:pt x="3318" y="10119"/>
                    <a:pt x="3340" y="10134"/>
                    <a:pt x="3377" y="10149"/>
                  </a:cubicBezTo>
                  <a:cubicBezTo>
                    <a:pt x="3391" y="10156"/>
                    <a:pt x="3406" y="10178"/>
                    <a:pt x="3413" y="10200"/>
                  </a:cubicBezTo>
                  <a:cubicBezTo>
                    <a:pt x="3428" y="10259"/>
                    <a:pt x="3421" y="10347"/>
                    <a:pt x="3391" y="10391"/>
                  </a:cubicBezTo>
                  <a:cubicBezTo>
                    <a:pt x="3384" y="10405"/>
                    <a:pt x="3370" y="10427"/>
                    <a:pt x="3362" y="10449"/>
                  </a:cubicBezTo>
                  <a:cubicBezTo>
                    <a:pt x="3348" y="10493"/>
                    <a:pt x="3333" y="10530"/>
                    <a:pt x="3289" y="10544"/>
                  </a:cubicBezTo>
                  <a:cubicBezTo>
                    <a:pt x="3252" y="10552"/>
                    <a:pt x="3164" y="10625"/>
                    <a:pt x="3120" y="10735"/>
                  </a:cubicBezTo>
                  <a:cubicBezTo>
                    <a:pt x="3077" y="10845"/>
                    <a:pt x="2931" y="10889"/>
                    <a:pt x="2843" y="10911"/>
                  </a:cubicBezTo>
                  <a:cubicBezTo>
                    <a:pt x="2821" y="10918"/>
                    <a:pt x="2821" y="10918"/>
                    <a:pt x="2821" y="10918"/>
                  </a:cubicBezTo>
                  <a:cubicBezTo>
                    <a:pt x="2806" y="10918"/>
                    <a:pt x="2792" y="10918"/>
                    <a:pt x="2784" y="10918"/>
                  </a:cubicBezTo>
                </a:path>
              </a:pathLst>
            </a:custGeom>
            <a:grpFill/>
            <a:ln w="6350" cmpd="sng">
              <a:solidFill>
                <a:schemeClr val="bg1"/>
              </a:solidFill>
            </a:ln>
            <a:effectLst/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" name="Freeform 15"/>
            <p:cNvSpPr>
              <a:spLocks noChangeArrowheads="1"/>
            </p:cNvSpPr>
            <p:nvPr/>
          </p:nvSpPr>
          <p:spPr bwMode="auto">
            <a:xfrm>
              <a:off x="5858100" y="8272266"/>
              <a:ext cx="4134795" cy="4162153"/>
            </a:xfrm>
            <a:custGeom>
              <a:avLst/>
              <a:gdLst>
                <a:gd name="T0" fmla="*/ 3663 w 10764"/>
                <a:gd name="T1" fmla="*/ 1128 h 10956"/>
                <a:gd name="T2" fmla="*/ 4337 w 10764"/>
                <a:gd name="T3" fmla="*/ 630 h 10956"/>
                <a:gd name="T4" fmla="*/ 4945 w 10764"/>
                <a:gd name="T5" fmla="*/ 198 h 10956"/>
                <a:gd name="T6" fmla="*/ 6286 w 10764"/>
                <a:gd name="T7" fmla="*/ 388 h 10956"/>
                <a:gd name="T8" fmla="*/ 7547 w 10764"/>
                <a:gd name="T9" fmla="*/ 1854 h 10956"/>
                <a:gd name="T10" fmla="*/ 8543 w 10764"/>
                <a:gd name="T11" fmla="*/ 3832 h 10956"/>
                <a:gd name="T12" fmla="*/ 10463 w 10764"/>
                <a:gd name="T13" fmla="*/ 5269 h 10956"/>
                <a:gd name="T14" fmla="*/ 9913 w 10764"/>
                <a:gd name="T15" fmla="*/ 6617 h 10956"/>
                <a:gd name="T16" fmla="*/ 8836 w 10764"/>
                <a:gd name="T17" fmla="*/ 9203 h 10956"/>
                <a:gd name="T18" fmla="*/ 8279 w 10764"/>
                <a:gd name="T19" fmla="*/ 9394 h 10956"/>
                <a:gd name="T20" fmla="*/ 6843 w 10764"/>
                <a:gd name="T21" fmla="*/ 9651 h 10956"/>
                <a:gd name="T22" fmla="*/ 5246 w 10764"/>
                <a:gd name="T23" fmla="*/ 10413 h 10956"/>
                <a:gd name="T24" fmla="*/ 3656 w 10764"/>
                <a:gd name="T25" fmla="*/ 9973 h 10956"/>
                <a:gd name="T26" fmla="*/ 2631 w 10764"/>
                <a:gd name="T27" fmla="*/ 10625 h 10956"/>
                <a:gd name="T28" fmla="*/ 1561 w 10764"/>
                <a:gd name="T29" fmla="*/ 9995 h 10956"/>
                <a:gd name="T30" fmla="*/ 2645 w 10764"/>
                <a:gd name="T31" fmla="*/ 8273 h 10956"/>
                <a:gd name="T32" fmla="*/ 2997 w 10764"/>
                <a:gd name="T33" fmla="*/ 6470 h 10956"/>
                <a:gd name="T34" fmla="*/ 2726 w 10764"/>
                <a:gd name="T35" fmla="*/ 4873 h 10956"/>
                <a:gd name="T36" fmla="*/ 2015 w 10764"/>
                <a:gd name="T37" fmla="*/ 3239 h 10956"/>
                <a:gd name="T38" fmla="*/ 1341 w 10764"/>
                <a:gd name="T39" fmla="*/ 2616 h 10956"/>
                <a:gd name="T40" fmla="*/ 887 w 10764"/>
                <a:gd name="T41" fmla="*/ 3056 h 10956"/>
                <a:gd name="T42" fmla="*/ 139 w 10764"/>
                <a:gd name="T43" fmla="*/ 1949 h 10956"/>
                <a:gd name="T44" fmla="*/ 1231 w 10764"/>
                <a:gd name="T45" fmla="*/ 1348 h 10956"/>
                <a:gd name="T46" fmla="*/ 2360 w 10764"/>
                <a:gd name="T47" fmla="*/ 95 h 10956"/>
                <a:gd name="T48" fmla="*/ 2360 w 10764"/>
                <a:gd name="T49" fmla="*/ 51 h 10956"/>
                <a:gd name="T50" fmla="*/ 1642 w 10764"/>
                <a:gd name="T51" fmla="*/ 777 h 10956"/>
                <a:gd name="T52" fmla="*/ 1143 w 10764"/>
                <a:gd name="T53" fmla="*/ 1473 h 10956"/>
                <a:gd name="T54" fmla="*/ 44 w 10764"/>
                <a:gd name="T55" fmla="*/ 1619 h 10956"/>
                <a:gd name="T56" fmla="*/ 213 w 10764"/>
                <a:gd name="T57" fmla="*/ 3261 h 10956"/>
                <a:gd name="T58" fmla="*/ 997 w 10764"/>
                <a:gd name="T59" fmla="*/ 3004 h 10956"/>
                <a:gd name="T60" fmla="*/ 1158 w 10764"/>
                <a:gd name="T61" fmla="*/ 2645 h 10956"/>
                <a:gd name="T62" fmla="*/ 1744 w 10764"/>
                <a:gd name="T63" fmla="*/ 2872 h 10956"/>
                <a:gd name="T64" fmla="*/ 2360 w 10764"/>
                <a:gd name="T65" fmla="*/ 3466 h 10956"/>
                <a:gd name="T66" fmla="*/ 2763 w 10764"/>
                <a:gd name="T67" fmla="*/ 4924 h 10956"/>
                <a:gd name="T68" fmla="*/ 3231 w 10764"/>
                <a:gd name="T69" fmla="*/ 6243 h 10956"/>
                <a:gd name="T70" fmla="*/ 2587 w 10764"/>
                <a:gd name="T71" fmla="*/ 6932 h 10956"/>
                <a:gd name="T72" fmla="*/ 2594 w 10764"/>
                <a:gd name="T73" fmla="*/ 9101 h 10956"/>
                <a:gd name="T74" fmla="*/ 1458 w 10764"/>
                <a:gd name="T75" fmla="*/ 9870 h 10956"/>
                <a:gd name="T76" fmla="*/ 2198 w 10764"/>
                <a:gd name="T77" fmla="*/ 10068 h 10956"/>
                <a:gd name="T78" fmla="*/ 2763 w 10764"/>
                <a:gd name="T79" fmla="*/ 10823 h 10956"/>
                <a:gd name="T80" fmla="*/ 3729 w 10764"/>
                <a:gd name="T81" fmla="*/ 9951 h 10956"/>
                <a:gd name="T82" fmla="*/ 4704 w 10764"/>
                <a:gd name="T83" fmla="*/ 10486 h 10956"/>
                <a:gd name="T84" fmla="*/ 5524 w 10764"/>
                <a:gd name="T85" fmla="*/ 10215 h 10956"/>
                <a:gd name="T86" fmla="*/ 6946 w 10764"/>
                <a:gd name="T87" fmla="*/ 9702 h 10956"/>
                <a:gd name="T88" fmla="*/ 7759 w 10764"/>
                <a:gd name="T89" fmla="*/ 9394 h 10956"/>
                <a:gd name="T90" fmla="*/ 8543 w 10764"/>
                <a:gd name="T91" fmla="*/ 9724 h 10956"/>
                <a:gd name="T92" fmla="*/ 8990 w 10764"/>
                <a:gd name="T93" fmla="*/ 9196 h 10956"/>
                <a:gd name="T94" fmla="*/ 8646 w 10764"/>
                <a:gd name="T95" fmla="*/ 7797 h 10956"/>
                <a:gd name="T96" fmla="*/ 9899 w 10764"/>
                <a:gd name="T97" fmla="*/ 6434 h 10956"/>
                <a:gd name="T98" fmla="*/ 10727 w 10764"/>
                <a:gd name="T99" fmla="*/ 6111 h 10956"/>
                <a:gd name="T100" fmla="*/ 9928 w 10764"/>
                <a:gd name="T101" fmla="*/ 5056 h 10956"/>
                <a:gd name="T102" fmla="*/ 8470 w 10764"/>
                <a:gd name="T103" fmla="*/ 3818 h 10956"/>
                <a:gd name="T104" fmla="*/ 7568 w 10764"/>
                <a:gd name="T105" fmla="*/ 2382 h 10956"/>
                <a:gd name="T106" fmla="*/ 6938 w 10764"/>
                <a:gd name="T107" fmla="*/ 1356 h 10956"/>
                <a:gd name="T108" fmla="*/ 6381 w 10764"/>
                <a:gd name="T109" fmla="*/ 396 h 10956"/>
                <a:gd name="T110" fmla="*/ 5451 w 10764"/>
                <a:gd name="T111" fmla="*/ 520 h 10956"/>
                <a:gd name="T112" fmla="*/ 4894 w 10764"/>
                <a:gd name="T113" fmla="*/ 806 h 10956"/>
                <a:gd name="T114" fmla="*/ 4528 w 10764"/>
                <a:gd name="T115" fmla="*/ 601 h 10956"/>
                <a:gd name="T116" fmla="*/ 3883 w 10764"/>
                <a:gd name="T117" fmla="*/ 916 h 10956"/>
                <a:gd name="T118" fmla="*/ 3538 w 10764"/>
                <a:gd name="T119" fmla="*/ 1070 h 10956"/>
                <a:gd name="T120" fmla="*/ 2953 w 10764"/>
                <a:gd name="T121" fmla="*/ 330 h 10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764" h="10956">
                  <a:moveTo>
                    <a:pt x="2616" y="37"/>
                  </a:moveTo>
                  <a:lnTo>
                    <a:pt x="2616" y="37"/>
                  </a:lnTo>
                  <a:cubicBezTo>
                    <a:pt x="2624" y="37"/>
                    <a:pt x="2638" y="44"/>
                    <a:pt x="2660" y="66"/>
                  </a:cubicBezTo>
                  <a:cubicBezTo>
                    <a:pt x="2719" y="132"/>
                    <a:pt x="2748" y="220"/>
                    <a:pt x="2829" y="234"/>
                  </a:cubicBezTo>
                  <a:cubicBezTo>
                    <a:pt x="2909" y="242"/>
                    <a:pt x="2873" y="278"/>
                    <a:pt x="2931" y="344"/>
                  </a:cubicBezTo>
                  <a:cubicBezTo>
                    <a:pt x="2990" y="418"/>
                    <a:pt x="2997" y="440"/>
                    <a:pt x="3034" y="498"/>
                  </a:cubicBezTo>
                  <a:cubicBezTo>
                    <a:pt x="3063" y="542"/>
                    <a:pt x="3078" y="579"/>
                    <a:pt x="3113" y="579"/>
                  </a:cubicBezTo>
                  <a:cubicBezTo>
                    <a:pt x="3121" y="579"/>
                    <a:pt x="3128" y="579"/>
                    <a:pt x="3135" y="572"/>
                  </a:cubicBezTo>
                  <a:lnTo>
                    <a:pt x="3143" y="572"/>
                  </a:lnTo>
                  <a:cubicBezTo>
                    <a:pt x="3194" y="572"/>
                    <a:pt x="3194" y="630"/>
                    <a:pt x="3238" y="667"/>
                  </a:cubicBezTo>
                  <a:cubicBezTo>
                    <a:pt x="3260" y="682"/>
                    <a:pt x="3311" y="689"/>
                    <a:pt x="3348" y="689"/>
                  </a:cubicBezTo>
                  <a:cubicBezTo>
                    <a:pt x="3370" y="689"/>
                    <a:pt x="3385" y="689"/>
                    <a:pt x="3385" y="689"/>
                  </a:cubicBezTo>
                  <a:cubicBezTo>
                    <a:pt x="3385" y="689"/>
                    <a:pt x="3450" y="696"/>
                    <a:pt x="3450" y="769"/>
                  </a:cubicBezTo>
                  <a:cubicBezTo>
                    <a:pt x="3450" y="835"/>
                    <a:pt x="3494" y="857"/>
                    <a:pt x="3487" y="923"/>
                  </a:cubicBezTo>
                  <a:cubicBezTo>
                    <a:pt x="3473" y="996"/>
                    <a:pt x="3465" y="1070"/>
                    <a:pt x="3531" y="1092"/>
                  </a:cubicBezTo>
                  <a:cubicBezTo>
                    <a:pt x="3597" y="1121"/>
                    <a:pt x="3663" y="1128"/>
                    <a:pt x="3663" y="1128"/>
                  </a:cubicBezTo>
                  <a:cubicBezTo>
                    <a:pt x="3663" y="1128"/>
                    <a:pt x="3685" y="1136"/>
                    <a:pt x="3707" y="1136"/>
                  </a:cubicBezTo>
                  <a:cubicBezTo>
                    <a:pt x="3736" y="1136"/>
                    <a:pt x="3773" y="1121"/>
                    <a:pt x="3758" y="1048"/>
                  </a:cubicBezTo>
                  <a:cubicBezTo>
                    <a:pt x="3758" y="1048"/>
                    <a:pt x="3802" y="1077"/>
                    <a:pt x="3839" y="1077"/>
                  </a:cubicBezTo>
                  <a:cubicBezTo>
                    <a:pt x="3861" y="1077"/>
                    <a:pt x="3875" y="1077"/>
                    <a:pt x="3883" y="1063"/>
                  </a:cubicBezTo>
                  <a:cubicBezTo>
                    <a:pt x="3897" y="1041"/>
                    <a:pt x="3905" y="1041"/>
                    <a:pt x="3912" y="1041"/>
                  </a:cubicBezTo>
                  <a:cubicBezTo>
                    <a:pt x="3927" y="1041"/>
                    <a:pt x="3934" y="1048"/>
                    <a:pt x="3963" y="1048"/>
                  </a:cubicBezTo>
                  <a:cubicBezTo>
                    <a:pt x="4007" y="1048"/>
                    <a:pt x="4051" y="967"/>
                    <a:pt x="3971" y="923"/>
                  </a:cubicBezTo>
                  <a:cubicBezTo>
                    <a:pt x="3890" y="879"/>
                    <a:pt x="3787" y="872"/>
                    <a:pt x="3766" y="799"/>
                  </a:cubicBezTo>
                  <a:cubicBezTo>
                    <a:pt x="3744" y="733"/>
                    <a:pt x="3722" y="696"/>
                    <a:pt x="3802" y="645"/>
                  </a:cubicBezTo>
                  <a:cubicBezTo>
                    <a:pt x="3883" y="586"/>
                    <a:pt x="3890" y="572"/>
                    <a:pt x="3963" y="550"/>
                  </a:cubicBezTo>
                  <a:cubicBezTo>
                    <a:pt x="3985" y="542"/>
                    <a:pt x="4000" y="542"/>
                    <a:pt x="4022" y="542"/>
                  </a:cubicBezTo>
                  <a:cubicBezTo>
                    <a:pt x="4051" y="542"/>
                    <a:pt x="4081" y="550"/>
                    <a:pt x="4110" y="550"/>
                  </a:cubicBezTo>
                  <a:cubicBezTo>
                    <a:pt x="4154" y="550"/>
                    <a:pt x="4235" y="564"/>
                    <a:pt x="4256" y="608"/>
                  </a:cubicBezTo>
                  <a:cubicBezTo>
                    <a:pt x="4271" y="637"/>
                    <a:pt x="4293" y="660"/>
                    <a:pt x="4308" y="660"/>
                  </a:cubicBezTo>
                  <a:cubicBezTo>
                    <a:pt x="4323" y="660"/>
                    <a:pt x="4323" y="652"/>
                    <a:pt x="4323" y="645"/>
                  </a:cubicBezTo>
                  <a:cubicBezTo>
                    <a:pt x="4323" y="630"/>
                    <a:pt x="4330" y="630"/>
                    <a:pt x="4337" y="630"/>
                  </a:cubicBezTo>
                  <a:cubicBezTo>
                    <a:pt x="4359" y="630"/>
                    <a:pt x="4388" y="652"/>
                    <a:pt x="4418" y="667"/>
                  </a:cubicBezTo>
                  <a:cubicBezTo>
                    <a:pt x="4418" y="667"/>
                    <a:pt x="4425" y="667"/>
                    <a:pt x="4432" y="667"/>
                  </a:cubicBezTo>
                  <a:cubicBezTo>
                    <a:pt x="4476" y="667"/>
                    <a:pt x="4542" y="630"/>
                    <a:pt x="4542" y="630"/>
                  </a:cubicBezTo>
                  <a:cubicBezTo>
                    <a:pt x="4542" y="630"/>
                    <a:pt x="4549" y="630"/>
                    <a:pt x="4564" y="630"/>
                  </a:cubicBezTo>
                  <a:cubicBezTo>
                    <a:pt x="4579" y="630"/>
                    <a:pt x="4608" y="630"/>
                    <a:pt x="4630" y="652"/>
                  </a:cubicBezTo>
                  <a:cubicBezTo>
                    <a:pt x="4667" y="689"/>
                    <a:pt x="4645" y="777"/>
                    <a:pt x="4645" y="777"/>
                  </a:cubicBezTo>
                  <a:cubicBezTo>
                    <a:pt x="4645" y="777"/>
                    <a:pt x="4616" y="835"/>
                    <a:pt x="4652" y="872"/>
                  </a:cubicBezTo>
                  <a:cubicBezTo>
                    <a:pt x="4674" y="894"/>
                    <a:pt x="4704" y="916"/>
                    <a:pt x="4733" y="916"/>
                  </a:cubicBezTo>
                  <a:cubicBezTo>
                    <a:pt x="4747" y="916"/>
                    <a:pt x="4755" y="916"/>
                    <a:pt x="4769" y="901"/>
                  </a:cubicBezTo>
                  <a:cubicBezTo>
                    <a:pt x="4777" y="894"/>
                    <a:pt x="4784" y="887"/>
                    <a:pt x="4791" y="887"/>
                  </a:cubicBezTo>
                  <a:cubicBezTo>
                    <a:pt x="4806" y="887"/>
                    <a:pt x="4821" y="916"/>
                    <a:pt x="4843" y="916"/>
                  </a:cubicBezTo>
                  <a:cubicBezTo>
                    <a:pt x="4857" y="916"/>
                    <a:pt x="4865" y="916"/>
                    <a:pt x="4872" y="916"/>
                  </a:cubicBezTo>
                  <a:cubicBezTo>
                    <a:pt x="4901" y="916"/>
                    <a:pt x="4931" y="901"/>
                    <a:pt x="4923" y="799"/>
                  </a:cubicBezTo>
                  <a:cubicBezTo>
                    <a:pt x="4916" y="667"/>
                    <a:pt x="4945" y="564"/>
                    <a:pt x="4901" y="484"/>
                  </a:cubicBezTo>
                  <a:cubicBezTo>
                    <a:pt x="4857" y="403"/>
                    <a:pt x="4843" y="271"/>
                    <a:pt x="4843" y="271"/>
                  </a:cubicBezTo>
                  <a:cubicBezTo>
                    <a:pt x="4843" y="271"/>
                    <a:pt x="4894" y="234"/>
                    <a:pt x="4945" y="198"/>
                  </a:cubicBezTo>
                  <a:cubicBezTo>
                    <a:pt x="5004" y="169"/>
                    <a:pt x="5040" y="146"/>
                    <a:pt x="5048" y="110"/>
                  </a:cubicBezTo>
                  <a:cubicBezTo>
                    <a:pt x="5055" y="88"/>
                    <a:pt x="5077" y="88"/>
                    <a:pt x="5106" y="88"/>
                  </a:cubicBezTo>
                  <a:cubicBezTo>
                    <a:pt x="5128" y="88"/>
                    <a:pt x="5150" y="88"/>
                    <a:pt x="5172" y="88"/>
                  </a:cubicBezTo>
                  <a:cubicBezTo>
                    <a:pt x="5231" y="88"/>
                    <a:pt x="5231" y="191"/>
                    <a:pt x="5216" y="220"/>
                  </a:cubicBezTo>
                  <a:cubicBezTo>
                    <a:pt x="5209" y="256"/>
                    <a:pt x="5231" y="344"/>
                    <a:pt x="5290" y="359"/>
                  </a:cubicBezTo>
                  <a:cubicBezTo>
                    <a:pt x="5341" y="366"/>
                    <a:pt x="5356" y="403"/>
                    <a:pt x="5370" y="447"/>
                  </a:cubicBezTo>
                  <a:cubicBezTo>
                    <a:pt x="5378" y="484"/>
                    <a:pt x="5407" y="550"/>
                    <a:pt x="5451" y="550"/>
                  </a:cubicBezTo>
                  <a:cubicBezTo>
                    <a:pt x="5458" y="550"/>
                    <a:pt x="5473" y="550"/>
                    <a:pt x="5480" y="542"/>
                  </a:cubicBezTo>
                  <a:cubicBezTo>
                    <a:pt x="5531" y="498"/>
                    <a:pt x="5546" y="447"/>
                    <a:pt x="5575" y="447"/>
                  </a:cubicBezTo>
                  <a:cubicBezTo>
                    <a:pt x="5583" y="447"/>
                    <a:pt x="5590" y="447"/>
                    <a:pt x="5590" y="447"/>
                  </a:cubicBezTo>
                  <a:cubicBezTo>
                    <a:pt x="5627" y="469"/>
                    <a:pt x="5641" y="506"/>
                    <a:pt x="5678" y="506"/>
                  </a:cubicBezTo>
                  <a:cubicBezTo>
                    <a:pt x="5693" y="506"/>
                    <a:pt x="5700" y="506"/>
                    <a:pt x="5715" y="498"/>
                  </a:cubicBezTo>
                  <a:cubicBezTo>
                    <a:pt x="5788" y="462"/>
                    <a:pt x="5898" y="418"/>
                    <a:pt x="5971" y="418"/>
                  </a:cubicBezTo>
                  <a:cubicBezTo>
                    <a:pt x="6037" y="418"/>
                    <a:pt x="5971" y="447"/>
                    <a:pt x="6059" y="447"/>
                  </a:cubicBezTo>
                  <a:cubicBezTo>
                    <a:pt x="6147" y="447"/>
                    <a:pt x="6162" y="447"/>
                    <a:pt x="6220" y="418"/>
                  </a:cubicBezTo>
                  <a:cubicBezTo>
                    <a:pt x="6242" y="403"/>
                    <a:pt x="6264" y="396"/>
                    <a:pt x="6286" y="388"/>
                  </a:cubicBezTo>
                  <a:cubicBezTo>
                    <a:pt x="6294" y="388"/>
                    <a:pt x="6294" y="396"/>
                    <a:pt x="6294" y="396"/>
                  </a:cubicBezTo>
                  <a:cubicBezTo>
                    <a:pt x="6294" y="396"/>
                    <a:pt x="6294" y="388"/>
                    <a:pt x="6286" y="388"/>
                  </a:cubicBezTo>
                  <a:cubicBezTo>
                    <a:pt x="6294" y="388"/>
                    <a:pt x="6294" y="388"/>
                    <a:pt x="6301" y="388"/>
                  </a:cubicBezTo>
                  <a:cubicBezTo>
                    <a:pt x="6323" y="388"/>
                    <a:pt x="6345" y="396"/>
                    <a:pt x="6352" y="418"/>
                  </a:cubicBezTo>
                  <a:cubicBezTo>
                    <a:pt x="6374" y="447"/>
                    <a:pt x="6367" y="586"/>
                    <a:pt x="6418" y="608"/>
                  </a:cubicBezTo>
                  <a:cubicBezTo>
                    <a:pt x="6477" y="630"/>
                    <a:pt x="6535" y="652"/>
                    <a:pt x="6579" y="652"/>
                  </a:cubicBezTo>
                  <a:cubicBezTo>
                    <a:pt x="6609" y="652"/>
                    <a:pt x="6682" y="689"/>
                    <a:pt x="6733" y="718"/>
                  </a:cubicBezTo>
                  <a:cubicBezTo>
                    <a:pt x="6740" y="733"/>
                    <a:pt x="6785" y="828"/>
                    <a:pt x="6726" y="857"/>
                  </a:cubicBezTo>
                  <a:cubicBezTo>
                    <a:pt x="6660" y="894"/>
                    <a:pt x="6667" y="967"/>
                    <a:pt x="6740" y="996"/>
                  </a:cubicBezTo>
                  <a:cubicBezTo>
                    <a:pt x="6806" y="1019"/>
                    <a:pt x="6806" y="1048"/>
                    <a:pt x="6887" y="1063"/>
                  </a:cubicBezTo>
                  <a:cubicBezTo>
                    <a:pt x="6968" y="1070"/>
                    <a:pt x="6953" y="1172"/>
                    <a:pt x="6916" y="1209"/>
                  </a:cubicBezTo>
                  <a:cubicBezTo>
                    <a:pt x="6887" y="1246"/>
                    <a:pt x="6872" y="1348"/>
                    <a:pt x="6916" y="1378"/>
                  </a:cubicBezTo>
                  <a:cubicBezTo>
                    <a:pt x="6968" y="1414"/>
                    <a:pt x="7019" y="1414"/>
                    <a:pt x="7056" y="1495"/>
                  </a:cubicBezTo>
                  <a:cubicBezTo>
                    <a:pt x="7092" y="1568"/>
                    <a:pt x="7173" y="1568"/>
                    <a:pt x="7261" y="1641"/>
                  </a:cubicBezTo>
                  <a:cubicBezTo>
                    <a:pt x="7349" y="1707"/>
                    <a:pt x="7363" y="1729"/>
                    <a:pt x="7444" y="1744"/>
                  </a:cubicBezTo>
                  <a:cubicBezTo>
                    <a:pt x="7517" y="1751"/>
                    <a:pt x="7590" y="1810"/>
                    <a:pt x="7547" y="1854"/>
                  </a:cubicBezTo>
                  <a:cubicBezTo>
                    <a:pt x="7495" y="1898"/>
                    <a:pt x="7532" y="1934"/>
                    <a:pt x="7620" y="1971"/>
                  </a:cubicBezTo>
                  <a:cubicBezTo>
                    <a:pt x="7715" y="2001"/>
                    <a:pt x="7693" y="2059"/>
                    <a:pt x="7635" y="2125"/>
                  </a:cubicBezTo>
                  <a:cubicBezTo>
                    <a:pt x="7576" y="2198"/>
                    <a:pt x="7568" y="2228"/>
                    <a:pt x="7532" y="2323"/>
                  </a:cubicBezTo>
                  <a:cubicBezTo>
                    <a:pt x="7495" y="2411"/>
                    <a:pt x="7568" y="2411"/>
                    <a:pt x="7568" y="2411"/>
                  </a:cubicBezTo>
                  <a:cubicBezTo>
                    <a:pt x="7568" y="2411"/>
                    <a:pt x="7488" y="2455"/>
                    <a:pt x="7444" y="2513"/>
                  </a:cubicBezTo>
                  <a:cubicBezTo>
                    <a:pt x="7393" y="2572"/>
                    <a:pt x="7422" y="2601"/>
                    <a:pt x="7451" y="2645"/>
                  </a:cubicBezTo>
                  <a:cubicBezTo>
                    <a:pt x="7488" y="2696"/>
                    <a:pt x="7590" y="2726"/>
                    <a:pt x="7635" y="2741"/>
                  </a:cubicBezTo>
                  <a:cubicBezTo>
                    <a:pt x="7678" y="2748"/>
                    <a:pt x="7671" y="2828"/>
                    <a:pt x="7656" y="2887"/>
                  </a:cubicBezTo>
                  <a:cubicBezTo>
                    <a:pt x="7642" y="2946"/>
                    <a:pt x="7722" y="2946"/>
                    <a:pt x="7744" y="2975"/>
                  </a:cubicBezTo>
                  <a:cubicBezTo>
                    <a:pt x="7766" y="3012"/>
                    <a:pt x="7847" y="3246"/>
                    <a:pt x="7847" y="3246"/>
                  </a:cubicBezTo>
                  <a:cubicBezTo>
                    <a:pt x="7847" y="3246"/>
                    <a:pt x="7942" y="3268"/>
                    <a:pt x="7949" y="3341"/>
                  </a:cubicBezTo>
                  <a:cubicBezTo>
                    <a:pt x="7964" y="3407"/>
                    <a:pt x="7928" y="3598"/>
                    <a:pt x="8023" y="3598"/>
                  </a:cubicBezTo>
                  <a:cubicBezTo>
                    <a:pt x="8111" y="3598"/>
                    <a:pt x="8221" y="3715"/>
                    <a:pt x="8257" y="3803"/>
                  </a:cubicBezTo>
                  <a:cubicBezTo>
                    <a:pt x="8272" y="3854"/>
                    <a:pt x="8301" y="3869"/>
                    <a:pt x="8345" y="3869"/>
                  </a:cubicBezTo>
                  <a:cubicBezTo>
                    <a:pt x="8382" y="3869"/>
                    <a:pt x="8433" y="3854"/>
                    <a:pt x="8499" y="3840"/>
                  </a:cubicBezTo>
                  <a:cubicBezTo>
                    <a:pt x="8514" y="3832"/>
                    <a:pt x="8528" y="3832"/>
                    <a:pt x="8543" y="3832"/>
                  </a:cubicBezTo>
                  <a:cubicBezTo>
                    <a:pt x="8660" y="3832"/>
                    <a:pt x="8748" y="3935"/>
                    <a:pt x="8799" y="3986"/>
                  </a:cubicBezTo>
                  <a:cubicBezTo>
                    <a:pt x="8858" y="4045"/>
                    <a:pt x="8902" y="4096"/>
                    <a:pt x="8939" y="4147"/>
                  </a:cubicBezTo>
                  <a:cubicBezTo>
                    <a:pt x="8968" y="4191"/>
                    <a:pt x="8968" y="4250"/>
                    <a:pt x="9027" y="4279"/>
                  </a:cubicBezTo>
                  <a:cubicBezTo>
                    <a:pt x="9085" y="4316"/>
                    <a:pt x="9166" y="4382"/>
                    <a:pt x="9173" y="4441"/>
                  </a:cubicBezTo>
                  <a:cubicBezTo>
                    <a:pt x="9188" y="4499"/>
                    <a:pt x="9254" y="4551"/>
                    <a:pt x="9254" y="4551"/>
                  </a:cubicBezTo>
                  <a:cubicBezTo>
                    <a:pt x="9254" y="4551"/>
                    <a:pt x="9422" y="4551"/>
                    <a:pt x="9481" y="4565"/>
                  </a:cubicBezTo>
                  <a:cubicBezTo>
                    <a:pt x="9540" y="4572"/>
                    <a:pt x="9686" y="4748"/>
                    <a:pt x="9708" y="4800"/>
                  </a:cubicBezTo>
                  <a:cubicBezTo>
                    <a:pt x="9730" y="4858"/>
                    <a:pt x="9664" y="4975"/>
                    <a:pt x="9693" y="4983"/>
                  </a:cubicBezTo>
                  <a:cubicBezTo>
                    <a:pt x="9730" y="4997"/>
                    <a:pt x="9811" y="5020"/>
                    <a:pt x="9891" y="5085"/>
                  </a:cubicBezTo>
                  <a:cubicBezTo>
                    <a:pt x="9906" y="5100"/>
                    <a:pt x="9913" y="5100"/>
                    <a:pt x="9921" y="5100"/>
                  </a:cubicBezTo>
                  <a:cubicBezTo>
                    <a:pt x="9957" y="5100"/>
                    <a:pt x="9950" y="5012"/>
                    <a:pt x="10001" y="5012"/>
                  </a:cubicBezTo>
                  <a:cubicBezTo>
                    <a:pt x="10001" y="5012"/>
                    <a:pt x="10009" y="5020"/>
                    <a:pt x="10016" y="5020"/>
                  </a:cubicBezTo>
                  <a:cubicBezTo>
                    <a:pt x="10097" y="5041"/>
                    <a:pt x="10170" y="5063"/>
                    <a:pt x="10206" y="5144"/>
                  </a:cubicBezTo>
                  <a:cubicBezTo>
                    <a:pt x="10243" y="5225"/>
                    <a:pt x="10272" y="5269"/>
                    <a:pt x="10346" y="5276"/>
                  </a:cubicBezTo>
                  <a:cubicBezTo>
                    <a:pt x="10353" y="5276"/>
                    <a:pt x="10360" y="5283"/>
                    <a:pt x="10368" y="5283"/>
                  </a:cubicBezTo>
                  <a:cubicBezTo>
                    <a:pt x="10404" y="5283"/>
                    <a:pt x="10441" y="5269"/>
                    <a:pt x="10463" y="5269"/>
                  </a:cubicBezTo>
                  <a:cubicBezTo>
                    <a:pt x="10470" y="5269"/>
                    <a:pt x="10478" y="5269"/>
                    <a:pt x="10478" y="5276"/>
                  </a:cubicBezTo>
                  <a:cubicBezTo>
                    <a:pt x="10492" y="5313"/>
                    <a:pt x="10551" y="5401"/>
                    <a:pt x="10580" y="5452"/>
                  </a:cubicBezTo>
                  <a:cubicBezTo>
                    <a:pt x="10617" y="5496"/>
                    <a:pt x="10624" y="5525"/>
                    <a:pt x="10661" y="5598"/>
                  </a:cubicBezTo>
                  <a:cubicBezTo>
                    <a:pt x="10697" y="5664"/>
                    <a:pt x="10675" y="5701"/>
                    <a:pt x="10661" y="5796"/>
                  </a:cubicBezTo>
                  <a:cubicBezTo>
                    <a:pt x="10646" y="5899"/>
                    <a:pt x="10675" y="5891"/>
                    <a:pt x="10705" y="5950"/>
                  </a:cubicBezTo>
                  <a:cubicBezTo>
                    <a:pt x="10741" y="6001"/>
                    <a:pt x="10697" y="6082"/>
                    <a:pt x="10675" y="6199"/>
                  </a:cubicBezTo>
                  <a:cubicBezTo>
                    <a:pt x="10646" y="6309"/>
                    <a:pt x="10617" y="6272"/>
                    <a:pt x="10573" y="6346"/>
                  </a:cubicBezTo>
                  <a:cubicBezTo>
                    <a:pt x="10521" y="6412"/>
                    <a:pt x="10536" y="6456"/>
                    <a:pt x="10492" y="6492"/>
                  </a:cubicBezTo>
                  <a:cubicBezTo>
                    <a:pt x="10485" y="6492"/>
                    <a:pt x="10478" y="6500"/>
                    <a:pt x="10470" y="6500"/>
                  </a:cubicBezTo>
                  <a:cubicBezTo>
                    <a:pt x="10426" y="6500"/>
                    <a:pt x="10382" y="6419"/>
                    <a:pt x="10346" y="6390"/>
                  </a:cubicBezTo>
                  <a:cubicBezTo>
                    <a:pt x="10294" y="6353"/>
                    <a:pt x="10221" y="6353"/>
                    <a:pt x="10126" y="6324"/>
                  </a:cubicBezTo>
                  <a:cubicBezTo>
                    <a:pt x="10060" y="6294"/>
                    <a:pt x="10052" y="6258"/>
                    <a:pt x="10038" y="6258"/>
                  </a:cubicBezTo>
                  <a:cubicBezTo>
                    <a:pt x="10030" y="6258"/>
                    <a:pt x="10023" y="6265"/>
                    <a:pt x="10016" y="6272"/>
                  </a:cubicBezTo>
                  <a:cubicBezTo>
                    <a:pt x="9972" y="6324"/>
                    <a:pt x="10001" y="6324"/>
                    <a:pt x="9935" y="6368"/>
                  </a:cubicBezTo>
                  <a:cubicBezTo>
                    <a:pt x="9869" y="6412"/>
                    <a:pt x="9869" y="6375"/>
                    <a:pt x="9869" y="6434"/>
                  </a:cubicBezTo>
                  <a:cubicBezTo>
                    <a:pt x="9869" y="6492"/>
                    <a:pt x="9913" y="6617"/>
                    <a:pt x="9913" y="6617"/>
                  </a:cubicBezTo>
                  <a:cubicBezTo>
                    <a:pt x="9913" y="6617"/>
                    <a:pt x="9891" y="6683"/>
                    <a:pt x="9869" y="6763"/>
                  </a:cubicBezTo>
                  <a:cubicBezTo>
                    <a:pt x="9847" y="6844"/>
                    <a:pt x="9869" y="6903"/>
                    <a:pt x="9847" y="6998"/>
                  </a:cubicBezTo>
                  <a:cubicBezTo>
                    <a:pt x="9825" y="7101"/>
                    <a:pt x="9518" y="7284"/>
                    <a:pt x="9422" y="7306"/>
                  </a:cubicBezTo>
                  <a:cubicBezTo>
                    <a:pt x="9334" y="7328"/>
                    <a:pt x="9195" y="7350"/>
                    <a:pt x="9107" y="7386"/>
                  </a:cubicBezTo>
                  <a:cubicBezTo>
                    <a:pt x="9019" y="7423"/>
                    <a:pt x="8895" y="7555"/>
                    <a:pt x="8873" y="7591"/>
                  </a:cubicBezTo>
                  <a:cubicBezTo>
                    <a:pt x="8858" y="7606"/>
                    <a:pt x="8843" y="7606"/>
                    <a:pt x="8829" y="7606"/>
                  </a:cubicBezTo>
                  <a:cubicBezTo>
                    <a:pt x="8807" y="7606"/>
                    <a:pt x="8792" y="7606"/>
                    <a:pt x="8770" y="7606"/>
                  </a:cubicBezTo>
                  <a:cubicBezTo>
                    <a:pt x="8748" y="7606"/>
                    <a:pt x="8734" y="7606"/>
                    <a:pt x="8711" y="7613"/>
                  </a:cubicBezTo>
                  <a:cubicBezTo>
                    <a:pt x="8646" y="7635"/>
                    <a:pt x="8675" y="7694"/>
                    <a:pt x="8624" y="7782"/>
                  </a:cubicBezTo>
                  <a:cubicBezTo>
                    <a:pt x="8565" y="7877"/>
                    <a:pt x="8485" y="7863"/>
                    <a:pt x="8440" y="7943"/>
                  </a:cubicBezTo>
                  <a:cubicBezTo>
                    <a:pt x="8396" y="8024"/>
                    <a:pt x="8418" y="8104"/>
                    <a:pt x="8506" y="8148"/>
                  </a:cubicBezTo>
                  <a:cubicBezTo>
                    <a:pt x="8594" y="8192"/>
                    <a:pt x="8668" y="8192"/>
                    <a:pt x="8675" y="8273"/>
                  </a:cubicBezTo>
                  <a:cubicBezTo>
                    <a:pt x="8690" y="8353"/>
                    <a:pt x="8748" y="8420"/>
                    <a:pt x="8814" y="8441"/>
                  </a:cubicBezTo>
                  <a:cubicBezTo>
                    <a:pt x="8880" y="8463"/>
                    <a:pt x="8902" y="8581"/>
                    <a:pt x="8983" y="8705"/>
                  </a:cubicBezTo>
                  <a:cubicBezTo>
                    <a:pt x="9063" y="8830"/>
                    <a:pt x="8924" y="8925"/>
                    <a:pt x="8895" y="9020"/>
                  </a:cubicBezTo>
                  <a:cubicBezTo>
                    <a:pt x="8858" y="9108"/>
                    <a:pt x="8799" y="9108"/>
                    <a:pt x="8836" y="9203"/>
                  </a:cubicBezTo>
                  <a:cubicBezTo>
                    <a:pt x="8858" y="9255"/>
                    <a:pt x="8866" y="9284"/>
                    <a:pt x="8887" y="9284"/>
                  </a:cubicBezTo>
                  <a:cubicBezTo>
                    <a:pt x="8909" y="9284"/>
                    <a:pt x="8946" y="9262"/>
                    <a:pt x="9005" y="9225"/>
                  </a:cubicBezTo>
                  <a:cubicBezTo>
                    <a:pt x="9027" y="9211"/>
                    <a:pt x="9049" y="9203"/>
                    <a:pt x="9071" y="9203"/>
                  </a:cubicBezTo>
                  <a:cubicBezTo>
                    <a:pt x="9159" y="9203"/>
                    <a:pt x="9210" y="9350"/>
                    <a:pt x="9254" y="9431"/>
                  </a:cubicBezTo>
                  <a:cubicBezTo>
                    <a:pt x="9312" y="9519"/>
                    <a:pt x="9254" y="9563"/>
                    <a:pt x="9188" y="9643"/>
                  </a:cubicBezTo>
                  <a:cubicBezTo>
                    <a:pt x="9122" y="9724"/>
                    <a:pt x="9166" y="9775"/>
                    <a:pt x="9166" y="9834"/>
                  </a:cubicBezTo>
                  <a:cubicBezTo>
                    <a:pt x="9166" y="9892"/>
                    <a:pt x="9232" y="9929"/>
                    <a:pt x="9188" y="9973"/>
                  </a:cubicBezTo>
                  <a:cubicBezTo>
                    <a:pt x="9144" y="10010"/>
                    <a:pt x="9144" y="10053"/>
                    <a:pt x="9100" y="10053"/>
                  </a:cubicBezTo>
                  <a:cubicBezTo>
                    <a:pt x="9093" y="10053"/>
                    <a:pt x="9093" y="10053"/>
                    <a:pt x="9085" y="10053"/>
                  </a:cubicBezTo>
                  <a:cubicBezTo>
                    <a:pt x="9027" y="10039"/>
                    <a:pt x="9027" y="10039"/>
                    <a:pt x="8939" y="10017"/>
                  </a:cubicBezTo>
                  <a:cubicBezTo>
                    <a:pt x="8843" y="9995"/>
                    <a:pt x="8792" y="9870"/>
                    <a:pt x="8697" y="9834"/>
                  </a:cubicBezTo>
                  <a:cubicBezTo>
                    <a:pt x="8609" y="9804"/>
                    <a:pt x="8543" y="9709"/>
                    <a:pt x="8587" y="9665"/>
                  </a:cubicBezTo>
                  <a:cubicBezTo>
                    <a:pt x="8631" y="9621"/>
                    <a:pt x="8675" y="9599"/>
                    <a:pt x="8594" y="9563"/>
                  </a:cubicBezTo>
                  <a:cubicBezTo>
                    <a:pt x="8521" y="9526"/>
                    <a:pt x="8528" y="9460"/>
                    <a:pt x="8485" y="9416"/>
                  </a:cubicBezTo>
                  <a:cubicBezTo>
                    <a:pt x="8462" y="9394"/>
                    <a:pt x="8433" y="9379"/>
                    <a:pt x="8396" y="9379"/>
                  </a:cubicBezTo>
                  <a:cubicBezTo>
                    <a:pt x="8360" y="9379"/>
                    <a:pt x="8323" y="9387"/>
                    <a:pt x="8279" y="9394"/>
                  </a:cubicBezTo>
                  <a:cubicBezTo>
                    <a:pt x="8177" y="9401"/>
                    <a:pt x="8155" y="9460"/>
                    <a:pt x="8089" y="9541"/>
                  </a:cubicBezTo>
                  <a:cubicBezTo>
                    <a:pt x="8052" y="9577"/>
                    <a:pt x="8030" y="9592"/>
                    <a:pt x="8008" y="9592"/>
                  </a:cubicBezTo>
                  <a:cubicBezTo>
                    <a:pt x="7979" y="9592"/>
                    <a:pt x="7949" y="9577"/>
                    <a:pt x="7920" y="9563"/>
                  </a:cubicBezTo>
                  <a:cubicBezTo>
                    <a:pt x="7847" y="9541"/>
                    <a:pt x="7818" y="9438"/>
                    <a:pt x="7781" y="9379"/>
                  </a:cubicBezTo>
                  <a:cubicBezTo>
                    <a:pt x="7766" y="9357"/>
                    <a:pt x="7722" y="9343"/>
                    <a:pt x="7671" y="9343"/>
                  </a:cubicBezTo>
                  <a:cubicBezTo>
                    <a:pt x="7612" y="9343"/>
                    <a:pt x="7547" y="9357"/>
                    <a:pt x="7488" y="9379"/>
                  </a:cubicBezTo>
                  <a:cubicBezTo>
                    <a:pt x="7429" y="9401"/>
                    <a:pt x="7393" y="9416"/>
                    <a:pt x="7371" y="9416"/>
                  </a:cubicBezTo>
                  <a:cubicBezTo>
                    <a:pt x="7356" y="9416"/>
                    <a:pt x="7349" y="9401"/>
                    <a:pt x="7363" y="9379"/>
                  </a:cubicBezTo>
                  <a:cubicBezTo>
                    <a:pt x="7385" y="9335"/>
                    <a:pt x="7407" y="9225"/>
                    <a:pt x="7371" y="9225"/>
                  </a:cubicBezTo>
                  <a:cubicBezTo>
                    <a:pt x="7363" y="9225"/>
                    <a:pt x="7363" y="9225"/>
                    <a:pt x="7363" y="9225"/>
                  </a:cubicBezTo>
                  <a:cubicBezTo>
                    <a:pt x="7319" y="9233"/>
                    <a:pt x="7283" y="9306"/>
                    <a:pt x="7217" y="9372"/>
                  </a:cubicBezTo>
                  <a:cubicBezTo>
                    <a:pt x="7144" y="9438"/>
                    <a:pt x="7195" y="9497"/>
                    <a:pt x="7246" y="9584"/>
                  </a:cubicBezTo>
                  <a:cubicBezTo>
                    <a:pt x="7305" y="9680"/>
                    <a:pt x="7297" y="9680"/>
                    <a:pt x="7224" y="9687"/>
                  </a:cubicBezTo>
                  <a:cubicBezTo>
                    <a:pt x="7195" y="9694"/>
                    <a:pt x="7173" y="9694"/>
                    <a:pt x="7144" y="9694"/>
                  </a:cubicBezTo>
                  <a:cubicBezTo>
                    <a:pt x="7121" y="9694"/>
                    <a:pt x="7099" y="9694"/>
                    <a:pt x="7070" y="9687"/>
                  </a:cubicBezTo>
                  <a:cubicBezTo>
                    <a:pt x="6997" y="9680"/>
                    <a:pt x="6909" y="9665"/>
                    <a:pt x="6843" y="9651"/>
                  </a:cubicBezTo>
                  <a:cubicBezTo>
                    <a:pt x="6836" y="9651"/>
                    <a:pt x="6828" y="9651"/>
                    <a:pt x="6821" y="9651"/>
                  </a:cubicBezTo>
                  <a:cubicBezTo>
                    <a:pt x="6740" y="9651"/>
                    <a:pt x="6543" y="9716"/>
                    <a:pt x="6469" y="9775"/>
                  </a:cubicBezTo>
                  <a:cubicBezTo>
                    <a:pt x="6433" y="9804"/>
                    <a:pt x="6389" y="9812"/>
                    <a:pt x="6345" y="9812"/>
                  </a:cubicBezTo>
                  <a:cubicBezTo>
                    <a:pt x="6279" y="9812"/>
                    <a:pt x="6206" y="9797"/>
                    <a:pt x="6154" y="9797"/>
                  </a:cubicBezTo>
                  <a:cubicBezTo>
                    <a:pt x="6147" y="9797"/>
                    <a:pt x="6132" y="9797"/>
                    <a:pt x="6125" y="9804"/>
                  </a:cubicBezTo>
                  <a:cubicBezTo>
                    <a:pt x="6037" y="9812"/>
                    <a:pt x="5971" y="9812"/>
                    <a:pt x="5898" y="9907"/>
                  </a:cubicBezTo>
                  <a:cubicBezTo>
                    <a:pt x="5832" y="9995"/>
                    <a:pt x="5920" y="10002"/>
                    <a:pt x="5868" y="10053"/>
                  </a:cubicBezTo>
                  <a:cubicBezTo>
                    <a:pt x="5839" y="10075"/>
                    <a:pt x="5795" y="10075"/>
                    <a:pt x="5751" y="10075"/>
                  </a:cubicBezTo>
                  <a:cubicBezTo>
                    <a:pt x="5700" y="10075"/>
                    <a:pt x="5649" y="10075"/>
                    <a:pt x="5605" y="10075"/>
                  </a:cubicBezTo>
                  <a:cubicBezTo>
                    <a:pt x="5517" y="10075"/>
                    <a:pt x="5502" y="10105"/>
                    <a:pt x="5495" y="10207"/>
                  </a:cubicBezTo>
                  <a:cubicBezTo>
                    <a:pt x="5487" y="10251"/>
                    <a:pt x="5495" y="10266"/>
                    <a:pt x="5502" y="10266"/>
                  </a:cubicBezTo>
                  <a:cubicBezTo>
                    <a:pt x="5517" y="10266"/>
                    <a:pt x="5539" y="10244"/>
                    <a:pt x="5539" y="10244"/>
                  </a:cubicBezTo>
                  <a:cubicBezTo>
                    <a:pt x="5539" y="10310"/>
                    <a:pt x="5539" y="10310"/>
                    <a:pt x="5539" y="10310"/>
                  </a:cubicBezTo>
                  <a:cubicBezTo>
                    <a:pt x="5539" y="10310"/>
                    <a:pt x="5495" y="10303"/>
                    <a:pt x="5414" y="10288"/>
                  </a:cubicBezTo>
                  <a:cubicBezTo>
                    <a:pt x="5407" y="10288"/>
                    <a:pt x="5399" y="10288"/>
                    <a:pt x="5392" y="10288"/>
                  </a:cubicBezTo>
                  <a:cubicBezTo>
                    <a:pt x="5326" y="10288"/>
                    <a:pt x="5297" y="10339"/>
                    <a:pt x="5246" y="10413"/>
                  </a:cubicBezTo>
                  <a:cubicBezTo>
                    <a:pt x="5209" y="10456"/>
                    <a:pt x="5194" y="10471"/>
                    <a:pt x="5180" y="10471"/>
                  </a:cubicBezTo>
                  <a:cubicBezTo>
                    <a:pt x="5165" y="10471"/>
                    <a:pt x="5150" y="10464"/>
                    <a:pt x="5121" y="10449"/>
                  </a:cubicBezTo>
                  <a:cubicBezTo>
                    <a:pt x="5048" y="10413"/>
                    <a:pt x="5143" y="10332"/>
                    <a:pt x="5143" y="10332"/>
                  </a:cubicBezTo>
                  <a:cubicBezTo>
                    <a:pt x="5063" y="10347"/>
                    <a:pt x="4843" y="10449"/>
                    <a:pt x="4696" y="10456"/>
                  </a:cubicBezTo>
                  <a:cubicBezTo>
                    <a:pt x="4689" y="10456"/>
                    <a:pt x="4681" y="10456"/>
                    <a:pt x="4667" y="10456"/>
                  </a:cubicBezTo>
                  <a:cubicBezTo>
                    <a:pt x="4549" y="10456"/>
                    <a:pt x="4549" y="10391"/>
                    <a:pt x="4542" y="10347"/>
                  </a:cubicBezTo>
                  <a:cubicBezTo>
                    <a:pt x="4528" y="10303"/>
                    <a:pt x="4484" y="10200"/>
                    <a:pt x="4418" y="10200"/>
                  </a:cubicBezTo>
                  <a:cubicBezTo>
                    <a:pt x="4396" y="10200"/>
                    <a:pt x="4374" y="10200"/>
                    <a:pt x="4359" y="10200"/>
                  </a:cubicBezTo>
                  <a:cubicBezTo>
                    <a:pt x="4300" y="10200"/>
                    <a:pt x="4242" y="10193"/>
                    <a:pt x="4315" y="10141"/>
                  </a:cubicBezTo>
                  <a:cubicBezTo>
                    <a:pt x="4381" y="10090"/>
                    <a:pt x="4337" y="10024"/>
                    <a:pt x="4271" y="10024"/>
                  </a:cubicBezTo>
                  <a:cubicBezTo>
                    <a:pt x="4256" y="10024"/>
                    <a:pt x="4235" y="10032"/>
                    <a:pt x="4220" y="10039"/>
                  </a:cubicBezTo>
                  <a:cubicBezTo>
                    <a:pt x="4176" y="10061"/>
                    <a:pt x="4147" y="10075"/>
                    <a:pt x="4110" y="10075"/>
                  </a:cubicBezTo>
                  <a:cubicBezTo>
                    <a:pt x="4088" y="10075"/>
                    <a:pt x="4059" y="10068"/>
                    <a:pt x="4044" y="10053"/>
                  </a:cubicBezTo>
                  <a:cubicBezTo>
                    <a:pt x="3993" y="10017"/>
                    <a:pt x="3868" y="9980"/>
                    <a:pt x="3817" y="9951"/>
                  </a:cubicBezTo>
                  <a:cubicBezTo>
                    <a:pt x="3787" y="9936"/>
                    <a:pt x="3758" y="9922"/>
                    <a:pt x="3729" y="9922"/>
                  </a:cubicBezTo>
                  <a:cubicBezTo>
                    <a:pt x="3692" y="9922"/>
                    <a:pt x="3670" y="9936"/>
                    <a:pt x="3656" y="9973"/>
                  </a:cubicBezTo>
                  <a:cubicBezTo>
                    <a:pt x="3641" y="10017"/>
                    <a:pt x="3568" y="10032"/>
                    <a:pt x="3502" y="10032"/>
                  </a:cubicBezTo>
                  <a:cubicBezTo>
                    <a:pt x="3480" y="10032"/>
                    <a:pt x="3458" y="10032"/>
                    <a:pt x="3443" y="10032"/>
                  </a:cubicBezTo>
                  <a:cubicBezTo>
                    <a:pt x="3392" y="10017"/>
                    <a:pt x="3355" y="9907"/>
                    <a:pt x="3348" y="9907"/>
                  </a:cubicBezTo>
                  <a:lnTo>
                    <a:pt x="3348" y="9914"/>
                  </a:lnTo>
                  <a:cubicBezTo>
                    <a:pt x="3348" y="9951"/>
                    <a:pt x="3363" y="9980"/>
                    <a:pt x="3341" y="10061"/>
                  </a:cubicBezTo>
                  <a:cubicBezTo>
                    <a:pt x="3318" y="10141"/>
                    <a:pt x="3341" y="10163"/>
                    <a:pt x="3385" y="10185"/>
                  </a:cubicBezTo>
                  <a:cubicBezTo>
                    <a:pt x="3428" y="10207"/>
                    <a:pt x="3428" y="10347"/>
                    <a:pt x="3392" y="10405"/>
                  </a:cubicBezTo>
                  <a:cubicBezTo>
                    <a:pt x="3363" y="10456"/>
                    <a:pt x="3348" y="10537"/>
                    <a:pt x="3304" y="10552"/>
                  </a:cubicBezTo>
                  <a:cubicBezTo>
                    <a:pt x="3260" y="10559"/>
                    <a:pt x="3165" y="10640"/>
                    <a:pt x="3121" y="10757"/>
                  </a:cubicBezTo>
                  <a:cubicBezTo>
                    <a:pt x="3078" y="10867"/>
                    <a:pt x="2909" y="10903"/>
                    <a:pt x="2829" y="10925"/>
                  </a:cubicBezTo>
                  <a:cubicBezTo>
                    <a:pt x="2821" y="10925"/>
                    <a:pt x="2807" y="10925"/>
                    <a:pt x="2799" y="10925"/>
                  </a:cubicBezTo>
                  <a:cubicBezTo>
                    <a:pt x="2748" y="10925"/>
                    <a:pt x="2741" y="10874"/>
                    <a:pt x="2785" y="10845"/>
                  </a:cubicBezTo>
                  <a:cubicBezTo>
                    <a:pt x="2829" y="10808"/>
                    <a:pt x="2829" y="10742"/>
                    <a:pt x="2851" y="10640"/>
                  </a:cubicBezTo>
                  <a:cubicBezTo>
                    <a:pt x="2865" y="10574"/>
                    <a:pt x="2829" y="10530"/>
                    <a:pt x="2792" y="10530"/>
                  </a:cubicBezTo>
                  <a:cubicBezTo>
                    <a:pt x="2770" y="10530"/>
                    <a:pt x="2755" y="10537"/>
                    <a:pt x="2748" y="10559"/>
                  </a:cubicBezTo>
                  <a:cubicBezTo>
                    <a:pt x="2733" y="10603"/>
                    <a:pt x="2682" y="10625"/>
                    <a:pt x="2631" y="10625"/>
                  </a:cubicBezTo>
                  <a:cubicBezTo>
                    <a:pt x="2602" y="10625"/>
                    <a:pt x="2579" y="10618"/>
                    <a:pt x="2557" y="10603"/>
                  </a:cubicBezTo>
                  <a:cubicBezTo>
                    <a:pt x="2499" y="10574"/>
                    <a:pt x="2499" y="10508"/>
                    <a:pt x="2557" y="10449"/>
                  </a:cubicBezTo>
                  <a:cubicBezTo>
                    <a:pt x="2609" y="10391"/>
                    <a:pt x="2528" y="10251"/>
                    <a:pt x="2492" y="10251"/>
                  </a:cubicBezTo>
                  <a:lnTo>
                    <a:pt x="2492" y="10251"/>
                  </a:lnTo>
                  <a:cubicBezTo>
                    <a:pt x="2484" y="10259"/>
                    <a:pt x="2477" y="10259"/>
                    <a:pt x="2469" y="10259"/>
                  </a:cubicBezTo>
                  <a:cubicBezTo>
                    <a:pt x="2426" y="10259"/>
                    <a:pt x="2367" y="10237"/>
                    <a:pt x="2330" y="10200"/>
                  </a:cubicBezTo>
                  <a:cubicBezTo>
                    <a:pt x="2286" y="10156"/>
                    <a:pt x="2272" y="10083"/>
                    <a:pt x="2250" y="10053"/>
                  </a:cubicBezTo>
                  <a:cubicBezTo>
                    <a:pt x="2243" y="10039"/>
                    <a:pt x="2228" y="10039"/>
                    <a:pt x="2198" y="10039"/>
                  </a:cubicBezTo>
                  <a:cubicBezTo>
                    <a:pt x="2147" y="10039"/>
                    <a:pt x="2074" y="10053"/>
                    <a:pt x="2023" y="10061"/>
                  </a:cubicBezTo>
                  <a:cubicBezTo>
                    <a:pt x="2015" y="10061"/>
                    <a:pt x="2008" y="10061"/>
                    <a:pt x="2001" y="10061"/>
                  </a:cubicBezTo>
                  <a:cubicBezTo>
                    <a:pt x="1949" y="10061"/>
                    <a:pt x="1927" y="10017"/>
                    <a:pt x="1942" y="9951"/>
                  </a:cubicBezTo>
                  <a:cubicBezTo>
                    <a:pt x="1957" y="9892"/>
                    <a:pt x="1913" y="9863"/>
                    <a:pt x="1869" y="9863"/>
                  </a:cubicBezTo>
                  <a:cubicBezTo>
                    <a:pt x="1854" y="9863"/>
                    <a:pt x="1832" y="9870"/>
                    <a:pt x="1817" y="9878"/>
                  </a:cubicBezTo>
                  <a:cubicBezTo>
                    <a:pt x="1774" y="9914"/>
                    <a:pt x="1752" y="10039"/>
                    <a:pt x="1752" y="10039"/>
                  </a:cubicBezTo>
                  <a:cubicBezTo>
                    <a:pt x="1752" y="10039"/>
                    <a:pt x="1752" y="10039"/>
                    <a:pt x="1752" y="10046"/>
                  </a:cubicBezTo>
                  <a:cubicBezTo>
                    <a:pt x="1700" y="10039"/>
                    <a:pt x="1605" y="10024"/>
                    <a:pt x="1561" y="9995"/>
                  </a:cubicBezTo>
                  <a:cubicBezTo>
                    <a:pt x="1488" y="9951"/>
                    <a:pt x="1436" y="9936"/>
                    <a:pt x="1480" y="9892"/>
                  </a:cubicBezTo>
                  <a:cubicBezTo>
                    <a:pt x="1524" y="9848"/>
                    <a:pt x="1642" y="9834"/>
                    <a:pt x="1707" y="9826"/>
                  </a:cubicBezTo>
                  <a:cubicBezTo>
                    <a:pt x="1774" y="9812"/>
                    <a:pt x="1854" y="9768"/>
                    <a:pt x="1898" y="9709"/>
                  </a:cubicBezTo>
                  <a:cubicBezTo>
                    <a:pt x="1935" y="9672"/>
                    <a:pt x="1964" y="9621"/>
                    <a:pt x="2023" y="9621"/>
                  </a:cubicBezTo>
                  <a:cubicBezTo>
                    <a:pt x="2045" y="9621"/>
                    <a:pt x="2067" y="9629"/>
                    <a:pt x="2088" y="9643"/>
                  </a:cubicBezTo>
                  <a:cubicBezTo>
                    <a:pt x="2125" y="9658"/>
                    <a:pt x="2155" y="9665"/>
                    <a:pt x="2184" y="9665"/>
                  </a:cubicBezTo>
                  <a:cubicBezTo>
                    <a:pt x="2243" y="9665"/>
                    <a:pt x="2294" y="9636"/>
                    <a:pt x="2338" y="9599"/>
                  </a:cubicBezTo>
                  <a:cubicBezTo>
                    <a:pt x="2367" y="9577"/>
                    <a:pt x="2389" y="9570"/>
                    <a:pt x="2411" y="9570"/>
                  </a:cubicBezTo>
                  <a:cubicBezTo>
                    <a:pt x="2455" y="9570"/>
                    <a:pt x="2499" y="9599"/>
                    <a:pt x="2514" y="9629"/>
                  </a:cubicBezTo>
                  <a:cubicBezTo>
                    <a:pt x="2514" y="9636"/>
                    <a:pt x="2521" y="9643"/>
                    <a:pt x="2528" y="9643"/>
                  </a:cubicBezTo>
                  <a:cubicBezTo>
                    <a:pt x="2565" y="9643"/>
                    <a:pt x="2653" y="9526"/>
                    <a:pt x="2602" y="9401"/>
                  </a:cubicBezTo>
                  <a:cubicBezTo>
                    <a:pt x="2543" y="9270"/>
                    <a:pt x="2462" y="9211"/>
                    <a:pt x="2536" y="9167"/>
                  </a:cubicBezTo>
                  <a:cubicBezTo>
                    <a:pt x="2602" y="9123"/>
                    <a:pt x="2682" y="9130"/>
                    <a:pt x="2579" y="9042"/>
                  </a:cubicBezTo>
                  <a:cubicBezTo>
                    <a:pt x="2477" y="8954"/>
                    <a:pt x="2514" y="8925"/>
                    <a:pt x="2543" y="8815"/>
                  </a:cubicBezTo>
                  <a:cubicBezTo>
                    <a:pt x="2579" y="8705"/>
                    <a:pt x="2440" y="8654"/>
                    <a:pt x="2514" y="8603"/>
                  </a:cubicBezTo>
                  <a:cubicBezTo>
                    <a:pt x="2579" y="8544"/>
                    <a:pt x="2645" y="8375"/>
                    <a:pt x="2645" y="8273"/>
                  </a:cubicBezTo>
                  <a:cubicBezTo>
                    <a:pt x="2645" y="8170"/>
                    <a:pt x="2477" y="7943"/>
                    <a:pt x="2462" y="7782"/>
                  </a:cubicBezTo>
                  <a:cubicBezTo>
                    <a:pt x="2455" y="7628"/>
                    <a:pt x="2462" y="7577"/>
                    <a:pt x="2462" y="7577"/>
                  </a:cubicBezTo>
                  <a:cubicBezTo>
                    <a:pt x="2462" y="7577"/>
                    <a:pt x="2330" y="7364"/>
                    <a:pt x="2264" y="7320"/>
                  </a:cubicBezTo>
                  <a:cubicBezTo>
                    <a:pt x="2191" y="7276"/>
                    <a:pt x="2272" y="7284"/>
                    <a:pt x="2330" y="7159"/>
                  </a:cubicBezTo>
                  <a:cubicBezTo>
                    <a:pt x="2382" y="7042"/>
                    <a:pt x="2469" y="6932"/>
                    <a:pt x="2521" y="6932"/>
                  </a:cubicBezTo>
                  <a:cubicBezTo>
                    <a:pt x="2528" y="6932"/>
                    <a:pt x="2528" y="6932"/>
                    <a:pt x="2536" y="6932"/>
                  </a:cubicBezTo>
                  <a:cubicBezTo>
                    <a:pt x="2565" y="6947"/>
                    <a:pt x="2594" y="6991"/>
                    <a:pt x="2631" y="6991"/>
                  </a:cubicBezTo>
                  <a:cubicBezTo>
                    <a:pt x="2645" y="6991"/>
                    <a:pt x="2660" y="6983"/>
                    <a:pt x="2682" y="6969"/>
                  </a:cubicBezTo>
                  <a:cubicBezTo>
                    <a:pt x="2748" y="6910"/>
                    <a:pt x="2807" y="6888"/>
                    <a:pt x="2851" y="6873"/>
                  </a:cubicBezTo>
                  <a:cubicBezTo>
                    <a:pt x="2895" y="6866"/>
                    <a:pt x="2814" y="6844"/>
                    <a:pt x="2829" y="6800"/>
                  </a:cubicBezTo>
                  <a:cubicBezTo>
                    <a:pt x="2836" y="6778"/>
                    <a:pt x="2851" y="6771"/>
                    <a:pt x="2865" y="6771"/>
                  </a:cubicBezTo>
                  <a:cubicBezTo>
                    <a:pt x="2887" y="6771"/>
                    <a:pt x="2909" y="6778"/>
                    <a:pt x="2931" y="6800"/>
                  </a:cubicBezTo>
                  <a:lnTo>
                    <a:pt x="2938" y="6800"/>
                  </a:lnTo>
                  <a:cubicBezTo>
                    <a:pt x="2975" y="6800"/>
                    <a:pt x="3026" y="6632"/>
                    <a:pt x="2968" y="6558"/>
                  </a:cubicBezTo>
                  <a:cubicBezTo>
                    <a:pt x="2909" y="6492"/>
                    <a:pt x="2924" y="6463"/>
                    <a:pt x="2968" y="6463"/>
                  </a:cubicBezTo>
                  <a:cubicBezTo>
                    <a:pt x="2975" y="6463"/>
                    <a:pt x="2990" y="6470"/>
                    <a:pt x="2997" y="6470"/>
                  </a:cubicBezTo>
                  <a:cubicBezTo>
                    <a:pt x="2997" y="6470"/>
                    <a:pt x="2814" y="6375"/>
                    <a:pt x="2843" y="6287"/>
                  </a:cubicBezTo>
                  <a:cubicBezTo>
                    <a:pt x="2858" y="6221"/>
                    <a:pt x="2865" y="6199"/>
                    <a:pt x="2909" y="6199"/>
                  </a:cubicBezTo>
                  <a:cubicBezTo>
                    <a:pt x="2924" y="6199"/>
                    <a:pt x="2946" y="6199"/>
                    <a:pt x="2975" y="6206"/>
                  </a:cubicBezTo>
                  <a:cubicBezTo>
                    <a:pt x="3063" y="6229"/>
                    <a:pt x="3099" y="6302"/>
                    <a:pt x="3128" y="6302"/>
                  </a:cubicBezTo>
                  <a:cubicBezTo>
                    <a:pt x="3135" y="6302"/>
                    <a:pt x="3143" y="6302"/>
                    <a:pt x="3143" y="6302"/>
                  </a:cubicBezTo>
                  <a:cubicBezTo>
                    <a:pt x="3165" y="6280"/>
                    <a:pt x="3201" y="6272"/>
                    <a:pt x="3231" y="6272"/>
                  </a:cubicBezTo>
                  <a:cubicBezTo>
                    <a:pt x="3245" y="6272"/>
                    <a:pt x="3267" y="6272"/>
                    <a:pt x="3282" y="6272"/>
                  </a:cubicBezTo>
                  <a:cubicBezTo>
                    <a:pt x="3318" y="6272"/>
                    <a:pt x="3385" y="6221"/>
                    <a:pt x="3341" y="6141"/>
                  </a:cubicBezTo>
                  <a:cubicBezTo>
                    <a:pt x="3289" y="6060"/>
                    <a:pt x="3245" y="6119"/>
                    <a:pt x="3216" y="6053"/>
                  </a:cubicBezTo>
                  <a:cubicBezTo>
                    <a:pt x="3179" y="5979"/>
                    <a:pt x="3179" y="5899"/>
                    <a:pt x="3223" y="5833"/>
                  </a:cubicBezTo>
                  <a:cubicBezTo>
                    <a:pt x="3267" y="5767"/>
                    <a:pt x="3245" y="5708"/>
                    <a:pt x="3223" y="5672"/>
                  </a:cubicBezTo>
                  <a:cubicBezTo>
                    <a:pt x="3201" y="5642"/>
                    <a:pt x="3260" y="5664"/>
                    <a:pt x="3267" y="5620"/>
                  </a:cubicBezTo>
                  <a:cubicBezTo>
                    <a:pt x="3282" y="5576"/>
                    <a:pt x="3267" y="5356"/>
                    <a:pt x="3143" y="5232"/>
                  </a:cubicBezTo>
                  <a:cubicBezTo>
                    <a:pt x="3019" y="5107"/>
                    <a:pt x="2953" y="5071"/>
                    <a:pt x="2873" y="5049"/>
                  </a:cubicBezTo>
                  <a:cubicBezTo>
                    <a:pt x="2792" y="5027"/>
                    <a:pt x="2829" y="4983"/>
                    <a:pt x="2814" y="4939"/>
                  </a:cubicBezTo>
                  <a:cubicBezTo>
                    <a:pt x="2807" y="4895"/>
                    <a:pt x="2748" y="4902"/>
                    <a:pt x="2726" y="4873"/>
                  </a:cubicBezTo>
                  <a:cubicBezTo>
                    <a:pt x="2704" y="4836"/>
                    <a:pt x="2741" y="4800"/>
                    <a:pt x="2785" y="4770"/>
                  </a:cubicBezTo>
                  <a:cubicBezTo>
                    <a:pt x="2829" y="4734"/>
                    <a:pt x="2829" y="4690"/>
                    <a:pt x="2748" y="4653"/>
                  </a:cubicBezTo>
                  <a:cubicBezTo>
                    <a:pt x="2667" y="4624"/>
                    <a:pt x="2536" y="4506"/>
                    <a:pt x="2536" y="4404"/>
                  </a:cubicBezTo>
                  <a:cubicBezTo>
                    <a:pt x="2536" y="4301"/>
                    <a:pt x="2602" y="4221"/>
                    <a:pt x="2557" y="4177"/>
                  </a:cubicBezTo>
                  <a:cubicBezTo>
                    <a:pt x="2514" y="4133"/>
                    <a:pt x="2462" y="4008"/>
                    <a:pt x="2499" y="3942"/>
                  </a:cubicBezTo>
                  <a:cubicBezTo>
                    <a:pt x="2528" y="3891"/>
                    <a:pt x="2572" y="3884"/>
                    <a:pt x="2594" y="3884"/>
                  </a:cubicBezTo>
                  <a:lnTo>
                    <a:pt x="2602" y="3884"/>
                  </a:lnTo>
                  <a:cubicBezTo>
                    <a:pt x="2602" y="3884"/>
                    <a:pt x="2594" y="3759"/>
                    <a:pt x="2543" y="3737"/>
                  </a:cubicBezTo>
                  <a:cubicBezTo>
                    <a:pt x="2499" y="3715"/>
                    <a:pt x="2462" y="3701"/>
                    <a:pt x="2477" y="3620"/>
                  </a:cubicBezTo>
                  <a:cubicBezTo>
                    <a:pt x="2492" y="3546"/>
                    <a:pt x="2455" y="3532"/>
                    <a:pt x="2440" y="3444"/>
                  </a:cubicBezTo>
                  <a:cubicBezTo>
                    <a:pt x="2440" y="3400"/>
                    <a:pt x="2426" y="3385"/>
                    <a:pt x="2404" y="3385"/>
                  </a:cubicBezTo>
                  <a:cubicBezTo>
                    <a:pt x="2382" y="3385"/>
                    <a:pt x="2352" y="3415"/>
                    <a:pt x="2330" y="3451"/>
                  </a:cubicBezTo>
                  <a:cubicBezTo>
                    <a:pt x="2294" y="3525"/>
                    <a:pt x="2330" y="3546"/>
                    <a:pt x="2213" y="3569"/>
                  </a:cubicBezTo>
                  <a:cubicBezTo>
                    <a:pt x="2206" y="3569"/>
                    <a:pt x="2191" y="3569"/>
                    <a:pt x="2176" y="3569"/>
                  </a:cubicBezTo>
                  <a:cubicBezTo>
                    <a:pt x="2096" y="3569"/>
                    <a:pt x="2081" y="3503"/>
                    <a:pt x="2081" y="3429"/>
                  </a:cubicBezTo>
                  <a:cubicBezTo>
                    <a:pt x="2081" y="3363"/>
                    <a:pt x="2045" y="3239"/>
                    <a:pt x="2015" y="3239"/>
                  </a:cubicBezTo>
                  <a:cubicBezTo>
                    <a:pt x="2008" y="3239"/>
                    <a:pt x="2008" y="3239"/>
                    <a:pt x="2001" y="3246"/>
                  </a:cubicBezTo>
                  <a:cubicBezTo>
                    <a:pt x="1979" y="3283"/>
                    <a:pt x="1927" y="3356"/>
                    <a:pt x="1898" y="3356"/>
                  </a:cubicBezTo>
                  <a:cubicBezTo>
                    <a:pt x="1883" y="3356"/>
                    <a:pt x="1883" y="3327"/>
                    <a:pt x="1913" y="3246"/>
                  </a:cubicBezTo>
                  <a:cubicBezTo>
                    <a:pt x="1979" y="3048"/>
                    <a:pt x="1993" y="3078"/>
                    <a:pt x="1935" y="3056"/>
                  </a:cubicBezTo>
                  <a:cubicBezTo>
                    <a:pt x="1876" y="3034"/>
                    <a:pt x="1869" y="2997"/>
                    <a:pt x="1876" y="2953"/>
                  </a:cubicBezTo>
                  <a:cubicBezTo>
                    <a:pt x="1883" y="2909"/>
                    <a:pt x="1861" y="2792"/>
                    <a:pt x="1803" y="2792"/>
                  </a:cubicBezTo>
                  <a:cubicBezTo>
                    <a:pt x="1795" y="2792"/>
                    <a:pt x="1788" y="2792"/>
                    <a:pt x="1788" y="2799"/>
                  </a:cubicBezTo>
                  <a:cubicBezTo>
                    <a:pt x="1729" y="2814"/>
                    <a:pt x="1707" y="2902"/>
                    <a:pt x="1664" y="2902"/>
                  </a:cubicBezTo>
                  <a:cubicBezTo>
                    <a:pt x="1649" y="2902"/>
                    <a:pt x="1634" y="2894"/>
                    <a:pt x="1612" y="2872"/>
                  </a:cubicBezTo>
                  <a:cubicBezTo>
                    <a:pt x="1583" y="2843"/>
                    <a:pt x="1568" y="2828"/>
                    <a:pt x="1554" y="2828"/>
                  </a:cubicBezTo>
                  <a:cubicBezTo>
                    <a:pt x="1539" y="2828"/>
                    <a:pt x="1532" y="2851"/>
                    <a:pt x="1502" y="2894"/>
                  </a:cubicBezTo>
                  <a:cubicBezTo>
                    <a:pt x="1488" y="2916"/>
                    <a:pt x="1473" y="2931"/>
                    <a:pt x="1466" y="2931"/>
                  </a:cubicBezTo>
                  <a:cubicBezTo>
                    <a:pt x="1444" y="2931"/>
                    <a:pt x="1451" y="2865"/>
                    <a:pt x="1458" y="2799"/>
                  </a:cubicBezTo>
                  <a:cubicBezTo>
                    <a:pt x="1466" y="2704"/>
                    <a:pt x="1480" y="2594"/>
                    <a:pt x="1444" y="2579"/>
                  </a:cubicBezTo>
                  <a:cubicBezTo>
                    <a:pt x="1436" y="2579"/>
                    <a:pt x="1429" y="2579"/>
                    <a:pt x="1422" y="2579"/>
                  </a:cubicBezTo>
                  <a:cubicBezTo>
                    <a:pt x="1400" y="2579"/>
                    <a:pt x="1385" y="2587"/>
                    <a:pt x="1341" y="2616"/>
                  </a:cubicBezTo>
                  <a:cubicBezTo>
                    <a:pt x="1297" y="2645"/>
                    <a:pt x="1268" y="2675"/>
                    <a:pt x="1238" y="2675"/>
                  </a:cubicBezTo>
                  <a:cubicBezTo>
                    <a:pt x="1231" y="2675"/>
                    <a:pt x="1224" y="2675"/>
                    <a:pt x="1217" y="2675"/>
                  </a:cubicBezTo>
                  <a:cubicBezTo>
                    <a:pt x="1187" y="2645"/>
                    <a:pt x="1187" y="2601"/>
                    <a:pt x="1151" y="2594"/>
                  </a:cubicBezTo>
                  <a:cubicBezTo>
                    <a:pt x="1143" y="2587"/>
                    <a:pt x="1143" y="2587"/>
                    <a:pt x="1136" y="2587"/>
                  </a:cubicBezTo>
                  <a:cubicBezTo>
                    <a:pt x="1114" y="2587"/>
                    <a:pt x="1114" y="2616"/>
                    <a:pt x="1070" y="2638"/>
                  </a:cubicBezTo>
                  <a:cubicBezTo>
                    <a:pt x="1063" y="2638"/>
                    <a:pt x="1063" y="2645"/>
                    <a:pt x="1055" y="2645"/>
                  </a:cubicBezTo>
                  <a:cubicBezTo>
                    <a:pt x="1026" y="2645"/>
                    <a:pt x="1019" y="2601"/>
                    <a:pt x="982" y="2601"/>
                  </a:cubicBezTo>
                  <a:cubicBezTo>
                    <a:pt x="975" y="2601"/>
                    <a:pt x="975" y="2601"/>
                    <a:pt x="967" y="2601"/>
                  </a:cubicBezTo>
                  <a:cubicBezTo>
                    <a:pt x="916" y="2616"/>
                    <a:pt x="857" y="2623"/>
                    <a:pt x="814" y="2660"/>
                  </a:cubicBezTo>
                  <a:cubicBezTo>
                    <a:pt x="762" y="2696"/>
                    <a:pt x="740" y="2763"/>
                    <a:pt x="740" y="2763"/>
                  </a:cubicBezTo>
                  <a:cubicBezTo>
                    <a:pt x="740" y="2763"/>
                    <a:pt x="740" y="2784"/>
                    <a:pt x="799" y="2799"/>
                  </a:cubicBezTo>
                  <a:cubicBezTo>
                    <a:pt x="806" y="2799"/>
                    <a:pt x="821" y="2799"/>
                    <a:pt x="828" y="2799"/>
                  </a:cubicBezTo>
                  <a:cubicBezTo>
                    <a:pt x="850" y="2799"/>
                    <a:pt x="865" y="2792"/>
                    <a:pt x="887" y="2792"/>
                  </a:cubicBezTo>
                  <a:cubicBezTo>
                    <a:pt x="909" y="2792"/>
                    <a:pt x="931" y="2799"/>
                    <a:pt x="945" y="2821"/>
                  </a:cubicBezTo>
                  <a:cubicBezTo>
                    <a:pt x="989" y="2865"/>
                    <a:pt x="989" y="2924"/>
                    <a:pt x="967" y="2968"/>
                  </a:cubicBezTo>
                  <a:cubicBezTo>
                    <a:pt x="945" y="3012"/>
                    <a:pt x="1004" y="3048"/>
                    <a:pt x="887" y="3056"/>
                  </a:cubicBezTo>
                  <a:cubicBezTo>
                    <a:pt x="777" y="3070"/>
                    <a:pt x="667" y="3056"/>
                    <a:pt x="667" y="3173"/>
                  </a:cubicBezTo>
                  <a:cubicBezTo>
                    <a:pt x="667" y="3283"/>
                    <a:pt x="594" y="3268"/>
                    <a:pt x="528" y="3305"/>
                  </a:cubicBezTo>
                  <a:cubicBezTo>
                    <a:pt x="513" y="3312"/>
                    <a:pt x="498" y="3312"/>
                    <a:pt x="484" y="3312"/>
                  </a:cubicBezTo>
                  <a:cubicBezTo>
                    <a:pt x="440" y="3312"/>
                    <a:pt x="403" y="3305"/>
                    <a:pt x="367" y="3305"/>
                  </a:cubicBezTo>
                  <a:cubicBezTo>
                    <a:pt x="345" y="3305"/>
                    <a:pt x="330" y="3305"/>
                    <a:pt x="315" y="3312"/>
                  </a:cubicBezTo>
                  <a:cubicBezTo>
                    <a:pt x="315" y="3297"/>
                    <a:pt x="308" y="3275"/>
                    <a:pt x="301" y="3261"/>
                  </a:cubicBezTo>
                  <a:cubicBezTo>
                    <a:pt x="293" y="3253"/>
                    <a:pt x="286" y="3246"/>
                    <a:pt x="271" y="3246"/>
                  </a:cubicBezTo>
                  <a:cubicBezTo>
                    <a:pt x="264" y="3246"/>
                    <a:pt x="264" y="3246"/>
                    <a:pt x="257" y="3246"/>
                  </a:cubicBezTo>
                  <a:cubicBezTo>
                    <a:pt x="242" y="3246"/>
                    <a:pt x="227" y="3246"/>
                    <a:pt x="235" y="3202"/>
                  </a:cubicBezTo>
                  <a:cubicBezTo>
                    <a:pt x="242" y="3122"/>
                    <a:pt x="279" y="3180"/>
                    <a:pt x="301" y="3114"/>
                  </a:cubicBezTo>
                  <a:cubicBezTo>
                    <a:pt x="323" y="3048"/>
                    <a:pt x="301" y="3019"/>
                    <a:pt x="301" y="2953"/>
                  </a:cubicBezTo>
                  <a:cubicBezTo>
                    <a:pt x="301" y="2887"/>
                    <a:pt x="337" y="2924"/>
                    <a:pt x="359" y="2843"/>
                  </a:cubicBezTo>
                  <a:cubicBezTo>
                    <a:pt x="381" y="2763"/>
                    <a:pt x="359" y="2741"/>
                    <a:pt x="345" y="2660"/>
                  </a:cubicBezTo>
                  <a:cubicBezTo>
                    <a:pt x="337" y="2579"/>
                    <a:pt x="301" y="2535"/>
                    <a:pt x="264" y="2477"/>
                  </a:cubicBezTo>
                  <a:cubicBezTo>
                    <a:pt x="235" y="2418"/>
                    <a:pt x="162" y="2323"/>
                    <a:pt x="139" y="2220"/>
                  </a:cubicBezTo>
                  <a:cubicBezTo>
                    <a:pt x="117" y="2118"/>
                    <a:pt x="117" y="1993"/>
                    <a:pt x="139" y="1949"/>
                  </a:cubicBezTo>
                  <a:cubicBezTo>
                    <a:pt x="162" y="1898"/>
                    <a:pt x="198" y="1810"/>
                    <a:pt x="139" y="1773"/>
                  </a:cubicBezTo>
                  <a:cubicBezTo>
                    <a:pt x="88" y="1744"/>
                    <a:pt x="37" y="1707"/>
                    <a:pt x="74" y="1627"/>
                  </a:cubicBezTo>
                  <a:cubicBezTo>
                    <a:pt x="110" y="1546"/>
                    <a:pt x="117" y="1517"/>
                    <a:pt x="213" y="1480"/>
                  </a:cubicBezTo>
                  <a:cubicBezTo>
                    <a:pt x="235" y="1473"/>
                    <a:pt x="249" y="1473"/>
                    <a:pt x="264" y="1473"/>
                  </a:cubicBezTo>
                  <a:cubicBezTo>
                    <a:pt x="315" y="1473"/>
                    <a:pt x="345" y="1495"/>
                    <a:pt x="381" y="1495"/>
                  </a:cubicBezTo>
                  <a:lnTo>
                    <a:pt x="388" y="1495"/>
                  </a:lnTo>
                  <a:cubicBezTo>
                    <a:pt x="396" y="1495"/>
                    <a:pt x="396" y="1487"/>
                    <a:pt x="396" y="1487"/>
                  </a:cubicBezTo>
                  <a:cubicBezTo>
                    <a:pt x="433" y="1487"/>
                    <a:pt x="388" y="1561"/>
                    <a:pt x="388" y="1561"/>
                  </a:cubicBezTo>
                  <a:cubicBezTo>
                    <a:pt x="388" y="1561"/>
                    <a:pt x="484" y="1422"/>
                    <a:pt x="542" y="1414"/>
                  </a:cubicBezTo>
                  <a:cubicBezTo>
                    <a:pt x="572" y="1407"/>
                    <a:pt x="630" y="1400"/>
                    <a:pt x="674" y="1400"/>
                  </a:cubicBezTo>
                  <a:cubicBezTo>
                    <a:pt x="711" y="1400"/>
                    <a:pt x="748" y="1400"/>
                    <a:pt x="762" y="1414"/>
                  </a:cubicBezTo>
                  <a:cubicBezTo>
                    <a:pt x="814" y="1436"/>
                    <a:pt x="857" y="1473"/>
                    <a:pt x="887" y="1517"/>
                  </a:cubicBezTo>
                  <a:cubicBezTo>
                    <a:pt x="916" y="1553"/>
                    <a:pt x="975" y="1590"/>
                    <a:pt x="1033" y="1590"/>
                  </a:cubicBezTo>
                  <a:cubicBezTo>
                    <a:pt x="1048" y="1590"/>
                    <a:pt x="1063" y="1590"/>
                    <a:pt x="1070" y="1583"/>
                  </a:cubicBezTo>
                  <a:cubicBezTo>
                    <a:pt x="1143" y="1561"/>
                    <a:pt x="1173" y="1524"/>
                    <a:pt x="1173" y="1473"/>
                  </a:cubicBezTo>
                  <a:cubicBezTo>
                    <a:pt x="1173" y="1414"/>
                    <a:pt x="1231" y="1392"/>
                    <a:pt x="1231" y="1348"/>
                  </a:cubicBezTo>
                  <a:cubicBezTo>
                    <a:pt x="1231" y="1297"/>
                    <a:pt x="1165" y="1312"/>
                    <a:pt x="1165" y="1253"/>
                  </a:cubicBezTo>
                  <a:cubicBezTo>
                    <a:pt x="1165" y="1194"/>
                    <a:pt x="1151" y="1084"/>
                    <a:pt x="1151" y="1084"/>
                  </a:cubicBezTo>
                  <a:cubicBezTo>
                    <a:pt x="1151" y="1084"/>
                    <a:pt x="1268" y="1084"/>
                    <a:pt x="1297" y="1121"/>
                  </a:cubicBezTo>
                  <a:cubicBezTo>
                    <a:pt x="1305" y="1128"/>
                    <a:pt x="1319" y="1128"/>
                    <a:pt x="1341" y="1128"/>
                  </a:cubicBezTo>
                  <a:cubicBezTo>
                    <a:pt x="1400" y="1128"/>
                    <a:pt x="1502" y="1092"/>
                    <a:pt x="1502" y="1092"/>
                  </a:cubicBezTo>
                  <a:cubicBezTo>
                    <a:pt x="1502" y="1092"/>
                    <a:pt x="1393" y="1070"/>
                    <a:pt x="1444" y="1019"/>
                  </a:cubicBezTo>
                  <a:cubicBezTo>
                    <a:pt x="1502" y="960"/>
                    <a:pt x="1546" y="996"/>
                    <a:pt x="1590" y="938"/>
                  </a:cubicBezTo>
                  <a:cubicBezTo>
                    <a:pt x="1642" y="879"/>
                    <a:pt x="1671" y="857"/>
                    <a:pt x="1671" y="777"/>
                  </a:cubicBezTo>
                  <a:cubicBezTo>
                    <a:pt x="1671" y="696"/>
                    <a:pt x="1590" y="645"/>
                    <a:pt x="1664" y="550"/>
                  </a:cubicBezTo>
                  <a:cubicBezTo>
                    <a:pt x="1700" y="506"/>
                    <a:pt x="1715" y="484"/>
                    <a:pt x="1737" y="484"/>
                  </a:cubicBezTo>
                  <a:cubicBezTo>
                    <a:pt x="1752" y="484"/>
                    <a:pt x="1774" y="498"/>
                    <a:pt x="1795" y="520"/>
                  </a:cubicBezTo>
                  <a:cubicBezTo>
                    <a:pt x="1817" y="528"/>
                    <a:pt x="1847" y="535"/>
                    <a:pt x="1883" y="535"/>
                  </a:cubicBezTo>
                  <a:cubicBezTo>
                    <a:pt x="1949" y="535"/>
                    <a:pt x="2023" y="513"/>
                    <a:pt x="2067" y="469"/>
                  </a:cubicBezTo>
                  <a:cubicBezTo>
                    <a:pt x="2140" y="403"/>
                    <a:pt x="2213" y="366"/>
                    <a:pt x="2250" y="315"/>
                  </a:cubicBezTo>
                  <a:cubicBezTo>
                    <a:pt x="2286" y="256"/>
                    <a:pt x="2250" y="213"/>
                    <a:pt x="2294" y="154"/>
                  </a:cubicBezTo>
                  <a:cubicBezTo>
                    <a:pt x="2316" y="132"/>
                    <a:pt x="2338" y="110"/>
                    <a:pt x="2360" y="95"/>
                  </a:cubicBezTo>
                  <a:cubicBezTo>
                    <a:pt x="2374" y="117"/>
                    <a:pt x="2374" y="117"/>
                    <a:pt x="2374" y="117"/>
                  </a:cubicBezTo>
                  <a:cubicBezTo>
                    <a:pt x="2360" y="95"/>
                    <a:pt x="2360" y="95"/>
                    <a:pt x="2360" y="95"/>
                  </a:cubicBezTo>
                  <a:cubicBezTo>
                    <a:pt x="2389" y="66"/>
                    <a:pt x="2426" y="51"/>
                    <a:pt x="2440" y="44"/>
                  </a:cubicBezTo>
                  <a:cubicBezTo>
                    <a:pt x="2448" y="37"/>
                    <a:pt x="2455" y="37"/>
                    <a:pt x="2455" y="37"/>
                  </a:cubicBezTo>
                  <a:cubicBezTo>
                    <a:pt x="2469" y="37"/>
                    <a:pt x="2462" y="66"/>
                    <a:pt x="2521" y="66"/>
                  </a:cubicBezTo>
                  <a:cubicBezTo>
                    <a:pt x="2565" y="66"/>
                    <a:pt x="2587" y="37"/>
                    <a:pt x="2616" y="37"/>
                  </a:cubicBezTo>
                  <a:lnTo>
                    <a:pt x="2616" y="0"/>
                  </a:lnTo>
                  <a:lnTo>
                    <a:pt x="2616" y="0"/>
                  </a:lnTo>
                  <a:lnTo>
                    <a:pt x="2616" y="0"/>
                  </a:lnTo>
                  <a:cubicBezTo>
                    <a:pt x="2594" y="0"/>
                    <a:pt x="2579" y="15"/>
                    <a:pt x="2565" y="22"/>
                  </a:cubicBezTo>
                  <a:cubicBezTo>
                    <a:pt x="2550" y="29"/>
                    <a:pt x="2543" y="37"/>
                    <a:pt x="2521" y="37"/>
                  </a:cubicBezTo>
                  <a:cubicBezTo>
                    <a:pt x="2499" y="37"/>
                    <a:pt x="2492" y="29"/>
                    <a:pt x="2492" y="22"/>
                  </a:cubicBezTo>
                  <a:cubicBezTo>
                    <a:pt x="2484" y="22"/>
                    <a:pt x="2477" y="7"/>
                    <a:pt x="2455" y="7"/>
                  </a:cubicBezTo>
                  <a:cubicBezTo>
                    <a:pt x="2448" y="7"/>
                    <a:pt x="2440" y="7"/>
                    <a:pt x="2433" y="15"/>
                  </a:cubicBezTo>
                  <a:cubicBezTo>
                    <a:pt x="2411" y="22"/>
                    <a:pt x="2389" y="29"/>
                    <a:pt x="2360" y="51"/>
                  </a:cubicBezTo>
                  <a:lnTo>
                    <a:pt x="2360" y="51"/>
                  </a:lnTo>
                  <a:cubicBezTo>
                    <a:pt x="2338" y="73"/>
                    <a:pt x="2338" y="73"/>
                    <a:pt x="2338" y="73"/>
                  </a:cubicBezTo>
                  <a:lnTo>
                    <a:pt x="2338" y="73"/>
                  </a:lnTo>
                  <a:cubicBezTo>
                    <a:pt x="2316" y="88"/>
                    <a:pt x="2316" y="88"/>
                    <a:pt x="2316" y="88"/>
                  </a:cubicBezTo>
                  <a:lnTo>
                    <a:pt x="2316" y="88"/>
                  </a:lnTo>
                  <a:cubicBezTo>
                    <a:pt x="2301" y="103"/>
                    <a:pt x="2286" y="117"/>
                    <a:pt x="2272" y="139"/>
                  </a:cubicBezTo>
                  <a:cubicBezTo>
                    <a:pt x="2243" y="176"/>
                    <a:pt x="2243" y="213"/>
                    <a:pt x="2235" y="234"/>
                  </a:cubicBezTo>
                  <a:cubicBezTo>
                    <a:pt x="2235" y="264"/>
                    <a:pt x="2235" y="278"/>
                    <a:pt x="2228" y="301"/>
                  </a:cubicBezTo>
                  <a:cubicBezTo>
                    <a:pt x="2206" y="322"/>
                    <a:pt x="2176" y="344"/>
                    <a:pt x="2140" y="374"/>
                  </a:cubicBezTo>
                  <a:cubicBezTo>
                    <a:pt x="2111" y="396"/>
                    <a:pt x="2081" y="418"/>
                    <a:pt x="2045" y="447"/>
                  </a:cubicBezTo>
                  <a:cubicBezTo>
                    <a:pt x="2015" y="484"/>
                    <a:pt x="1949" y="506"/>
                    <a:pt x="1883" y="506"/>
                  </a:cubicBezTo>
                  <a:cubicBezTo>
                    <a:pt x="1854" y="506"/>
                    <a:pt x="1825" y="498"/>
                    <a:pt x="1810" y="491"/>
                  </a:cubicBezTo>
                  <a:cubicBezTo>
                    <a:pt x="1810" y="491"/>
                    <a:pt x="1803" y="484"/>
                    <a:pt x="1795" y="484"/>
                  </a:cubicBezTo>
                  <a:cubicBezTo>
                    <a:pt x="1774" y="469"/>
                    <a:pt x="1759" y="454"/>
                    <a:pt x="1737" y="454"/>
                  </a:cubicBezTo>
                  <a:cubicBezTo>
                    <a:pt x="1700" y="454"/>
                    <a:pt x="1671" y="484"/>
                    <a:pt x="1634" y="535"/>
                  </a:cubicBezTo>
                  <a:cubicBezTo>
                    <a:pt x="1583" y="608"/>
                    <a:pt x="1605" y="667"/>
                    <a:pt x="1627" y="711"/>
                  </a:cubicBezTo>
                  <a:cubicBezTo>
                    <a:pt x="1634" y="733"/>
                    <a:pt x="1642" y="755"/>
                    <a:pt x="1642" y="777"/>
                  </a:cubicBezTo>
                  <a:cubicBezTo>
                    <a:pt x="1642" y="835"/>
                    <a:pt x="1627" y="850"/>
                    <a:pt x="1590" y="887"/>
                  </a:cubicBezTo>
                  <a:cubicBezTo>
                    <a:pt x="1583" y="901"/>
                    <a:pt x="1576" y="909"/>
                    <a:pt x="1568" y="916"/>
                  </a:cubicBezTo>
                  <a:cubicBezTo>
                    <a:pt x="1554" y="938"/>
                    <a:pt x="1539" y="945"/>
                    <a:pt x="1517" y="945"/>
                  </a:cubicBezTo>
                  <a:cubicBezTo>
                    <a:pt x="1488" y="953"/>
                    <a:pt x="1458" y="960"/>
                    <a:pt x="1422" y="996"/>
                  </a:cubicBezTo>
                  <a:cubicBezTo>
                    <a:pt x="1400" y="1019"/>
                    <a:pt x="1400" y="1048"/>
                    <a:pt x="1400" y="1063"/>
                  </a:cubicBezTo>
                  <a:cubicBezTo>
                    <a:pt x="1407" y="1070"/>
                    <a:pt x="1407" y="1077"/>
                    <a:pt x="1414" y="1084"/>
                  </a:cubicBezTo>
                  <a:cubicBezTo>
                    <a:pt x="1393" y="1092"/>
                    <a:pt x="1363" y="1099"/>
                    <a:pt x="1341" y="1099"/>
                  </a:cubicBezTo>
                  <a:cubicBezTo>
                    <a:pt x="1326" y="1099"/>
                    <a:pt x="1319" y="1099"/>
                    <a:pt x="1319" y="1099"/>
                  </a:cubicBezTo>
                  <a:cubicBezTo>
                    <a:pt x="1283" y="1055"/>
                    <a:pt x="1173" y="1055"/>
                    <a:pt x="1151" y="1055"/>
                  </a:cubicBezTo>
                  <a:cubicBezTo>
                    <a:pt x="1114" y="1055"/>
                    <a:pt x="1114" y="1055"/>
                    <a:pt x="1114" y="1055"/>
                  </a:cubicBezTo>
                  <a:cubicBezTo>
                    <a:pt x="1121" y="1084"/>
                    <a:pt x="1121" y="1084"/>
                    <a:pt x="1121" y="1084"/>
                  </a:cubicBezTo>
                  <a:cubicBezTo>
                    <a:pt x="1121" y="1092"/>
                    <a:pt x="1129" y="1202"/>
                    <a:pt x="1129" y="1253"/>
                  </a:cubicBezTo>
                  <a:cubicBezTo>
                    <a:pt x="1129" y="1304"/>
                    <a:pt x="1165" y="1319"/>
                    <a:pt x="1187" y="1334"/>
                  </a:cubicBezTo>
                  <a:cubicBezTo>
                    <a:pt x="1202" y="1341"/>
                    <a:pt x="1202" y="1341"/>
                    <a:pt x="1202" y="1348"/>
                  </a:cubicBezTo>
                  <a:cubicBezTo>
                    <a:pt x="1202" y="1356"/>
                    <a:pt x="1195" y="1363"/>
                    <a:pt x="1180" y="1378"/>
                  </a:cubicBezTo>
                  <a:cubicBezTo>
                    <a:pt x="1165" y="1400"/>
                    <a:pt x="1143" y="1429"/>
                    <a:pt x="1143" y="1473"/>
                  </a:cubicBezTo>
                  <a:cubicBezTo>
                    <a:pt x="1143" y="1502"/>
                    <a:pt x="1136" y="1532"/>
                    <a:pt x="1063" y="1553"/>
                  </a:cubicBezTo>
                  <a:cubicBezTo>
                    <a:pt x="1055" y="1553"/>
                    <a:pt x="1041" y="1561"/>
                    <a:pt x="1033" y="1561"/>
                  </a:cubicBezTo>
                  <a:cubicBezTo>
                    <a:pt x="989" y="1561"/>
                    <a:pt x="938" y="1524"/>
                    <a:pt x="916" y="1495"/>
                  </a:cubicBezTo>
                  <a:cubicBezTo>
                    <a:pt x="872" y="1436"/>
                    <a:pt x="821" y="1407"/>
                    <a:pt x="777" y="1385"/>
                  </a:cubicBezTo>
                  <a:cubicBezTo>
                    <a:pt x="755" y="1378"/>
                    <a:pt x="726" y="1370"/>
                    <a:pt x="674" y="1370"/>
                  </a:cubicBezTo>
                  <a:cubicBezTo>
                    <a:pt x="623" y="1370"/>
                    <a:pt x="564" y="1378"/>
                    <a:pt x="535" y="1385"/>
                  </a:cubicBezTo>
                  <a:cubicBezTo>
                    <a:pt x="498" y="1392"/>
                    <a:pt x="455" y="1429"/>
                    <a:pt x="425" y="1465"/>
                  </a:cubicBezTo>
                  <a:cubicBezTo>
                    <a:pt x="418" y="1465"/>
                    <a:pt x="411" y="1458"/>
                    <a:pt x="396" y="1458"/>
                  </a:cubicBezTo>
                  <a:lnTo>
                    <a:pt x="396" y="1458"/>
                  </a:lnTo>
                  <a:cubicBezTo>
                    <a:pt x="396" y="1458"/>
                    <a:pt x="388" y="1458"/>
                    <a:pt x="381" y="1465"/>
                  </a:cubicBezTo>
                  <a:lnTo>
                    <a:pt x="381" y="1465"/>
                  </a:lnTo>
                  <a:cubicBezTo>
                    <a:pt x="367" y="1465"/>
                    <a:pt x="359" y="1458"/>
                    <a:pt x="345" y="1458"/>
                  </a:cubicBezTo>
                  <a:cubicBezTo>
                    <a:pt x="323" y="1451"/>
                    <a:pt x="301" y="1436"/>
                    <a:pt x="264" y="1436"/>
                  </a:cubicBezTo>
                  <a:cubicBezTo>
                    <a:pt x="242" y="1436"/>
                    <a:pt x="220" y="1444"/>
                    <a:pt x="198" y="1451"/>
                  </a:cubicBezTo>
                  <a:cubicBezTo>
                    <a:pt x="103" y="1487"/>
                    <a:pt x="81" y="1532"/>
                    <a:pt x="52" y="1605"/>
                  </a:cubicBezTo>
                  <a:cubicBezTo>
                    <a:pt x="44" y="1619"/>
                    <a:pt x="44" y="1619"/>
                    <a:pt x="44" y="1619"/>
                  </a:cubicBezTo>
                  <a:cubicBezTo>
                    <a:pt x="0" y="1722"/>
                    <a:pt x="81" y="1773"/>
                    <a:pt x="125" y="1803"/>
                  </a:cubicBezTo>
                  <a:cubicBezTo>
                    <a:pt x="169" y="1825"/>
                    <a:pt x="117" y="1920"/>
                    <a:pt x="117" y="1934"/>
                  </a:cubicBezTo>
                  <a:cubicBezTo>
                    <a:pt x="88" y="1993"/>
                    <a:pt x="88" y="2125"/>
                    <a:pt x="110" y="2228"/>
                  </a:cubicBezTo>
                  <a:cubicBezTo>
                    <a:pt x="132" y="2315"/>
                    <a:pt x="191" y="2411"/>
                    <a:pt x="227" y="2470"/>
                  </a:cubicBezTo>
                  <a:cubicBezTo>
                    <a:pt x="242" y="2491"/>
                    <a:pt x="242" y="2491"/>
                    <a:pt x="242" y="2491"/>
                  </a:cubicBezTo>
                  <a:cubicBezTo>
                    <a:pt x="257" y="2513"/>
                    <a:pt x="257" y="2513"/>
                    <a:pt x="257" y="2513"/>
                  </a:cubicBezTo>
                  <a:cubicBezTo>
                    <a:pt x="286" y="2565"/>
                    <a:pt x="308" y="2601"/>
                    <a:pt x="315" y="2667"/>
                  </a:cubicBezTo>
                  <a:cubicBezTo>
                    <a:pt x="323" y="2689"/>
                    <a:pt x="323" y="2711"/>
                    <a:pt x="330" y="2726"/>
                  </a:cubicBezTo>
                  <a:cubicBezTo>
                    <a:pt x="337" y="2763"/>
                    <a:pt x="345" y="2784"/>
                    <a:pt x="330" y="2836"/>
                  </a:cubicBezTo>
                  <a:cubicBezTo>
                    <a:pt x="323" y="2865"/>
                    <a:pt x="308" y="2872"/>
                    <a:pt x="301" y="2880"/>
                  </a:cubicBezTo>
                  <a:cubicBezTo>
                    <a:pt x="286" y="2894"/>
                    <a:pt x="271" y="2909"/>
                    <a:pt x="271" y="2953"/>
                  </a:cubicBezTo>
                  <a:cubicBezTo>
                    <a:pt x="271" y="2982"/>
                    <a:pt x="271" y="3004"/>
                    <a:pt x="279" y="3019"/>
                  </a:cubicBezTo>
                  <a:cubicBezTo>
                    <a:pt x="279" y="3048"/>
                    <a:pt x="286" y="3070"/>
                    <a:pt x="271" y="3107"/>
                  </a:cubicBezTo>
                  <a:cubicBezTo>
                    <a:pt x="264" y="3122"/>
                    <a:pt x="264" y="3122"/>
                    <a:pt x="257" y="3122"/>
                  </a:cubicBezTo>
                  <a:cubicBezTo>
                    <a:pt x="227" y="3136"/>
                    <a:pt x="213" y="3151"/>
                    <a:pt x="205" y="3202"/>
                  </a:cubicBezTo>
                  <a:cubicBezTo>
                    <a:pt x="198" y="3217"/>
                    <a:pt x="198" y="3246"/>
                    <a:pt x="213" y="3261"/>
                  </a:cubicBezTo>
                  <a:cubicBezTo>
                    <a:pt x="227" y="3283"/>
                    <a:pt x="249" y="3283"/>
                    <a:pt x="257" y="3283"/>
                  </a:cubicBezTo>
                  <a:lnTo>
                    <a:pt x="264" y="3283"/>
                  </a:lnTo>
                  <a:cubicBezTo>
                    <a:pt x="271" y="3275"/>
                    <a:pt x="271" y="3275"/>
                    <a:pt x="271" y="3275"/>
                  </a:cubicBezTo>
                  <a:cubicBezTo>
                    <a:pt x="279" y="3275"/>
                    <a:pt x="279" y="3283"/>
                    <a:pt x="279" y="3283"/>
                  </a:cubicBezTo>
                  <a:cubicBezTo>
                    <a:pt x="279" y="3283"/>
                    <a:pt x="286" y="3290"/>
                    <a:pt x="286" y="3320"/>
                  </a:cubicBezTo>
                  <a:cubicBezTo>
                    <a:pt x="286" y="3371"/>
                    <a:pt x="286" y="3371"/>
                    <a:pt x="286" y="3371"/>
                  </a:cubicBezTo>
                  <a:cubicBezTo>
                    <a:pt x="330" y="3341"/>
                    <a:pt x="330" y="3341"/>
                    <a:pt x="330" y="3341"/>
                  </a:cubicBezTo>
                  <a:cubicBezTo>
                    <a:pt x="337" y="3334"/>
                    <a:pt x="352" y="3334"/>
                    <a:pt x="367" y="3334"/>
                  </a:cubicBezTo>
                  <a:cubicBezTo>
                    <a:pt x="381" y="3334"/>
                    <a:pt x="396" y="3334"/>
                    <a:pt x="418" y="3341"/>
                  </a:cubicBezTo>
                  <a:cubicBezTo>
                    <a:pt x="440" y="3341"/>
                    <a:pt x="462" y="3349"/>
                    <a:pt x="484" y="3349"/>
                  </a:cubicBezTo>
                  <a:cubicBezTo>
                    <a:pt x="506" y="3349"/>
                    <a:pt x="521" y="3341"/>
                    <a:pt x="542" y="3334"/>
                  </a:cubicBezTo>
                  <a:cubicBezTo>
                    <a:pt x="557" y="3327"/>
                    <a:pt x="572" y="3320"/>
                    <a:pt x="586" y="3320"/>
                  </a:cubicBezTo>
                  <a:cubicBezTo>
                    <a:pt x="638" y="3297"/>
                    <a:pt x="696" y="3275"/>
                    <a:pt x="696" y="3173"/>
                  </a:cubicBezTo>
                  <a:cubicBezTo>
                    <a:pt x="696" y="3107"/>
                    <a:pt x="733" y="3100"/>
                    <a:pt x="843" y="3092"/>
                  </a:cubicBezTo>
                  <a:cubicBezTo>
                    <a:pt x="857" y="3092"/>
                    <a:pt x="879" y="3085"/>
                    <a:pt x="894" y="3085"/>
                  </a:cubicBezTo>
                  <a:cubicBezTo>
                    <a:pt x="975" y="3078"/>
                    <a:pt x="997" y="3056"/>
                    <a:pt x="997" y="3004"/>
                  </a:cubicBezTo>
                  <a:cubicBezTo>
                    <a:pt x="997" y="2990"/>
                    <a:pt x="997" y="2990"/>
                    <a:pt x="997" y="2982"/>
                  </a:cubicBezTo>
                  <a:cubicBezTo>
                    <a:pt x="1026" y="2916"/>
                    <a:pt x="1019" y="2843"/>
                    <a:pt x="967" y="2799"/>
                  </a:cubicBezTo>
                  <a:cubicBezTo>
                    <a:pt x="938" y="2770"/>
                    <a:pt x="909" y="2763"/>
                    <a:pt x="887" y="2763"/>
                  </a:cubicBezTo>
                  <a:cubicBezTo>
                    <a:pt x="879" y="2763"/>
                    <a:pt x="865" y="2763"/>
                    <a:pt x="857" y="2763"/>
                  </a:cubicBezTo>
                  <a:cubicBezTo>
                    <a:pt x="843" y="2770"/>
                    <a:pt x="836" y="2770"/>
                    <a:pt x="828" y="2770"/>
                  </a:cubicBezTo>
                  <a:cubicBezTo>
                    <a:pt x="821" y="2770"/>
                    <a:pt x="814" y="2770"/>
                    <a:pt x="806" y="2763"/>
                  </a:cubicBezTo>
                  <a:cubicBezTo>
                    <a:pt x="792" y="2763"/>
                    <a:pt x="784" y="2763"/>
                    <a:pt x="777" y="2755"/>
                  </a:cubicBezTo>
                  <a:cubicBezTo>
                    <a:pt x="784" y="2741"/>
                    <a:pt x="806" y="2704"/>
                    <a:pt x="828" y="2682"/>
                  </a:cubicBezTo>
                  <a:cubicBezTo>
                    <a:pt x="872" y="2653"/>
                    <a:pt x="924" y="2645"/>
                    <a:pt x="975" y="2631"/>
                  </a:cubicBezTo>
                  <a:lnTo>
                    <a:pt x="982" y="2631"/>
                  </a:lnTo>
                  <a:cubicBezTo>
                    <a:pt x="989" y="2631"/>
                    <a:pt x="997" y="2638"/>
                    <a:pt x="1004" y="2645"/>
                  </a:cubicBezTo>
                  <a:cubicBezTo>
                    <a:pt x="1012" y="2660"/>
                    <a:pt x="1033" y="2675"/>
                    <a:pt x="1055" y="2675"/>
                  </a:cubicBezTo>
                  <a:cubicBezTo>
                    <a:pt x="1063" y="2675"/>
                    <a:pt x="1077" y="2667"/>
                    <a:pt x="1085" y="2667"/>
                  </a:cubicBezTo>
                  <a:cubicBezTo>
                    <a:pt x="1107" y="2653"/>
                    <a:pt x="1121" y="2638"/>
                    <a:pt x="1136" y="2631"/>
                  </a:cubicBezTo>
                  <a:cubicBezTo>
                    <a:pt x="1136" y="2623"/>
                    <a:pt x="1143" y="2623"/>
                    <a:pt x="1143" y="2616"/>
                  </a:cubicBezTo>
                  <a:cubicBezTo>
                    <a:pt x="1151" y="2623"/>
                    <a:pt x="1151" y="2631"/>
                    <a:pt x="1158" y="2645"/>
                  </a:cubicBezTo>
                  <a:cubicBezTo>
                    <a:pt x="1165" y="2660"/>
                    <a:pt x="1180" y="2682"/>
                    <a:pt x="1202" y="2696"/>
                  </a:cubicBezTo>
                  <a:cubicBezTo>
                    <a:pt x="1217" y="2704"/>
                    <a:pt x="1224" y="2704"/>
                    <a:pt x="1238" y="2704"/>
                  </a:cubicBezTo>
                  <a:cubicBezTo>
                    <a:pt x="1268" y="2704"/>
                    <a:pt x="1290" y="2689"/>
                    <a:pt x="1319" y="2667"/>
                  </a:cubicBezTo>
                  <a:cubicBezTo>
                    <a:pt x="1334" y="2660"/>
                    <a:pt x="1341" y="2653"/>
                    <a:pt x="1356" y="2638"/>
                  </a:cubicBezTo>
                  <a:cubicBezTo>
                    <a:pt x="1378" y="2631"/>
                    <a:pt x="1378" y="2631"/>
                    <a:pt x="1378" y="2631"/>
                  </a:cubicBezTo>
                  <a:cubicBezTo>
                    <a:pt x="1407" y="2616"/>
                    <a:pt x="1414" y="2609"/>
                    <a:pt x="1422" y="2609"/>
                  </a:cubicBezTo>
                  <a:cubicBezTo>
                    <a:pt x="1429" y="2609"/>
                    <a:pt x="1429" y="2609"/>
                    <a:pt x="1429" y="2609"/>
                  </a:cubicBezTo>
                  <a:cubicBezTo>
                    <a:pt x="1436" y="2623"/>
                    <a:pt x="1444" y="2660"/>
                    <a:pt x="1429" y="2792"/>
                  </a:cubicBezTo>
                  <a:cubicBezTo>
                    <a:pt x="1414" y="2902"/>
                    <a:pt x="1422" y="2931"/>
                    <a:pt x="1436" y="2946"/>
                  </a:cubicBezTo>
                  <a:cubicBezTo>
                    <a:pt x="1444" y="2953"/>
                    <a:pt x="1458" y="2960"/>
                    <a:pt x="1466" y="2960"/>
                  </a:cubicBezTo>
                  <a:cubicBezTo>
                    <a:pt x="1495" y="2960"/>
                    <a:pt x="1510" y="2938"/>
                    <a:pt x="1524" y="2916"/>
                  </a:cubicBezTo>
                  <a:cubicBezTo>
                    <a:pt x="1539" y="2894"/>
                    <a:pt x="1546" y="2880"/>
                    <a:pt x="1554" y="2872"/>
                  </a:cubicBezTo>
                  <a:cubicBezTo>
                    <a:pt x="1561" y="2865"/>
                    <a:pt x="1561" y="2865"/>
                    <a:pt x="1561" y="2865"/>
                  </a:cubicBezTo>
                  <a:cubicBezTo>
                    <a:pt x="1568" y="2872"/>
                    <a:pt x="1583" y="2887"/>
                    <a:pt x="1597" y="2894"/>
                  </a:cubicBezTo>
                  <a:cubicBezTo>
                    <a:pt x="1620" y="2916"/>
                    <a:pt x="1642" y="2931"/>
                    <a:pt x="1664" y="2931"/>
                  </a:cubicBezTo>
                  <a:cubicBezTo>
                    <a:pt x="1700" y="2931"/>
                    <a:pt x="1722" y="2902"/>
                    <a:pt x="1744" y="2872"/>
                  </a:cubicBezTo>
                  <a:cubicBezTo>
                    <a:pt x="1766" y="2851"/>
                    <a:pt x="1781" y="2828"/>
                    <a:pt x="1795" y="2821"/>
                  </a:cubicBezTo>
                  <a:cubicBezTo>
                    <a:pt x="1795" y="2821"/>
                    <a:pt x="1795" y="2821"/>
                    <a:pt x="1803" y="2821"/>
                  </a:cubicBezTo>
                  <a:cubicBezTo>
                    <a:pt x="1810" y="2821"/>
                    <a:pt x="1817" y="2828"/>
                    <a:pt x="1817" y="2836"/>
                  </a:cubicBezTo>
                  <a:cubicBezTo>
                    <a:pt x="1839" y="2865"/>
                    <a:pt x="1854" y="2924"/>
                    <a:pt x="1847" y="2946"/>
                  </a:cubicBezTo>
                  <a:cubicBezTo>
                    <a:pt x="1832" y="3012"/>
                    <a:pt x="1854" y="3056"/>
                    <a:pt x="1920" y="3085"/>
                  </a:cubicBezTo>
                  <a:cubicBezTo>
                    <a:pt x="1927" y="3085"/>
                    <a:pt x="1935" y="3085"/>
                    <a:pt x="1935" y="3092"/>
                  </a:cubicBezTo>
                  <a:cubicBezTo>
                    <a:pt x="1935" y="3100"/>
                    <a:pt x="1927" y="3107"/>
                    <a:pt x="1927" y="3122"/>
                  </a:cubicBezTo>
                  <a:cubicBezTo>
                    <a:pt x="1913" y="3144"/>
                    <a:pt x="1898" y="3180"/>
                    <a:pt x="1883" y="3239"/>
                  </a:cubicBezTo>
                  <a:cubicBezTo>
                    <a:pt x="1854" y="3320"/>
                    <a:pt x="1854" y="3349"/>
                    <a:pt x="1869" y="3371"/>
                  </a:cubicBezTo>
                  <a:cubicBezTo>
                    <a:pt x="1876" y="3378"/>
                    <a:pt x="1891" y="3385"/>
                    <a:pt x="1898" y="3385"/>
                  </a:cubicBezTo>
                  <a:cubicBezTo>
                    <a:pt x="1942" y="3385"/>
                    <a:pt x="1993" y="3312"/>
                    <a:pt x="2015" y="3283"/>
                  </a:cubicBezTo>
                  <a:cubicBezTo>
                    <a:pt x="2030" y="3312"/>
                    <a:pt x="2052" y="3378"/>
                    <a:pt x="2052" y="3429"/>
                  </a:cubicBezTo>
                  <a:cubicBezTo>
                    <a:pt x="2052" y="3569"/>
                    <a:pt x="2118" y="3598"/>
                    <a:pt x="2176" y="3598"/>
                  </a:cubicBezTo>
                  <a:cubicBezTo>
                    <a:pt x="2191" y="3598"/>
                    <a:pt x="2206" y="3598"/>
                    <a:pt x="2220" y="3598"/>
                  </a:cubicBezTo>
                  <a:cubicBezTo>
                    <a:pt x="2316" y="3576"/>
                    <a:pt x="2330" y="3554"/>
                    <a:pt x="2345" y="3510"/>
                  </a:cubicBezTo>
                  <a:cubicBezTo>
                    <a:pt x="2345" y="3495"/>
                    <a:pt x="2352" y="3481"/>
                    <a:pt x="2360" y="3466"/>
                  </a:cubicBezTo>
                  <a:cubicBezTo>
                    <a:pt x="2374" y="3429"/>
                    <a:pt x="2396" y="3415"/>
                    <a:pt x="2404" y="3415"/>
                  </a:cubicBezTo>
                  <a:cubicBezTo>
                    <a:pt x="2404" y="3415"/>
                    <a:pt x="2411" y="3429"/>
                    <a:pt x="2411" y="3444"/>
                  </a:cubicBezTo>
                  <a:cubicBezTo>
                    <a:pt x="2418" y="3488"/>
                    <a:pt x="2426" y="3517"/>
                    <a:pt x="2433" y="3539"/>
                  </a:cubicBezTo>
                  <a:cubicBezTo>
                    <a:pt x="2448" y="3561"/>
                    <a:pt x="2455" y="3583"/>
                    <a:pt x="2448" y="3620"/>
                  </a:cubicBezTo>
                  <a:cubicBezTo>
                    <a:pt x="2433" y="3715"/>
                    <a:pt x="2484" y="3737"/>
                    <a:pt x="2521" y="3759"/>
                  </a:cubicBezTo>
                  <a:cubicBezTo>
                    <a:pt x="2528" y="3766"/>
                    <a:pt x="2528" y="3766"/>
                    <a:pt x="2528" y="3766"/>
                  </a:cubicBezTo>
                  <a:cubicBezTo>
                    <a:pt x="2543" y="3774"/>
                    <a:pt x="2557" y="3810"/>
                    <a:pt x="2565" y="3854"/>
                  </a:cubicBezTo>
                  <a:cubicBezTo>
                    <a:pt x="2536" y="3862"/>
                    <a:pt x="2499" y="3876"/>
                    <a:pt x="2469" y="3928"/>
                  </a:cubicBezTo>
                  <a:cubicBezTo>
                    <a:pt x="2433" y="4008"/>
                    <a:pt x="2484" y="4147"/>
                    <a:pt x="2536" y="4199"/>
                  </a:cubicBezTo>
                  <a:cubicBezTo>
                    <a:pt x="2550" y="4213"/>
                    <a:pt x="2543" y="4235"/>
                    <a:pt x="2528" y="4279"/>
                  </a:cubicBezTo>
                  <a:cubicBezTo>
                    <a:pt x="2514" y="4316"/>
                    <a:pt x="2506" y="4360"/>
                    <a:pt x="2506" y="4404"/>
                  </a:cubicBezTo>
                  <a:cubicBezTo>
                    <a:pt x="2506" y="4529"/>
                    <a:pt x="2660" y="4646"/>
                    <a:pt x="2741" y="4682"/>
                  </a:cubicBezTo>
                  <a:cubicBezTo>
                    <a:pt x="2770" y="4697"/>
                    <a:pt x="2785" y="4712"/>
                    <a:pt x="2785" y="4719"/>
                  </a:cubicBezTo>
                  <a:cubicBezTo>
                    <a:pt x="2785" y="4726"/>
                    <a:pt x="2777" y="4734"/>
                    <a:pt x="2763" y="4741"/>
                  </a:cubicBezTo>
                  <a:cubicBezTo>
                    <a:pt x="2733" y="4770"/>
                    <a:pt x="2660" y="4822"/>
                    <a:pt x="2704" y="4887"/>
                  </a:cubicBezTo>
                  <a:cubicBezTo>
                    <a:pt x="2719" y="4910"/>
                    <a:pt x="2741" y="4917"/>
                    <a:pt x="2763" y="4924"/>
                  </a:cubicBezTo>
                  <a:cubicBezTo>
                    <a:pt x="2777" y="4932"/>
                    <a:pt x="2785" y="4939"/>
                    <a:pt x="2785" y="4946"/>
                  </a:cubicBezTo>
                  <a:cubicBezTo>
                    <a:pt x="2792" y="4953"/>
                    <a:pt x="2792" y="4968"/>
                    <a:pt x="2792" y="4975"/>
                  </a:cubicBezTo>
                  <a:cubicBezTo>
                    <a:pt x="2785" y="5005"/>
                    <a:pt x="2785" y="5056"/>
                    <a:pt x="2865" y="5078"/>
                  </a:cubicBezTo>
                  <a:cubicBezTo>
                    <a:pt x="2946" y="5100"/>
                    <a:pt x="3004" y="5137"/>
                    <a:pt x="3121" y="5254"/>
                  </a:cubicBezTo>
                  <a:cubicBezTo>
                    <a:pt x="3238" y="5371"/>
                    <a:pt x="3253" y="5569"/>
                    <a:pt x="3238" y="5613"/>
                  </a:cubicBezTo>
                  <a:cubicBezTo>
                    <a:pt x="3238" y="5613"/>
                    <a:pt x="3238" y="5620"/>
                    <a:pt x="3223" y="5620"/>
                  </a:cubicBezTo>
                  <a:cubicBezTo>
                    <a:pt x="3216" y="5628"/>
                    <a:pt x="3194" y="5635"/>
                    <a:pt x="3194" y="5650"/>
                  </a:cubicBezTo>
                  <a:cubicBezTo>
                    <a:pt x="3187" y="5672"/>
                    <a:pt x="3194" y="5686"/>
                    <a:pt x="3201" y="5694"/>
                  </a:cubicBezTo>
                  <a:cubicBezTo>
                    <a:pt x="3231" y="5738"/>
                    <a:pt x="3231" y="5774"/>
                    <a:pt x="3201" y="5818"/>
                  </a:cubicBezTo>
                  <a:cubicBezTo>
                    <a:pt x="3150" y="5891"/>
                    <a:pt x="3143" y="5979"/>
                    <a:pt x="3187" y="6060"/>
                  </a:cubicBezTo>
                  <a:cubicBezTo>
                    <a:pt x="3209" y="6111"/>
                    <a:pt x="3238" y="6119"/>
                    <a:pt x="3260" y="6119"/>
                  </a:cubicBezTo>
                  <a:cubicBezTo>
                    <a:pt x="3282" y="6126"/>
                    <a:pt x="3297" y="6126"/>
                    <a:pt x="3311" y="6155"/>
                  </a:cubicBezTo>
                  <a:cubicBezTo>
                    <a:pt x="3326" y="6177"/>
                    <a:pt x="3326" y="6199"/>
                    <a:pt x="3318" y="6221"/>
                  </a:cubicBezTo>
                  <a:cubicBezTo>
                    <a:pt x="3304" y="6236"/>
                    <a:pt x="3289" y="6243"/>
                    <a:pt x="3282" y="6243"/>
                  </a:cubicBezTo>
                  <a:cubicBezTo>
                    <a:pt x="3275" y="6243"/>
                    <a:pt x="3267" y="6243"/>
                    <a:pt x="3260" y="6243"/>
                  </a:cubicBezTo>
                  <a:cubicBezTo>
                    <a:pt x="3253" y="6243"/>
                    <a:pt x="3238" y="6243"/>
                    <a:pt x="3231" y="6243"/>
                  </a:cubicBezTo>
                  <a:cubicBezTo>
                    <a:pt x="3201" y="6243"/>
                    <a:pt x="3157" y="6251"/>
                    <a:pt x="3128" y="6272"/>
                  </a:cubicBezTo>
                  <a:cubicBezTo>
                    <a:pt x="3121" y="6272"/>
                    <a:pt x="3113" y="6258"/>
                    <a:pt x="3106" y="6258"/>
                  </a:cubicBezTo>
                  <a:cubicBezTo>
                    <a:pt x="3085" y="6229"/>
                    <a:pt x="3041" y="6192"/>
                    <a:pt x="2983" y="6177"/>
                  </a:cubicBezTo>
                  <a:cubicBezTo>
                    <a:pt x="2946" y="6170"/>
                    <a:pt x="2924" y="6170"/>
                    <a:pt x="2909" y="6170"/>
                  </a:cubicBezTo>
                  <a:cubicBezTo>
                    <a:pt x="2836" y="6170"/>
                    <a:pt x="2821" y="6221"/>
                    <a:pt x="2814" y="6280"/>
                  </a:cubicBezTo>
                  <a:cubicBezTo>
                    <a:pt x="2792" y="6353"/>
                    <a:pt x="2858" y="6412"/>
                    <a:pt x="2917" y="6456"/>
                  </a:cubicBezTo>
                  <a:cubicBezTo>
                    <a:pt x="2909" y="6456"/>
                    <a:pt x="2902" y="6463"/>
                    <a:pt x="2902" y="6470"/>
                  </a:cubicBezTo>
                  <a:cubicBezTo>
                    <a:pt x="2887" y="6507"/>
                    <a:pt x="2917" y="6551"/>
                    <a:pt x="2938" y="6580"/>
                  </a:cubicBezTo>
                  <a:cubicBezTo>
                    <a:pt x="2960" y="6602"/>
                    <a:pt x="2968" y="6639"/>
                    <a:pt x="2960" y="6683"/>
                  </a:cubicBezTo>
                  <a:cubicBezTo>
                    <a:pt x="2960" y="6720"/>
                    <a:pt x="2946" y="6749"/>
                    <a:pt x="2938" y="6763"/>
                  </a:cubicBezTo>
                  <a:cubicBezTo>
                    <a:pt x="2917" y="6749"/>
                    <a:pt x="2887" y="6734"/>
                    <a:pt x="2865" y="6734"/>
                  </a:cubicBezTo>
                  <a:cubicBezTo>
                    <a:pt x="2836" y="6734"/>
                    <a:pt x="2807" y="6756"/>
                    <a:pt x="2799" y="6793"/>
                  </a:cubicBezTo>
                  <a:cubicBezTo>
                    <a:pt x="2792" y="6815"/>
                    <a:pt x="2807" y="6837"/>
                    <a:pt x="2814" y="6859"/>
                  </a:cubicBezTo>
                  <a:cubicBezTo>
                    <a:pt x="2763" y="6873"/>
                    <a:pt x="2711" y="6903"/>
                    <a:pt x="2660" y="6947"/>
                  </a:cubicBezTo>
                  <a:cubicBezTo>
                    <a:pt x="2653" y="6954"/>
                    <a:pt x="2638" y="6961"/>
                    <a:pt x="2631" y="6961"/>
                  </a:cubicBezTo>
                  <a:cubicBezTo>
                    <a:pt x="2616" y="6961"/>
                    <a:pt x="2602" y="6947"/>
                    <a:pt x="2587" y="6932"/>
                  </a:cubicBezTo>
                  <a:cubicBezTo>
                    <a:pt x="2572" y="6925"/>
                    <a:pt x="2565" y="6917"/>
                    <a:pt x="2550" y="6903"/>
                  </a:cubicBezTo>
                  <a:cubicBezTo>
                    <a:pt x="2543" y="6903"/>
                    <a:pt x="2528" y="6903"/>
                    <a:pt x="2521" y="6903"/>
                  </a:cubicBezTo>
                  <a:cubicBezTo>
                    <a:pt x="2440" y="6903"/>
                    <a:pt x="2345" y="7049"/>
                    <a:pt x="2301" y="7144"/>
                  </a:cubicBezTo>
                  <a:cubicBezTo>
                    <a:pt x="2279" y="7196"/>
                    <a:pt x="2257" y="7225"/>
                    <a:pt x="2235" y="7240"/>
                  </a:cubicBezTo>
                  <a:cubicBezTo>
                    <a:pt x="2220" y="7254"/>
                    <a:pt x="2206" y="7269"/>
                    <a:pt x="2206" y="7291"/>
                  </a:cubicBezTo>
                  <a:cubicBezTo>
                    <a:pt x="2206" y="7320"/>
                    <a:pt x="2228" y="7335"/>
                    <a:pt x="2243" y="7342"/>
                  </a:cubicBezTo>
                  <a:cubicBezTo>
                    <a:pt x="2294" y="7379"/>
                    <a:pt x="2389" y="7518"/>
                    <a:pt x="2433" y="7584"/>
                  </a:cubicBezTo>
                  <a:cubicBezTo>
                    <a:pt x="2433" y="7613"/>
                    <a:pt x="2426" y="7665"/>
                    <a:pt x="2433" y="7782"/>
                  </a:cubicBezTo>
                  <a:cubicBezTo>
                    <a:pt x="2440" y="7877"/>
                    <a:pt x="2499" y="7987"/>
                    <a:pt x="2543" y="8082"/>
                  </a:cubicBezTo>
                  <a:cubicBezTo>
                    <a:pt x="2579" y="8156"/>
                    <a:pt x="2616" y="8229"/>
                    <a:pt x="2616" y="8273"/>
                  </a:cubicBezTo>
                  <a:cubicBezTo>
                    <a:pt x="2616" y="8368"/>
                    <a:pt x="2550" y="8529"/>
                    <a:pt x="2492" y="8573"/>
                  </a:cubicBezTo>
                  <a:cubicBezTo>
                    <a:pt x="2440" y="8625"/>
                    <a:pt x="2469" y="8669"/>
                    <a:pt x="2492" y="8705"/>
                  </a:cubicBezTo>
                  <a:cubicBezTo>
                    <a:pt x="2506" y="8734"/>
                    <a:pt x="2528" y="8764"/>
                    <a:pt x="2514" y="8808"/>
                  </a:cubicBezTo>
                  <a:cubicBezTo>
                    <a:pt x="2514" y="8822"/>
                    <a:pt x="2506" y="8837"/>
                    <a:pt x="2499" y="8852"/>
                  </a:cubicBezTo>
                  <a:cubicBezTo>
                    <a:pt x="2469" y="8932"/>
                    <a:pt x="2462" y="8976"/>
                    <a:pt x="2557" y="9064"/>
                  </a:cubicBezTo>
                  <a:cubicBezTo>
                    <a:pt x="2579" y="9086"/>
                    <a:pt x="2594" y="9094"/>
                    <a:pt x="2594" y="9101"/>
                  </a:cubicBezTo>
                  <a:cubicBezTo>
                    <a:pt x="2587" y="9108"/>
                    <a:pt x="2579" y="9108"/>
                    <a:pt x="2572" y="9115"/>
                  </a:cubicBezTo>
                  <a:cubicBezTo>
                    <a:pt x="2557" y="9123"/>
                    <a:pt x="2536" y="9130"/>
                    <a:pt x="2514" y="9138"/>
                  </a:cubicBezTo>
                  <a:cubicBezTo>
                    <a:pt x="2448" y="9189"/>
                    <a:pt x="2484" y="9247"/>
                    <a:pt x="2521" y="9306"/>
                  </a:cubicBezTo>
                  <a:cubicBezTo>
                    <a:pt x="2536" y="9343"/>
                    <a:pt x="2557" y="9372"/>
                    <a:pt x="2572" y="9416"/>
                  </a:cubicBezTo>
                  <a:cubicBezTo>
                    <a:pt x="2602" y="9475"/>
                    <a:pt x="2579" y="9533"/>
                    <a:pt x="2565" y="9555"/>
                  </a:cubicBezTo>
                  <a:cubicBezTo>
                    <a:pt x="2557" y="9584"/>
                    <a:pt x="2543" y="9599"/>
                    <a:pt x="2528" y="9606"/>
                  </a:cubicBezTo>
                  <a:cubicBezTo>
                    <a:pt x="2506" y="9570"/>
                    <a:pt x="2462" y="9541"/>
                    <a:pt x="2411" y="9541"/>
                  </a:cubicBezTo>
                  <a:cubicBezTo>
                    <a:pt x="2382" y="9541"/>
                    <a:pt x="2345" y="9555"/>
                    <a:pt x="2323" y="9577"/>
                  </a:cubicBezTo>
                  <a:cubicBezTo>
                    <a:pt x="2286" y="9606"/>
                    <a:pt x="2235" y="9636"/>
                    <a:pt x="2184" y="9636"/>
                  </a:cubicBezTo>
                  <a:cubicBezTo>
                    <a:pt x="2162" y="9636"/>
                    <a:pt x="2133" y="9629"/>
                    <a:pt x="2103" y="9614"/>
                  </a:cubicBezTo>
                  <a:cubicBezTo>
                    <a:pt x="2074" y="9599"/>
                    <a:pt x="2052" y="9592"/>
                    <a:pt x="2023" y="9592"/>
                  </a:cubicBezTo>
                  <a:cubicBezTo>
                    <a:pt x="1957" y="9592"/>
                    <a:pt x="1913" y="9643"/>
                    <a:pt x="1883" y="9680"/>
                  </a:cubicBezTo>
                  <a:cubicBezTo>
                    <a:pt x="1876" y="9694"/>
                    <a:pt x="1876" y="9694"/>
                    <a:pt x="1876" y="9694"/>
                  </a:cubicBezTo>
                  <a:cubicBezTo>
                    <a:pt x="1832" y="9738"/>
                    <a:pt x="1766" y="9782"/>
                    <a:pt x="1700" y="9797"/>
                  </a:cubicBezTo>
                  <a:cubicBezTo>
                    <a:pt x="1693" y="9797"/>
                    <a:pt x="1678" y="9797"/>
                    <a:pt x="1671" y="9797"/>
                  </a:cubicBezTo>
                  <a:cubicBezTo>
                    <a:pt x="1597" y="9812"/>
                    <a:pt x="1502" y="9826"/>
                    <a:pt x="1458" y="9870"/>
                  </a:cubicBezTo>
                  <a:cubicBezTo>
                    <a:pt x="1451" y="9878"/>
                    <a:pt x="1429" y="9900"/>
                    <a:pt x="1436" y="9929"/>
                  </a:cubicBezTo>
                  <a:cubicBezTo>
                    <a:pt x="1436" y="9958"/>
                    <a:pt x="1466" y="9973"/>
                    <a:pt x="1502" y="9995"/>
                  </a:cubicBezTo>
                  <a:cubicBezTo>
                    <a:pt x="1510" y="10002"/>
                    <a:pt x="1524" y="10010"/>
                    <a:pt x="1539" y="10017"/>
                  </a:cubicBezTo>
                  <a:cubicBezTo>
                    <a:pt x="1590" y="10053"/>
                    <a:pt x="1686" y="10068"/>
                    <a:pt x="1752" y="10075"/>
                  </a:cubicBezTo>
                  <a:cubicBezTo>
                    <a:pt x="1788" y="10083"/>
                    <a:pt x="1788" y="10083"/>
                    <a:pt x="1788" y="10083"/>
                  </a:cubicBezTo>
                  <a:cubicBezTo>
                    <a:pt x="1781" y="10046"/>
                    <a:pt x="1781" y="10046"/>
                    <a:pt x="1781" y="10046"/>
                  </a:cubicBezTo>
                  <a:cubicBezTo>
                    <a:pt x="1781" y="10039"/>
                    <a:pt x="1781" y="10039"/>
                    <a:pt x="1781" y="10039"/>
                  </a:cubicBezTo>
                  <a:cubicBezTo>
                    <a:pt x="1795" y="9995"/>
                    <a:pt x="1817" y="9922"/>
                    <a:pt x="1839" y="9907"/>
                  </a:cubicBezTo>
                  <a:cubicBezTo>
                    <a:pt x="1847" y="9900"/>
                    <a:pt x="1861" y="9892"/>
                    <a:pt x="1869" y="9892"/>
                  </a:cubicBezTo>
                  <a:cubicBezTo>
                    <a:pt x="1891" y="9892"/>
                    <a:pt x="1905" y="9900"/>
                    <a:pt x="1913" y="9914"/>
                  </a:cubicBezTo>
                  <a:cubicBezTo>
                    <a:pt x="1913" y="9914"/>
                    <a:pt x="1920" y="9922"/>
                    <a:pt x="1913" y="9944"/>
                  </a:cubicBezTo>
                  <a:cubicBezTo>
                    <a:pt x="1898" y="10002"/>
                    <a:pt x="1913" y="10039"/>
                    <a:pt x="1927" y="10061"/>
                  </a:cubicBezTo>
                  <a:cubicBezTo>
                    <a:pt x="1942" y="10083"/>
                    <a:pt x="1971" y="10097"/>
                    <a:pt x="2001" y="10097"/>
                  </a:cubicBezTo>
                  <a:cubicBezTo>
                    <a:pt x="2015" y="10097"/>
                    <a:pt x="2023" y="10090"/>
                    <a:pt x="2030" y="10090"/>
                  </a:cubicBezTo>
                  <a:cubicBezTo>
                    <a:pt x="2037" y="10090"/>
                    <a:pt x="2052" y="10090"/>
                    <a:pt x="2067" y="10083"/>
                  </a:cubicBezTo>
                  <a:cubicBezTo>
                    <a:pt x="2111" y="10075"/>
                    <a:pt x="2162" y="10068"/>
                    <a:pt x="2198" y="10068"/>
                  </a:cubicBezTo>
                  <a:cubicBezTo>
                    <a:pt x="2220" y="10068"/>
                    <a:pt x="2220" y="10068"/>
                    <a:pt x="2228" y="10068"/>
                  </a:cubicBezTo>
                  <a:cubicBezTo>
                    <a:pt x="2235" y="10083"/>
                    <a:pt x="2235" y="10097"/>
                    <a:pt x="2243" y="10112"/>
                  </a:cubicBezTo>
                  <a:cubicBezTo>
                    <a:pt x="2257" y="10141"/>
                    <a:pt x="2272" y="10185"/>
                    <a:pt x="2308" y="10222"/>
                  </a:cubicBezTo>
                  <a:cubicBezTo>
                    <a:pt x="2352" y="10266"/>
                    <a:pt x="2426" y="10288"/>
                    <a:pt x="2469" y="10288"/>
                  </a:cubicBezTo>
                  <a:cubicBezTo>
                    <a:pt x="2477" y="10288"/>
                    <a:pt x="2484" y="10288"/>
                    <a:pt x="2492" y="10288"/>
                  </a:cubicBezTo>
                  <a:cubicBezTo>
                    <a:pt x="2506" y="10295"/>
                    <a:pt x="2536" y="10332"/>
                    <a:pt x="2543" y="10376"/>
                  </a:cubicBezTo>
                  <a:cubicBezTo>
                    <a:pt x="2543" y="10391"/>
                    <a:pt x="2550" y="10413"/>
                    <a:pt x="2536" y="10427"/>
                  </a:cubicBezTo>
                  <a:cubicBezTo>
                    <a:pt x="2499" y="10464"/>
                    <a:pt x="2477" y="10508"/>
                    <a:pt x="2484" y="10552"/>
                  </a:cubicBezTo>
                  <a:cubicBezTo>
                    <a:pt x="2492" y="10581"/>
                    <a:pt x="2506" y="10610"/>
                    <a:pt x="2543" y="10632"/>
                  </a:cubicBezTo>
                  <a:cubicBezTo>
                    <a:pt x="2565" y="10647"/>
                    <a:pt x="2602" y="10654"/>
                    <a:pt x="2631" y="10654"/>
                  </a:cubicBezTo>
                  <a:cubicBezTo>
                    <a:pt x="2704" y="10654"/>
                    <a:pt x="2763" y="10625"/>
                    <a:pt x="2777" y="10574"/>
                  </a:cubicBezTo>
                  <a:cubicBezTo>
                    <a:pt x="2785" y="10559"/>
                    <a:pt x="2785" y="10559"/>
                    <a:pt x="2792" y="10559"/>
                  </a:cubicBezTo>
                  <a:cubicBezTo>
                    <a:pt x="2792" y="10559"/>
                    <a:pt x="2807" y="10559"/>
                    <a:pt x="2814" y="10574"/>
                  </a:cubicBezTo>
                  <a:cubicBezTo>
                    <a:pt x="2821" y="10581"/>
                    <a:pt x="2829" y="10603"/>
                    <a:pt x="2821" y="10632"/>
                  </a:cubicBezTo>
                  <a:cubicBezTo>
                    <a:pt x="2814" y="10662"/>
                    <a:pt x="2814" y="10684"/>
                    <a:pt x="2807" y="10706"/>
                  </a:cubicBezTo>
                  <a:cubicBezTo>
                    <a:pt x="2799" y="10764"/>
                    <a:pt x="2792" y="10801"/>
                    <a:pt x="2763" y="10823"/>
                  </a:cubicBezTo>
                  <a:cubicBezTo>
                    <a:pt x="2733" y="10845"/>
                    <a:pt x="2719" y="10882"/>
                    <a:pt x="2733" y="10911"/>
                  </a:cubicBezTo>
                  <a:cubicBezTo>
                    <a:pt x="2741" y="10940"/>
                    <a:pt x="2763" y="10955"/>
                    <a:pt x="2799" y="10955"/>
                  </a:cubicBezTo>
                  <a:cubicBezTo>
                    <a:pt x="2814" y="10955"/>
                    <a:pt x="2821" y="10955"/>
                    <a:pt x="2836" y="10955"/>
                  </a:cubicBezTo>
                  <a:cubicBezTo>
                    <a:pt x="2843" y="10947"/>
                    <a:pt x="2851" y="10947"/>
                    <a:pt x="2865" y="10947"/>
                  </a:cubicBezTo>
                  <a:cubicBezTo>
                    <a:pt x="2953" y="10918"/>
                    <a:pt x="3106" y="10882"/>
                    <a:pt x="3150" y="10764"/>
                  </a:cubicBezTo>
                  <a:cubicBezTo>
                    <a:pt x="3194" y="10662"/>
                    <a:pt x="3275" y="10589"/>
                    <a:pt x="3311" y="10581"/>
                  </a:cubicBezTo>
                  <a:cubicBezTo>
                    <a:pt x="3355" y="10566"/>
                    <a:pt x="3377" y="10522"/>
                    <a:pt x="3392" y="10479"/>
                  </a:cubicBezTo>
                  <a:cubicBezTo>
                    <a:pt x="3399" y="10456"/>
                    <a:pt x="3414" y="10434"/>
                    <a:pt x="3421" y="10420"/>
                  </a:cubicBezTo>
                  <a:cubicBezTo>
                    <a:pt x="3450" y="10369"/>
                    <a:pt x="3458" y="10281"/>
                    <a:pt x="3443" y="10222"/>
                  </a:cubicBezTo>
                  <a:cubicBezTo>
                    <a:pt x="3428" y="10193"/>
                    <a:pt x="3414" y="10171"/>
                    <a:pt x="3399" y="10156"/>
                  </a:cubicBezTo>
                  <a:cubicBezTo>
                    <a:pt x="3363" y="10141"/>
                    <a:pt x="3348" y="10134"/>
                    <a:pt x="3370" y="10068"/>
                  </a:cubicBezTo>
                  <a:cubicBezTo>
                    <a:pt x="3370" y="10053"/>
                    <a:pt x="3377" y="10032"/>
                    <a:pt x="3377" y="10017"/>
                  </a:cubicBezTo>
                  <a:cubicBezTo>
                    <a:pt x="3392" y="10039"/>
                    <a:pt x="3414" y="10053"/>
                    <a:pt x="3436" y="10061"/>
                  </a:cubicBezTo>
                  <a:cubicBezTo>
                    <a:pt x="3450" y="10061"/>
                    <a:pt x="3480" y="10061"/>
                    <a:pt x="3502" y="10061"/>
                  </a:cubicBezTo>
                  <a:cubicBezTo>
                    <a:pt x="3560" y="10061"/>
                    <a:pt x="3663" y="10053"/>
                    <a:pt x="3685" y="9980"/>
                  </a:cubicBezTo>
                  <a:cubicBezTo>
                    <a:pt x="3685" y="9965"/>
                    <a:pt x="3700" y="9951"/>
                    <a:pt x="3729" y="9951"/>
                  </a:cubicBezTo>
                  <a:cubicBezTo>
                    <a:pt x="3751" y="9951"/>
                    <a:pt x="3773" y="9958"/>
                    <a:pt x="3795" y="9973"/>
                  </a:cubicBezTo>
                  <a:cubicBezTo>
                    <a:pt x="3824" y="9995"/>
                    <a:pt x="3868" y="10010"/>
                    <a:pt x="3912" y="10024"/>
                  </a:cubicBezTo>
                  <a:cubicBezTo>
                    <a:pt x="3956" y="10039"/>
                    <a:pt x="4000" y="10061"/>
                    <a:pt x="4022" y="10075"/>
                  </a:cubicBezTo>
                  <a:cubicBezTo>
                    <a:pt x="4051" y="10097"/>
                    <a:pt x="4081" y="10105"/>
                    <a:pt x="4110" y="10105"/>
                  </a:cubicBezTo>
                  <a:cubicBezTo>
                    <a:pt x="4147" y="10105"/>
                    <a:pt x="4191" y="10090"/>
                    <a:pt x="4235" y="10068"/>
                  </a:cubicBezTo>
                  <a:cubicBezTo>
                    <a:pt x="4249" y="10061"/>
                    <a:pt x="4256" y="10053"/>
                    <a:pt x="4271" y="10053"/>
                  </a:cubicBezTo>
                  <a:cubicBezTo>
                    <a:pt x="4293" y="10053"/>
                    <a:pt x="4315" y="10068"/>
                    <a:pt x="4315" y="10083"/>
                  </a:cubicBezTo>
                  <a:cubicBezTo>
                    <a:pt x="4323" y="10097"/>
                    <a:pt x="4300" y="10112"/>
                    <a:pt x="4293" y="10120"/>
                  </a:cubicBezTo>
                  <a:cubicBezTo>
                    <a:pt x="4278" y="10127"/>
                    <a:pt x="4242" y="10156"/>
                    <a:pt x="4249" y="10193"/>
                  </a:cubicBezTo>
                  <a:cubicBezTo>
                    <a:pt x="4264" y="10229"/>
                    <a:pt x="4308" y="10229"/>
                    <a:pt x="4359" y="10229"/>
                  </a:cubicBezTo>
                  <a:cubicBezTo>
                    <a:pt x="4366" y="10229"/>
                    <a:pt x="4381" y="10229"/>
                    <a:pt x="4388" y="10229"/>
                  </a:cubicBezTo>
                  <a:cubicBezTo>
                    <a:pt x="4396" y="10229"/>
                    <a:pt x="4403" y="10229"/>
                    <a:pt x="4418" y="10229"/>
                  </a:cubicBezTo>
                  <a:cubicBezTo>
                    <a:pt x="4462" y="10229"/>
                    <a:pt x="4498" y="10310"/>
                    <a:pt x="4513" y="10354"/>
                  </a:cubicBezTo>
                  <a:cubicBezTo>
                    <a:pt x="4513" y="10354"/>
                    <a:pt x="4513" y="10361"/>
                    <a:pt x="4513" y="10369"/>
                  </a:cubicBezTo>
                  <a:cubicBezTo>
                    <a:pt x="4520" y="10413"/>
                    <a:pt x="4535" y="10493"/>
                    <a:pt x="4667" y="10493"/>
                  </a:cubicBezTo>
                  <a:cubicBezTo>
                    <a:pt x="4681" y="10493"/>
                    <a:pt x="4689" y="10493"/>
                    <a:pt x="4704" y="10486"/>
                  </a:cubicBezTo>
                  <a:cubicBezTo>
                    <a:pt x="4791" y="10479"/>
                    <a:pt x="4916" y="10442"/>
                    <a:pt x="5011" y="10405"/>
                  </a:cubicBezTo>
                  <a:cubicBezTo>
                    <a:pt x="5026" y="10398"/>
                    <a:pt x="5048" y="10391"/>
                    <a:pt x="5070" y="10383"/>
                  </a:cubicBezTo>
                  <a:cubicBezTo>
                    <a:pt x="5063" y="10398"/>
                    <a:pt x="5063" y="10413"/>
                    <a:pt x="5063" y="10420"/>
                  </a:cubicBezTo>
                  <a:cubicBezTo>
                    <a:pt x="5063" y="10434"/>
                    <a:pt x="5070" y="10456"/>
                    <a:pt x="5106" y="10471"/>
                  </a:cubicBezTo>
                  <a:cubicBezTo>
                    <a:pt x="5121" y="10486"/>
                    <a:pt x="5121" y="10486"/>
                    <a:pt x="5121" y="10486"/>
                  </a:cubicBezTo>
                  <a:cubicBezTo>
                    <a:pt x="5143" y="10493"/>
                    <a:pt x="5158" y="10501"/>
                    <a:pt x="5180" y="10501"/>
                  </a:cubicBezTo>
                  <a:cubicBezTo>
                    <a:pt x="5216" y="10501"/>
                    <a:pt x="5231" y="10479"/>
                    <a:pt x="5268" y="10434"/>
                  </a:cubicBezTo>
                  <a:cubicBezTo>
                    <a:pt x="5275" y="10420"/>
                    <a:pt x="5275" y="10420"/>
                    <a:pt x="5275" y="10420"/>
                  </a:cubicBezTo>
                  <a:cubicBezTo>
                    <a:pt x="5326" y="10347"/>
                    <a:pt x="5348" y="10317"/>
                    <a:pt x="5392" y="10317"/>
                  </a:cubicBezTo>
                  <a:cubicBezTo>
                    <a:pt x="5399" y="10317"/>
                    <a:pt x="5399" y="10317"/>
                    <a:pt x="5407" y="10317"/>
                  </a:cubicBezTo>
                  <a:cubicBezTo>
                    <a:pt x="5487" y="10332"/>
                    <a:pt x="5531" y="10339"/>
                    <a:pt x="5531" y="10339"/>
                  </a:cubicBezTo>
                  <a:cubicBezTo>
                    <a:pt x="5568" y="10347"/>
                    <a:pt x="5568" y="10347"/>
                    <a:pt x="5568" y="10347"/>
                  </a:cubicBezTo>
                  <a:cubicBezTo>
                    <a:pt x="5568" y="10310"/>
                    <a:pt x="5568" y="10310"/>
                    <a:pt x="5568" y="10310"/>
                  </a:cubicBezTo>
                  <a:cubicBezTo>
                    <a:pt x="5568" y="10244"/>
                    <a:pt x="5568" y="10244"/>
                    <a:pt x="5568" y="10244"/>
                  </a:cubicBezTo>
                  <a:cubicBezTo>
                    <a:pt x="5568" y="10156"/>
                    <a:pt x="5568" y="10156"/>
                    <a:pt x="5568" y="10156"/>
                  </a:cubicBezTo>
                  <a:cubicBezTo>
                    <a:pt x="5524" y="10215"/>
                    <a:pt x="5524" y="10215"/>
                    <a:pt x="5524" y="10215"/>
                  </a:cubicBezTo>
                  <a:lnTo>
                    <a:pt x="5524" y="10215"/>
                  </a:lnTo>
                  <a:cubicBezTo>
                    <a:pt x="5531" y="10112"/>
                    <a:pt x="5539" y="10105"/>
                    <a:pt x="5605" y="10105"/>
                  </a:cubicBezTo>
                  <a:cubicBezTo>
                    <a:pt x="5627" y="10105"/>
                    <a:pt x="5649" y="10105"/>
                    <a:pt x="5671" y="10105"/>
                  </a:cubicBezTo>
                  <a:cubicBezTo>
                    <a:pt x="5700" y="10105"/>
                    <a:pt x="5722" y="10112"/>
                    <a:pt x="5751" y="10112"/>
                  </a:cubicBezTo>
                  <a:cubicBezTo>
                    <a:pt x="5788" y="10112"/>
                    <a:pt x="5847" y="10105"/>
                    <a:pt x="5883" y="10075"/>
                  </a:cubicBezTo>
                  <a:cubicBezTo>
                    <a:pt x="5927" y="10039"/>
                    <a:pt x="5913" y="10010"/>
                    <a:pt x="5905" y="9988"/>
                  </a:cubicBezTo>
                  <a:cubicBezTo>
                    <a:pt x="5905" y="9973"/>
                    <a:pt x="5898" y="9958"/>
                    <a:pt x="5927" y="9922"/>
                  </a:cubicBezTo>
                  <a:cubicBezTo>
                    <a:pt x="5978" y="9848"/>
                    <a:pt x="6030" y="9841"/>
                    <a:pt x="6103" y="9834"/>
                  </a:cubicBezTo>
                  <a:cubicBezTo>
                    <a:pt x="6132" y="9834"/>
                    <a:pt x="6132" y="9834"/>
                    <a:pt x="6132" y="9834"/>
                  </a:cubicBezTo>
                  <a:cubicBezTo>
                    <a:pt x="6140" y="9834"/>
                    <a:pt x="6147" y="9834"/>
                    <a:pt x="6154" y="9834"/>
                  </a:cubicBezTo>
                  <a:cubicBezTo>
                    <a:pt x="6176" y="9834"/>
                    <a:pt x="6206" y="9834"/>
                    <a:pt x="6235" y="9834"/>
                  </a:cubicBezTo>
                  <a:cubicBezTo>
                    <a:pt x="6271" y="9841"/>
                    <a:pt x="6308" y="9841"/>
                    <a:pt x="6345" y="9841"/>
                  </a:cubicBezTo>
                  <a:cubicBezTo>
                    <a:pt x="6411" y="9841"/>
                    <a:pt x="6455" y="9826"/>
                    <a:pt x="6484" y="9804"/>
                  </a:cubicBezTo>
                  <a:cubicBezTo>
                    <a:pt x="6550" y="9746"/>
                    <a:pt x="6740" y="9680"/>
                    <a:pt x="6821" y="9680"/>
                  </a:cubicBezTo>
                  <a:cubicBezTo>
                    <a:pt x="6828" y="9680"/>
                    <a:pt x="6828" y="9680"/>
                    <a:pt x="6836" y="9687"/>
                  </a:cubicBezTo>
                  <a:cubicBezTo>
                    <a:pt x="6872" y="9687"/>
                    <a:pt x="6909" y="9694"/>
                    <a:pt x="6946" y="9702"/>
                  </a:cubicBezTo>
                  <a:cubicBezTo>
                    <a:pt x="6990" y="9709"/>
                    <a:pt x="7026" y="9709"/>
                    <a:pt x="7063" y="9716"/>
                  </a:cubicBezTo>
                  <a:cubicBezTo>
                    <a:pt x="7092" y="9724"/>
                    <a:pt x="7121" y="9724"/>
                    <a:pt x="7144" y="9724"/>
                  </a:cubicBezTo>
                  <a:cubicBezTo>
                    <a:pt x="7173" y="9724"/>
                    <a:pt x="7195" y="9724"/>
                    <a:pt x="7231" y="9716"/>
                  </a:cubicBezTo>
                  <a:lnTo>
                    <a:pt x="7231" y="9716"/>
                  </a:lnTo>
                  <a:cubicBezTo>
                    <a:pt x="7275" y="9709"/>
                    <a:pt x="7297" y="9709"/>
                    <a:pt x="7312" y="9680"/>
                  </a:cubicBezTo>
                  <a:cubicBezTo>
                    <a:pt x="7327" y="9651"/>
                    <a:pt x="7312" y="9621"/>
                    <a:pt x="7275" y="9570"/>
                  </a:cubicBezTo>
                  <a:cubicBezTo>
                    <a:pt x="7261" y="9548"/>
                    <a:pt x="7261" y="9548"/>
                    <a:pt x="7261" y="9548"/>
                  </a:cubicBezTo>
                  <a:cubicBezTo>
                    <a:pt x="7209" y="9467"/>
                    <a:pt x="7195" y="9438"/>
                    <a:pt x="7239" y="9394"/>
                  </a:cubicBezTo>
                  <a:cubicBezTo>
                    <a:pt x="7261" y="9365"/>
                    <a:pt x="7283" y="9343"/>
                    <a:pt x="7305" y="9313"/>
                  </a:cubicBezTo>
                  <a:cubicBezTo>
                    <a:pt x="7327" y="9291"/>
                    <a:pt x="7341" y="9270"/>
                    <a:pt x="7356" y="9255"/>
                  </a:cubicBezTo>
                  <a:cubicBezTo>
                    <a:pt x="7356" y="9284"/>
                    <a:pt x="7349" y="9335"/>
                    <a:pt x="7334" y="9365"/>
                  </a:cubicBezTo>
                  <a:cubicBezTo>
                    <a:pt x="7327" y="9379"/>
                    <a:pt x="7319" y="9401"/>
                    <a:pt x="7334" y="9423"/>
                  </a:cubicBezTo>
                  <a:cubicBezTo>
                    <a:pt x="7334" y="9438"/>
                    <a:pt x="7349" y="9445"/>
                    <a:pt x="7371" y="9445"/>
                  </a:cubicBezTo>
                  <a:cubicBezTo>
                    <a:pt x="7400" y="9445"/>
                    <a:pt x="7437" y="9438"/>
                    <a:pt x="7495" y="9409"/>
                  </a:cubicBezTo>
                  <a:cubicBezTo>
                    <a:pt x="7554" y="9387"/>
                    <a:pt x="7620" y="9372"/>
                    <a:pt x="7671" y="9372"/>
                  </a:cubicBezTo>
                  <a:cubicBezTo>
                    <a:pt x="7722" y="9372"/>
                    <a:pt x="7752" y="9387"/>
                    <a:pt x="7759" y="9394"/>
                  </a:cubicBezTo>
                  <a:cubicBezTo>
                    <a:pt x="7766" y="9409"/>
                    <a:pt x="7774" y="9423"/>
                    <a:pt x="7781" y="9438"/>
                  </a:cubicBezTo>
                  <a:cubicBezTo>
                    <a:pt x="7810" y="9497"/>
                    <a:pt x="7847" y="9570"/>
                    <a:pt x="7906" y="9592"/>
                  </a:cubicBezTo>
                  <a:cubicBezTo>
                    <a:pt x="7920" y="9599"/>
                    <a:pt x="7928" y="9599"/>
                    <a:pt x="7935" y="9606"/>
                  </a:cubicBezTo>
                  <a:cubicBezTo>
                    <a:pt x="7957" y="9614"/>
                    <a:pt x="7979" y="9621"/>
                    <a:pt x="8008" y="9621"/>
                  </a:cubicBezTo>
                  <a:cubicBezTo>
                    <a:pt x="8045" y="9621"/>
                    <a:pt x="8074" y="9599"/>
                    <a:pt x="8111" y="9563"/>
                  </a:cubicBezTo>
                  <a:cubicBezTo>
                    <a:pt x="8125" y="9548"/>
                    <a:pt x="8133" y="9533"/>
                    <a:pt x="8147" y="9519"/>
                  </a:cubicBezTo>
                  <a:cubicBezTo>
                    <a:pt x="8191" y="9460"/>
                    <a:pt x="8213" y="9431"/>
                    <a:pt x="8287" y="9423"/>
                  </a:cubicBezTo>
                  <a:cubicBezTo>
                    <a:pt x="8309" y="9423"/>
                    <a:pt x="8309" y="9423"/>
                    <a:pt x="8309" y="9423"/>
                  </a:cubicBezTo>
                  <a:cubicBezTo>
                    <a:pt x="8345" y="9416"/>
                    <a:pt x="8367" y="9416"/>
                    <a:pt x="8396" y="9416"/>
                  </a:cubicBezTo>
                  <a:cubicBezTo>
                    <a:pt x="8426" y="9416"/>
                    <a:pt x="8448" y="9423"/>
                    <a:pt x="8462" y="9438"/>
                  </a:cubicBezTo>
                  <a:cubicBezTo>
                    <a:pt x="8477" y="9453"/>
                    <a:pt x="8485" y="9467"/>
                    <a:pt x="8492" y="9489"/>
                  </a:cubicBezTo>
                  <a:cubicBezTo>
                    <a:pt x="8506" y="9526"/>
                    <a:pt x="8528" y="9563"/>
                    <a:pt x="8587" y="9592"/>
                  </a:cubicBezTo>
                  <a:cubicBezTo>
                    <a:pt x="8594" y="9599"/>
                    <a:pt x="8602" y="9599"/>
                    <a:pt x="8609" y="9599"/>
                  </a:cubicBezTo>
                  <a:cubicBezTo>
                    <a:pt x="8602" y="9606"/>
                    <a:pt x="8594" y="9614"/>
                    <a:pt x="8587" y="9621"/>
                  </a:cubicBezTo>
                  <a:cubicBezTo>
                    <a:pt x="8580" y="9629"/>
                    <a:pt x="8572" y="9636"/>
                    <a:pt x="8565" y="9643"/>
                  </a:cubicBezTo>
                  <a:cubicBezTo>
                    <a:pt x="8543" y="9665"/>
                    <a:pt x="8536" y="9694"/>
                    <a:pt x="8543" y="9724"/>
                  </a:cubicBezTo>
                  <a:cubicBezTo>
                    <a:pt x="8558" y="9775"/>
                    <a:pt x="8616" y="9834"/>
                    <a:pt x="8690" y="9863"/>
                  </a:cubicBezTo>
                  <a:cubicBezTo>
                    <a:pt x="8726" y="9878"/>
                    <a:pt x="8756" y="9914"/>
                    <a:pt x="8792" y="9944"/>
                  </a:cubicBezTo>
                  <a:cubicBezTo>
                    <a:pt x="8829" y="9988"/>
                    <a:pt x="8873" y="10032"/>
                    <a:pt x="8931" y="10046"/>
                  </a:cubicBezTo>
                  <a:cubicBezTo>
                    <a:pt x="9019" y="10068"/>
                    <a:pt x="9019" y="10068"/>
                    <a:pt x="9078" y="10083"/>
                  </a:cubicBezTo>
                  <a:cubicBezTo>
                    <a:pt x="9085" y="10083"/>
                    <a:pt x="9093" y="10083"/>
                    <a:pt x="9100" y="10083"/>
                  </a:cubicBezTo>
                  <a:cubicBezTo>
                    <a:pt x="9144" y="10083"/>
                    <a:pt x="9166" y="10053"/>
                    <a:pt x="9180" y="10032"/>
                  </a:cubicBezTo>
                  <a:cubicBezTo>
                    <a:pt x="9188" y="10017"/>
                    <a:pt x="9195" y="10002"/>
                    <a:pt x="9210" y="9995"/>
                  </a:cubicBezTo>
                  <a:cubicBezTo>
                    <a:pt x="9254" y="9951"/>
                    <a:pt x="9225" y="9907"/>
                    <a:pt x="9210" y="9878"/>
                  </a:cubicBezTo>
                  <a:cubicBezTo>
                    <a:pt x="9202" y="9863"/>
                    <a:pt x="9195" y="9848"/>
                    <a:pt x="9195" y="9834"/>
                  </a:cubicBezTo>
                  <a:cubicBezTo>
                    <a:pt x="9195" y="9819"/>
                    <a:pt x="9188" y="9797"/>
                    <a:pt x="9188" y="9782"/>
                  </a:cubicBezTo>
                  <a:cubicBezTo>
                    <a:pt x="9180" y="9738"/>
                    <a:pt x="9173" y="9709"/>
                    <a:pt x="9210" y="9665"/>
                  </a:cubicBezTo>
                  <a:cubicBezTo>
                    <a:pt x="9217" y="9651"/>
                    <a:pt x="9225" y="9643"/>
                    <a:pt x="9232" y="9636"/>
                  </a:cubicBezTo>
                  <a:cubicBezTo>
                    <a:pt x="9290" y="9570"/>
                    <a:pt x="9342" y="9511"/>
                    <a:pt x="9283" y="9409"/>
                  </a:cubicBezTo>
                  <a:cubicBezTo>
                    <a:pt x="9268" y="9394"/>
                    <a:pt x="9261" y="9372"/>
                    <a:pt x="9247" y="9350"/>
                  </a:cubicBezTo>
                  <a:cubicBezTo>
                    <a:pt x="9210" y="9270"/>
                    <a:pt x="9159" y="9167"/>
                    <a:pt x="9071" y="9167"/>
                  </a:cubicBezTo>
                  <a:cubicBezTo>
                    <a:pt x="9041" y="9167"/>
                    <a:pt x="9019" y="9182"/>
                    <a:pt x="8990" y="9196"/>
                  </a:cubicBezTo>
                  <a:cubicBezTo>
                    <a:pt x="8968" y="9211"/>
                    <a:pt x="8909" y="9247"/>
                    <a:pt x="8887" y="9247"/>
                  </a:cubicBezTo>
                  <a:cubicBezTo>
                    <a:pt x="8887" y="9247"/>
                    <a:pt x="8873" y="9225"/>
                    <a:pt x="8866" y="9203"/>
                  </a:cubicBezTo>
                  <a:cubicBezTo>
                    <a:pt x="8866" y="9189"/>
                    <a:pt x="8866" y="9189"/>
                    <a:pt x="8866" y="9189"/>
                  </a:cubicBezTo>
                  <a:cubicBezTo>
                    <a:pt x="8851" y="9145"/>
                    <a:pt x="8858" y="9138"/>
                    <a:pt x="8873" y="9108"/>
                  </a:cubicBezTo>
                  <a:cubicBezTo>
                    <a:pt x="8887" y="9086"/>
                    <a:pt x="8909" y="9064"/>
                    <a:pt x="8924" y="9028"/>
                  </a:cubicBezTo>
                  <a:cubicBezTo>
                    <a:pt x="8931" y="9006"/>
                    <a:pt x="8946" y="8984"/>
                    <a:pt x="8968" y="8954"/>
                  </a:cubicBezTo>
                  <a:cubicBezTo>
                    <a:pt x="9012" y="8881"/>
                    <a:pt x="9078" y="8793"/>
                    <a:pt x="9012" y="8683"/>
                  </a:cubicBezTo>
                  <a:cubicBezTo>
                    <a:pt x="8983" y="8639"/>
                    <a:pt x="8961" y="8595"/>
                    <a:pt x="8939" y="8559"/>
                  </a:cubicBezTo>
                  <a:cubicBezTo>
                    <a:pt x="8909" y="8485"/>
                    <a:pt x="8880" y="8434"/>
                    <a:pt x="8821" y="8412"/>
                  </a:cubicBezTo>
                  <a:cubicBezTo>
                    <a:pt x="8763" y="8390"/>
                    <a:pt x="8719" y="8332"/>
                    <a:pt x="8704" y="8265"/>
                  </a:cubicBezTo>
                  <a:cubicBezTo>
                    <a:pt x="8697" y="8192"/>
                    <a:pt x="8638" y="8170"/>
                    <a:pt x="8587" y="8148"/>
                  </a:cubicBezTo>
                  <a:cubicBezTo>
                    <a:pt x="8565" y="8141"/>
                    <a:pt x="8543" y="8134"/>
                    <a:pt x="8521" y="8119"/>
                  </a:cubicBezTo>
                  <a:cubicBezTo>
                    <a:pt x="8485" y="8097"/>
                    <a:pt x="8462" y="8075"/>
                    <a:pt x="8448" y="8046"/>
                  </a:cubicBezTo>
                  <a:cubicBezTo>
                    <a:pt x="8440" y="8016"/>
                    <a:pt x="8448" y="7987"/>
                    <a:pt x="8462" y="7958"/>
                  </a:cubicBezTo>
                  <a:cubicBezTo>
                    <a:pt x="8485" y="7929"/>
                    <a:pt x="8506" y="7914"/>
                    <a:pt x="8536" y="7892"/>
                  </a:cubicBezTo>
                  <a:cubicBezTo>
                    <a:pt x="8572" y="7877"/>
                    <a:pt x="8616" y="7855"/>
                    <a:pt x="8646" y="7797"/>
                  </a:cubicBezTo>
                  <a:cubicBezTo>
                    <a:pt x="8675" y="7753"/>
                    <a:pt x="8682" y="7716"/>
                    <a:pt x="8690" y="7694"/>
                  </a:cubicBezTo>
                  <a:cubicBezTo>
                    <a:pt x="8697" y="7657"/>
                    <a:pt x="8697" y="7650"/>
                    <a:pt x="8719" y="7643"/>
                  </a:cubicBezTo>
                  <a:cubicBezTo>
                    <a:pt x="8734" y="7635"/>
                    <a:pt x="8748" y="7635"/>
                    <a:pt x="8770" y="7635"/>
                  </a:cubicBezTo>
                  <a:cubicBezTo>
                    <a:pt x="8777" y="7635"/>
                    <a:pt x="8792" y="7635"/>
                    <a:pt x="8799" y="7635"/>
                  </a:cubicBezTo>
                  <a:cubicBezTo>
                    <a:pt x="8807" y="7635"/>
                    <a:pt x="8814" y="7635"/>
                    <a:pt x="8829" y="7635"/>
                  </a:cubicBezTo>
                  <a:cubicBezTo>
                    <a:pt x="8836" y="7635"/>
                    <a:pt x="8873" y="7635"/>
                    <a:pt x="8895" y="7606"/>
                  </a:cubicBezTo>
                  <a:cubicBezTo>
                    <a:pt x="8917" y="7570"/>
                    <a:pt x="9041" y="7445"/>
                    <a:pt x="9122" y="7415"/>
                  </a:cubicBezTo>
                  <a:cubicBezTo>
                    <a:pt x="9180" y="7394"/>
                    <a:pt x="9261" y="7372"/>
                    <a:pt x="9334" y="7357"/>
                  </a:cubicBezTo>
                  <a:cubicBezTo>
                    <a:pt x="9371" y="7350"/>
                    <a:pt x="9400" y="7342"/>
                    <a:pt x="9430" y="7335"/>
                  </a:cubicBezTo>
                  <a:cubicBezTo>
                    <a:pt x="9525" y="7313"/>
                    <a:pt x="9847" y="7130"/>
                    <a:pt x="9877" y="7005"/>
                  </a:cubicBezTo>
                  <a:cubicBezTo>
                    <a:pt x="9884" y="6954"/>
                    <a:pt x="9884" y="6910"/>
                    <a:pt x="9884" y="6873"/>
                  </a:cubicBezTo>
                  <a:cubicBezTo>
                    <a:pt x="9884" y="6837"/>
                    <a:pt x="9884" y="6807"/>
                    <a:pt x="9899" y="6771"/>
                  </a:cubicBezTo>
                  <a:cubicBezTo>
                    <a:pt x="9921" y="6697"/>
                    <a:pt x="9942" y="6624"/>
                    <a:pt x="9942" y="6624"/>
                  </a:cubicBezTo>
                  <a:cubicBezTo>
                    <a:pt x="9942" y="6617"/>
                    <a:pt x="9942" y="6617"/>
                    <a:pt x="9942" y="6617"/>
                  </a:cubicBezTo>
                  <a:cubicBezTo>
                    <a:pt x="9942" y="6602"/>
                    <a:pt x="9942" y="6602"/>
                    <a:pt x="9942" y="6602"/>
                  </a:cubicBezTo>
                  <a:cubicBezTo>
                    <a:pt x="9928" y="6573"/>
                    <a:pt x="9899" y="6478"/>
                    <a:pt x="9899" y="6434"/>
                  </a:cubicBezTo>
                  <a:cubicBezTo>
                    <a:pt x="9899" y="6426"/>
                    <a:pt x="9899" y="6426"/>
                    <a:pt x="9899" y="6419"/>
                  </a:cubicBezTo>
                  <a:cubicBezTo>
                    <a:pt x="9906" y="6419"/>
                    <a:pt x="9928" y="6412"/>
                    <a:pt x="9950" y="6390"/>
                  </a:cubicBezTo>
                  <a:cubicBezTo>
                    <a:pt x="9994" y="6360"/>
                    <a:pt x="10001" y="6346"/>
                    <a:pt x="10016" y="6331"/>
                  </a:cubicBezTo>
                  <a:cubicBezTo>
                    <a:pt x="10016" y="6316"/>
                    <a:pt x="10023" y="6309"/>
                    <a:pt x="10038" y="6294"/>
                  </a:cubicBezTo>
                  <a:lnTo>
                    <a:pt x="10038" y="6294"/>
                  </a:lnTo>
                  <a:cubicBezTo>
                    <a:pt x="10052" y="6309"/>
                    <a:pt x="10075" y="6331"/>
                    <a:pt x="10118" y="6353"/>
                  </a:cubicBezTo>
                  <a:cubicBezTo>
                    <a:pt x="10155" y="6368"/>
                    <a:pt x="10199" y="6375"/>
                    <a:pt x="10228" y="6382"/>
                  </a:cubicBezTo>
                  <a:cubicBezTo>
                    <a:pt x="10272" y="6390"/>
                    <a:pt x="10302" y="6397"/>
                    <a:pt x="10324" y="6412"/>
                  </a:cubicBezTo>
                  <a:cubicBezTo>
                    <a:pt x="10338" y="6419"/>
                    <a:pt x="10353" y="6441"/>
                    <a:pt x="10368" y="6456"/>
                  </a:cubicBezTo>
                  <a:cubicBezTo>
                    <a:pt x="10397" y="6492"/>
                    <a:pt x="10433" y="6529"/>
                    <a:pt x="10470" y="6529"/>
                  </a:cubicBezTo>
                  <a:cubicBezTo>
                    <a:pt x="10485" y="6529"/>
                    <a:pt x="10499" y="6522"/>
                    <a:pt x="10507" y="6514"/>
                  </a:cubicBezTo>
                  <a:cubicBezTo>
                    <a:pt x="10543" y="6492"/>
                    <a:pt x="10551" y="6463"/>
                    <a:pt x="10558" y="6434"/>
                  </a:cubicBezTo>
                  <a:cubicBezTo>
                    <a:pt x="10573" y="6412"/>
                    <a:pt x="10580" y="6390"/>
                    <a:pt x="10595" y="6360"/>
                  </a:cubicBezTo>
                  <a:cubicBezTo>
                    <a:pt x="10609" y="6338"/>
                    <a:pt x="10624" y="6331"/>
                    <a:pt x="10631" y="6324"/>
                  </a:cubicBezTo>
                  <a:cubicBezTo>
                    <a:pt x="10661" y="6302"/>
                    <a:pt x="10690" y="6280"/>
                    <a:pt x="10705" y="6199"/>
                  </a:cubicBezTo>
                  <a:cubicBezTo>
                    <a:pt x="10712" y="6170"/>
                    <a:pt x="10719" y="6141"/>
                    <a:pt x="10727" y="6111"/>
                  </a:cubicBezTo>
                  <a:cubicBezTo>
                    <a:pt x="10749" y="6038"/>
                    <a:pt x="10763" y="5979"/>
                    <a:pt x="10734" y="5928"/>
                  </a:cubicBezTo>
                  <a:cubicBezTo>
                    <a:pt x="10719" y="5913"/>
                    <a:pt x="10712" y="5906"/>
                    <a:pt x="10705" y="5899"/>
                  </a:cubicBezTo>
                  <a:cubicBezTo>
                    <a:pt x="10690" y="5877"/>
                    <a:pt x="10683" y="5870"/>
                    <a:pt x="10690" y="5803"/>
                  </a:cubicBezTo>
                  <a:cubicBezTo>
                    <a:pt x="10697" y="5774"/>
                    <a:pt x="10697" y="5752"/>
                    <a:pt x="10697" y="5738"/>
                  </a:cubicBezTo>
                  <a:cubicBezTo>
                    <a:pt x="10712" y="5679"/>
                    <a:pt x="10719" y="5642"/>
                    <a:pt x="10690" y="5584"/>
                  </a:cubicBezTo>
                  <a:cubicBezTo>
                    <a:pt x="10675" y="5562"/>
                    <a:pt x="10668" y="5547"/>
                    <a:pt x="10661" y="5532"/>
                  </a:cubicBezTo>
                  <a:cubicBezTo>
                    <a:pt x="10646" y="5496"/>
                    <a:pt x="10631" y="5466"/>
                    <a:pt x="10602" y="5430"/>
                  </a:cubicBezTo>
                  <a:cubicBezTo>
                    <a:pt x="10573" y="5386"/>
                    <a:pt x="10514" y="5298"/>
                    <a:pt x="10507" y="5269"/>
                  </a:cubicBezTo>
                  <a:cubicBezTo>
                    <a:pt x="10499" y="5246"/>
                    <a:pt x="10485" y="5232"/>
                    <a:pt x="10463" y="5232"/>
                  </a:cubicBezTo>
                  <a:cubicBezTo>
                    <a:pt x="10448" y="5232"/>
                    <a:pt x="10433" y="5239"/>
                    <a:pt x="10419" y="5239"/>
                  </a:cubicBezTo>
                  <a:cubicBezTo>
                    <a:pt x="10404" y="5246"/>
                    <a:pt x="10382" y="5246"/>
                    <a:pt x="10368" y="5246"/>
                  </a:cubicBezTo>
                  <a:cubicBezTo>
                    <a:pt x="10360" y="5246"/>
                    <a:pt x="10353" y="5246"/>
                    <a:pt x="10346" y="5246"/>
                  </a:cubicBezTo>
                  <a:cubicBezTo>
                    <a:pt x="10294" y="5239"/>
                    <a:pt x="10272" y="5210"/>
                    <a:pt x="10236" y="5129"/>
                  </a:cubicBezTo>
                  <a:cubicBezTo>
                    <a:pt x="10192" y="5034"/>
                    <a:pt x="10104" y="5012"/>
                    <a:pt x="10023" y="4990"/>
                  </a:cubicBezTo>
                  <a:cubicBezTo>
                    <a:pt x="10016" y="4983"/>
                    <a:pt x="10009" y="4983"/>
                    <a:pt x="10001" y="4983"/>
                  </a:cubicBezTo>
                  <a:cubicBezTo>
                    <a:pt x="9950" y="4983"/>
                    <a:pt x="9935" y="5027"/>
                    <a:pt x="9928" y="5056"/>
                  </a:cubicBezTo>
                  <a:cubicBezTo>
                    <a:pt x="9921" y="5056"/>
                    <a:pt x="9921" y="5063"/>
                    <a:pt x="9921" y="5071"/>
                  </a:cubicBezTo>
                  <a:cubicBezTo>
                    <a:pt x="9913" y="5071"/>
                    <a:pt x="9913" y="5063"/>
                    <a:pt x="9906" y="5063"/>
                  </a:cubicBezTo>
                  <a:cubicBezTo>
                    <a:pt x="9833" y="4997"/>
                    <a:pt x="9759" y="4968"/>
                    <a:pt x="9716" y="4961"/>
                  </a:cubicBezTo>
                  <a:cubicBezTo>
                    <a:pt x="9723" y="4946"/>
                    <a:pt x="9723" y="4932"/>
                    <a:pt x="9730" y="4917"/>
                  </a:cubicBezTo>
                  <a:cubicBezTo>
                    <a:pt x="9737" y="4873"/>
                    <a:pt x="9752" y="4829"/>
                    <a:pt x="9737" y="4792"/>
                  </a:cubicBezTo>
                  <a:cubicBezTo>
                    <a:pt x="9716" y="4726"/>
                    <a:pt x="9561" y="4551"/>
                    <a:pt x="9488" y="4536"/>
                  </a:cubicBezTo>
                  <a:cubicBezTo>
                    <a:pt x="9437" y="4521"/>
                    <a:pt x="9305" y="4521"/>
                    <a:pt x="9268" y="4521"/>
                  </a:cubicBezTo>
                  <a:cubicBezTo>
                    <a:pt x="9247" y="4506"/>
                    <a:pt x="9210" y="4463"/>
                    <a:pt x="9202" y="4433"/>
                  </a:cubicBezTo>
                  <a:cubicBezTo>
                    <a:pt x="9188" y="4360"/>
                    <a:pt x="9100" y="4287"/>
                    <a:pt x="9041" y="4257"/>
                  </a:cubicBezTo>
                  <a:cubicBezTo>
                    <a:pt x="9019" y="4235"/>
                    <a:pt x="9005" y="4213"/>
                    <a:pt x="8990" y="4184"/>
                  </a:cubicBezTo>
                  <a:cubicBezTo>
                    <a:pt x="8983" y="4170"/>
                    <a:pt x="8975" y="4147"/>
                    <a:pt x="8961" y="4125"/>
                  </a:cubicBezTo>
                  <a:cubicBezTo>
                    <a:pt x="8917" y="4067"/>
                    <a:pt x="8873" y="4008"/>
                    <a:pt x="8821" y="3964"/>
                  </a:cubicBezTo>
                  <a:cubicBezTo>
                    <a:pt x="8814" y="3957"/>
                    <a:pt x="8814" y="3957"/>
                    <a:pt x="8814" y="3957"/>
                  </a:cubicBezTo>
                  <a:cubicBezTo>
                    <a:pt x="8756" y="3898"/>
                    <a:pt x="8660" y="3803"/>
                    <a:pt x="8543" y="3803"/>
                  </a:cubicBezTo>
                  <a:cubicBezTo>
                    <a:pt x="8521" y="3803"/>
                    <a:pt x="8506" y="3803"/>
                    <a:pt x="8485" y="3810"/>
                  </a:cubicBezTo>
                  <a:cubicBezTo>
                    <a:pt x="8470" y="3818"/>
                    <a:pt x="8470" y="3818"/>
                    <a:pt x="8470" y="3818"/>
                  </a:cubicBezTo>
                  <a:cubicBezTo>
                    <a:pt x="8418" y="3825"/>
                    <a:pt x="8375" y="3840"/>
                    <a:pt x="8345" y="3840"/>
                  </a:cubicBezTo>
                  <a:cubicBezTo>
                    <a:pt x="8316" y="3840"/>
                    <a:pt x="8301" y="3832"/>
                    <a:pt x="8287" y="3796"/>
                  </a:cubicBezTo>
                  <a:cubicBezTo>
                    <a:pt x="8250" y="3693"/>
                    <a:pt x="8125" y="3569"/>
                    <a:pt x="8023" y="3569"/>
                  </a:cubicBezTo>
                  <a:cubicBezTo>
                    <a:pt x="8008" y="3569"/>
                    <a:pt x="8008" y="3569"/>
                    <a:pt x="8008" y="3569"/>
                  </a:cubicBezTo>
                  <a:cubicBezTo>
                    <a:pt x="7986" y="3539"/>
                    <a:pt x="7986" y="3466"/>
                    <a:pt x="7986" y="3415"/>
                  </a:cubicBezTo>
                  <a:cubicBezTo>
                    <a:pt x="7986" y="3385"/>
                    <a:pt x="7986" y="3356"/>
                    <a:pt x="7979" y="3334"/>
                  </a:cubicBezTo>
                  <a:cubicBezTo>
                    <a:pt x="7971" y="3268"/>
                    <a:pt x="7906" y="3239"/>
                    <a:pt x="7876" y="3224"/>
                  </a:cubicBezTo>
                  <a:cubicBezTo>
                    <a:pt x="7854" y="3165"/>
                    <a:pt x="7796" y="2990"/>
                    <a:pt x="7774" y="2960"/>
                  </a:cubicBezTo>
                  <a:cubicBezTo>
                    <a:pt x="7759" y="2938"/>
                    <a:pt x="7737" y="2931"/>
                    <a:pt x="7715" y="2924"/>
                  </a:cubicBezTo>
                  <a:cubicBezTo>
                    <a:pt x="7686" y="2902"/>
                    <a:pt x="7686" y="2902"/>
                    <a:pt x="7686" y="2894"/>
                  </a:cubicBezTo>
                  <a:cubicBezTo>
                    <a:pt x="7693" y="2851"/>
                    <a:pt x="7722" y="2726"/>
                    <a:pt x="7642" y="2711"/>
                  </a:cubicBezTo>
                  <a:cubicBezTo>
                    <a:pt x="7576" y="2696"/>
                    <a:pt x="7503" y="2660"/>
                    <a:pt x="7473" y="2631"/>
                  </a:cubicBezTo>
                  <a:cubicBezTo>
                    <a:pt x="7444" y="2587"/>
                    <a:pt x="7437" y="2572"/>
                    <a:pt x="7466" y="2528"/>
                  </a:cubicBezTo>
                  <a:cubicBezTo>
                    <a:pt x="7503" y="2477"/>
                    <a:pt x="7583" y="2440"/>
                    <a:pt x="7583" y="2440"/>
                  </a:cubicBezTo>
                  <a:cubicBezTo>
                    <a:pt x="7678" y="2382"/>
                    <a:pt x="7678" y="2382"/>
                    <a:pt x="7678" y="2382"/>
                  </a:cubicBezTo>
                  <a:cubicBezTo>
                    <a:pt x="7568" y="2382"/>
                    <a:pt x="7568" y="2382"/>
                    <a:pt x="7568" y="2382"/>
                  </a:cubicBezTo>
                  <a:cubicBezTo>
                    <a:pt x="7568" y="2382"/>
                    <a:pt x="7561" y="2382"/>
                    <a:pt x="7554" y="2374"/>
                  </a:cubicBezTo>
                  <a:cubicBezTo>
                    <a:pt x="7554" y="2367"/>
                    <a:pt x="7554" y="2352"/>
                    <a:pt x="7561" y="2330"/>
                  </a:cubicBezTo>
                  <a:cubicBezTo>
                    <a:pt x="7561" y="2323"/>
                    <a:pt x="7561" y="2323"/>
                    <a:pt x="7561" y="2323"/>
                  </a:cubicBezTo>
                  <a:cubicBezTo>
                    <a:pt x="7598" y="2235"/>
                    <a:pt x="7605" y="2206"/>
                    <a:pt x="7656" y="2147"/>
                  </a:cubicBezTo>
                  <a:cubicBezTo>
                    <a:pt x="7693" y="2103"/>
                    <a:pt x="7722" y="2059"/>
                    <a:pt x="7708" y="2008"/>
                  </a:cubicBezTo>
                  <a:cubicBezTo>
                    <a:pt x="7700" y="1978"/>
                    <a:pt x="7678" y="1956"/>
                    <a:pt x="7635" y="1942"/>
                  </a:cubicBezTo>
                  <a:cubicBezTo>
                    <a:pt x="7561" y="1913"/>
                    <a:pt x="7554" y="1898"/>
                    <a:pt x="7554" y="1891"/>
                  </a:cubicBezTo>
                  <a:cubicBezTo>
                    <a:pt x="7554" y="1891"/>
                    <a:pt x="7554" y="1883"/>
                    <a:pt x="7561" y="1876"/>
                  </a:cubicBezTo>
                  <a:cubicBezTo>
                    <a:pt x="7583" y="1854"/>
                    <a:pt x="7590" y="1825"/>
                    <a:pt x="7583" y="1803"/>
                  </a:cubicBezTo>
                  <a:cubicBezTo>
                    <a:pt x="7568" y="1759"/>
                    <a:pt x="7510" y="1722"/>
                    <a:pt x="7444" y="1715"/>
                  </a:cubicBezTo>
                  <a:cubicBezTo>
                    <a:pt x="7393" y="1700"/>
                    <a:pt x="7378" y="1693"/>
                    <a:pt x="7327" y="1656"/>
                  </a:cubicBezTo>
                  <a:cubicBezTo>
                    <a:pt x="7312" y="1641"/>
                    <a:pt x="7297" y="1627"/>
                    <a:pt x="7275" y="1612"/>
                  </a:cubicBezTo>
                  <a:cubicBezTo>
                    <a:pt x="7239" y="1590"/>
                    <a:pt x="7209" y="1568"/>
                    <a:pt x="7173" y="1553"/>
                  </a:cubicBezTo>
                  <a:cubicBezTo>
                    <a:pt x="7129" y="1532"/>
                    <a:pt x="7099" y="1517"/>
                    <a:pt x="7085" y="1480"/>
                  </a:cubicBezTo>
                  <a:cubicBezTo>
                    <a:pt x="7056" y="1414"/>
                    <a:pt x="7012" y="1392"/>
                    <a:pt x="6975" y="1378"/>
                  </a:cubicBezTo>
                  <a:cubicBezTo>
                    <a:pt x="6960" y="1370"/>
                    <a:pt x="6946" y="1363"/>
                    <a:pt x="6938" y="1356"/>
                  </a:cubicBezTo>
                  <a:cubicBezTo>
                    <a:pt x="6931" y="1348"/>
                    <a:pt x="6924" y="1334"/>
                    <a:pt x="6924" y="1312"/>
                  </a:cubicBezTo>
                  <a:cubicBezTo>
                    <a:pt x="6916" y="1275"/>
                    <a:pt x="6931" y="1238"/>
                    <a:pt x="6938" y="1231"/>
                  </a:cubicBezTo>
                  <a:cubicBezTo>
                    <a:pt x="6975" y="1202"/>
                    <a:pt x="6982" y="1143"/>
                    <a:pt x="6968" y="1099"/>
                  </a:cubicBezTo>
                  <a:cubicBezTo>
                    <a:pt x="6960" y="1063"/>
                    <a:pt x="6931" y="1041"/>
                    <a:pt x="6887" y="1033"/>
                  </a:cubicBezTo>
                  <a:cubicBezTo>
                    <a:pt x="6850" y="1026"/>
                    <a:pt x="6836" y="1019"/>
                    <a:pt x="6821" y="1004"/>
                  </a:cubicBezTo>
                  <a:cubicBezTo>
                    <a:pt x="6799" y="989"/>
                    <a:pt x="6785" y="975"/>
                    <a:pt x="6748" y="967"/>
                  </a:cubicBezTo>
                  <a:cubicBezTo>
                    <a:pt x="6726" y="960"/>
                    <a:pt x="6711" y="945"/>
                    <a:pt x="6711" y="923"/>
                  </a:cubicBezTo>
                  <a:cubicBezTo>
                    <a:pt x="6711" y="909"/>
                    <a:pt x="6718" y="894"/>
                    <a:pt x="6740" y="887"/>
                  </a:cubicBezTo>
                  <a:cubicBezTo>
                    <a:pt x="6762" y="872"/>
                    <a:pt x="6777" y="857"/>
                    <a:pt x="6785" y="835"/>
                  </a:cubicBezTo>
                  <a:cubicBezTo>
                    <a:pt x="6799" y="784"/>
                    <a:pt x="6770" y="725"/>
                    <a:pt x="6755" y="703"/>
                  </a:cubicBezTo>
                  <a:cubicBezTo>
                    <a:pt x="6755" y="689"/>
                    <a:pt x="6755" y="689"/>
                    <a:pt x="6755" y="689"/>
                  </a:cubicBezTo>
                  <a:cubicBezTo>
                    <a:pt x="6740" y="689"/>
                    <a:pt x="6740" y="689"/>
                    <a:pt x="6740" y="689"/>
                  </a:cubicBezTo>
                  <a:cubicBezTo>
                    <a:pt x="6623" y="623"/>
                    <a:pt x="6594" y="623"/>
                    <a:pt x="6579" y="623"/>
                  </a:cubicBezTo>
                  <a:cubicBezTo>
                    <a:pt x="6543" y="623"/>
                    <a:pt x="6484" y="601"/>
                    <a:pt x="6433" y="579"/>
                  </a:cubicBezTo>
                  <a:cubicBezTo>
                    <a:pt x="6411" y="572"/>
                    <a:pt x="6404" y="513"/>
                    <a:pt x="6396" y="476"/>
                  </a:cubicBezTo>
                  <a:cubicBezTo>
                    <a:pt x="6396" y="447"/>
                    <a:pt x="6389" y="418"/>
                    <a:pt x="6381" y="396"/>
                  </a:cubicBezTo>
                  <a:cubicBezTo>
                    <a:pt x="6359" y="374"/>
                    <a:pt x="6330" y="359"/>
                    <a:pt x="6301" y="359"/>
                  </a:cubicBezTo>
                  <a:cubicBezTo>
                    <a:pt x="6294" y="359"/>
                    <a:pt x="6294" y="359"/>
                    <a:pt x="6294" y="359"/>
                  </a:cubicBezTo>
                  <a:lnTo>
                    <a:pt x="6294" y="359"/>
                  </a:lnTo>
                  <a:cubicBezTo>
                    <a:pt x="6286" y="359"/>
                    <a:pt x="6286" y="359"/>
                    <a:pt x="6286" y="359"/>
                  </a:cubicBezTo>
                  <a:cubicBezTo>
                    <a:pt x="6257" y="359"/>
                    <a:pt x="6228" y="374"/>
                    <a:pt x="6198" y="388"/>
                  </a:cubicBezTo>
                  <a:cubicBezTo>
                    <a:pt x="6154" y="418"/>
                    <a:pt x="6147" y="418"/>
                    <a:pt x="6059" y="418"/>
                  </a:cubicBezTo>
                  <a:cubicBezTo>
                    <a:pt x="6044" y="418"/>
                    <a:pt x="6037" y="418"/>
                    <a:pt x="6030" y="418"/>
                  </a:cubicBezTo>
                  <a:cubicBezTo>
                    <a:pt x="6022" y="388"/>
                    <a:pt x="5993" y="381"/>
                    <a:pt x="5971" y="381"/>
                  </a:cubicBezTo>
                  <a:cubicBezTo>
                    <a:pt x="5898" y="381"/>
                    <a:pt x="5780" y="432"/>
                    <a:pt x="5707" y="469"/>
                  </a:cubicBezTo>
                  <a:cubicBezTo>
                    <a:pt x="5693" y="469"/>
                    <a:pt x="5685" y="476"/>
                    <a:pt x="5678" y="476"/>
                  </a:cubicBezTo>
                  <a:cubicBezTo>
                    <a:pt x="5671" y="476"/>
                    <a:pt x="5663" y="469"/>
                    <a:pt x="5649" y="454"/>
                  </a:cubicBezTo>
                  <a:cubicBezTo>
                    <a:pt x="5641" y="447"/>
                    <a:pt x="5627" y="432"/>
                    <a:pt x="5605" y="425"/>
                  </a:cubicBezTo>
                  <a:cubicBezTo>
                    <a:pt x="5597" y="418"/>
                    <a:pt x="5590" y="418"/>
                    <a:pt x="5575" y="418"/>
                  </a:cubicBezTo>
                  <a:cubicBezTo>
                    <a:pt x="5546" y="418"/>
                    <a:pt x="5524" y="440"/>
                    <a:pt x="5502" y="469"/>
                  </a:cubicBezTo>
                  <a:cubicBezTo>
                    <a:pt x="5495" y="484"/>
                    <a:pt x="5480" y="498"/>
                    <a:pt x="5458" y="513"/>
                  </a:cubicBezTo>
                  <a:cubicBezTo>
                    <a:pt x="5458" y="520"/>
                    <a:pt x="5451" y="520"/>
                    <a:pt x="5451" y="520"/>
                  </a:cubicBezTo>
                  <a:cubicBezTo>
                    <a:pt x="5436" y="520"/>
                    <a:pt x="5407" y="484"/>
                    <a:pt x="5399" y="440"/>
                  </a:cubicBezTo>
                  <a:cubicBezTo>
                    <a:pt x="5385" y="403"/>
                    <a:pt x="5370" y="344"/>
                    <a:pt x="5297" y="330"/>
                  </a:cubicBezTo>
                  <a:cubicBezTo>
                    <a:pt x="5282" y="322"/>
                    <a:pt x="5268" y="315"/>
                    <a:pt x="5260" y="301"/>
                  </a:cubicBezTo>
                  <a:cubicBezTo>
                    <a:pt x="5246" y="271"/>
                    <a:pt x="5246" y="242"/>
                    <a:pt x="5246" y="234"/>
                  </a:cubicBezTo>
                  <a:cubicBezTo>
                    <a:pt x="5260" y="205"/>
                    <a:pt x="5260" y="132"/>
                    <a:pt x="5231" y="88"/>
                  </a:cubicBezTo>
                  <a:cubicBezTo>
                    <a:pt x="5216" y="66"/>
                    <a:pt x="5194" y="59"/>
                    <a:pt x="5172" y="59"/>
                  </a:cubicBezTo>
                  <a:cubicBezTo>
                    <a:pt x="5165" y="59"/>
                    <a:pt x="5150" y="59"/>
                    <a:pt x="5143" y="59"/>
                  </a:cubicBezTo>
                  <a:cubicBezTo>
                    <a:pt x="5128" y="51"/>
                    <a:pt x="5121" y="51"/>
                    <a:pt x="5106" y="51"/>
                  </a:cubicBezTo>
                  <a:cubicBezTo>
                    <a:pt x="5085" y="51"/>
                    <a:pt x="5033" y="51"/>
                    <a:pt x="5018" y="103"/>
                  </a:cubicBezTo>
                  <a:cubicBezTo>
                    <a:pt x="5011" y="125"/>
                    <a:pt x="4982" y="146"/>
                    <a:pt x="4931" y="176"/>
                  </a:cubicBezTo>
                  <a:cubicBezTo>
                    <a:pt x="4872" y="205"/>
                    <a:pt x="4828" y="242"/>
                    <a:pt x="4828" y="242"/>
                  </a:cubicBezTo>
                  <a:cubicBezTo>
                    <a:pt x="4813" y="256"/>
                    <a:pt x="4813" y="256"/>
                    <a:pt x="4813" y="256"/>
                  </a:cubicBezTo>
                  <a:cubicBezTo>
                    <a:pt x="4813" y="271"/>
                    <a:pt x="4813" y="271"/>
                    <a:pt x="4813" y="271"/>
                  </a:cubicBezTo>
                  <a:cubicBezTo>
                    <a:pt x="4813" y="278"/>
                    <a:pt x="4828" y="410"/>
                    <a:pt x="4872" y="498"/>
                  </a:cubicBezTo>
                  <a:cubicBezTo>
                    <a:pt x="4901" y="542"/>
                    <a:pt x="4894" y="594"/>
                    <a:pt x="4894" y="660"/>
                  </a:cubicBezTo>
                  <a:cubicBezTo>
                    <a:pt x="4894" y="703"/>
                    <a:pt x="4887" y="747"/>
                    <a:pt x="4894" y="806"/>
                  </a:cubicBezTo>
                  <a:cubicBezTo>
                    <a:pt x="4901" y="865"/>
                    <a:pt x="4887" y="879"/>
                    <a:pt x="4887" y="879"/>
                  </a:cubicBezTo>
                  <a:cubicBezTo>
                    <a:pt x="4887" y="879"/>
                    <a:pt x="4887" y="887"/>
                    <a:pt x="4872" y="887"/>
                  </a:cubicBezTo>
                  <a:cubicBezTo>
                    <a:pt x="4872" y="887"/>
                    <a:pt x="4865" y="887"/>
                    <a:pt x="4857" y="887"/>
                  </a:cubicBezTo>
                  <a:cubicBezTo>
                    <a:pt x="4857" y="887"/>
                    <a:pt x="4850" y="887"/>
                    <a:pt x="4843" y="887"/>
                  </a:cubicBezTo>
                  <a:cubicBezTo>
                    <a:pt x="4843" y="887"/>
                    <a:pt x="4835" y="879"/>
                    <a:pt x="4828" y="879"/>
                  </a:cubicBezTo>
                  <a:cubicBezTo>
                    <a:pt x="4821" y="872"/>
                    <a:pt x="4806" y="857"/>
                    <a:pt x="4791" y="857"/>
                  </a:cubicBezTo>
                  <a:cubicBezTo>
                    <a:pt x="4777" y="857"/>
                    <a:pt x="4762" y="865"/>
                    <a:pt x="4747" y="879"/>
                  </a:cubicBezTo>
                  <a:cubicBezTo>
                    <a:pt x="4740" y="887"/>
                    <a:pt x="4740" y="887"/>
                    <a:pt x="4733" y="887"/>
                  </a:cubicBezTo>
                  <a:cubicBezTo>
                    <a:pt x="4725" y="887"/>
                    <a:pt x="4711" y="879"/>
                    <a:pt x="4674" y="850"/>
                  </a:cubicBezTo>
                  <a:cubicBezTo>
                    <a:pt x="4652" y="828"/>
                    <a:pt x="4667" y="791"/>
                    <a:pt x="4667" y="791"/>
                  </a:cubicBezTo>
                  <a:cubicBezTo>
                    <a:pt x="4667" y="784"/>
                    <a:pt x="4667" y="784"/>
                    <a:pt x="4667" y="784"/>
                  </a:cubicBezTo>
                  <a:cubicBezTo>
                    <a:pt x="4674" y="784"/>
                    <a:pt x="4674" y="784"/>
                    <a:pt x="4674" y="784"/>
                  </a:cubicBezTo>
                  <a:cubicBezTo>
                    <a:pt x="4674" y="769"/>
                    <a:pt x="4696" y="674"/>
                    <a:pt x="4652" y="630"/>
                  </a:cubicBezTo>
                  <a:cubicBezTo>
                    <a:pt x="4623" y="601"/>
                    <a:pt x="4586" y="601"/>
                    <a:pt x="4564" y="601"/>
                  </a:cubicBezTo>
                  <a:cubicBezTo>
                    <a:pt x="4549" y="601"/>
                    <a:pt x="4535" y="601"/>
                    <a:pt x="4535" y="601"/>
                  </a:cubicBezTo>
                  <a:cubicBezTo>
                    <a:pt x="4528" y="601"/>
                    <a:pt x="4528" y="601"/>
                    <a:pt x="4528" y="601"/>
                  </a:cubicBezTo>
                  <a:cubicBezTo>
                    <a:pt x="4520" y="608"/>
                    <a:pt x="4520" y="608"/>
                    <a:pt x="4520" y="608"/>
                  </a:cubicBezTo>
                  <a:cubicBezTo>
                    <a:pt x="4498" y="615"/>
                    <a:pt x="4462" y="637"/>
                    <a:pt x="4432" y="637"/>
                  </a:cubicBezTo>
                  <a:lnTo>
                    <a:pt x="4432" y="637"/>
                  </a:lnTo>
                  <a:cubicBezTo>
                    <a:pt x="4388" y="608"/>
                    <a:pt x="4359" y="594"/>
                    <a:pt x="4337" y="594"/>
                  </a:cubicBezTo>
                  <a:cubicBezTo>
                    <a:pt x="4323" y="594"/>
                    <a:pt x="4315" y="601"/>
                    <a:pt x="4308" y="608"/>
                  </a:cubicBezTo>
                  <a:cubicBezTo>
                    <a:pt x="4300" y="608"/>
                    <a:pt x="4300" y="615"/>
                    <a:pt x="4300" y="615"/>
                  </a:cubicBezTo>
                  <a:cubicBezTo>
                    <a:pt x="4293" y="615"/>
                    <a:pt x="4286" y="608"/>
                    <a:pt x="4286" y="594"/>
                  </a:cubicBezTo>
                  <a:cubicBezTo>
                    <a:pt x="4249" y="528"/>
                    <a:pt x="4139" y="520"/>
                    <a:pt x="4110" y="520"/>
                  </a:cubicBezTo>
                  <a:cubicBezTo>
                    <a:pt x="4095" y="520"/>
                    <a:pt x="4088" y="520"/>
                    <a:pt x="4073" y="513"/>
                  </a:cubicBezTo>
                  <a:cubicBezTo>
                    <a:pt x="4059" y="513"/>
                    <a:pt x="4037" y="513"/>
                    <a:pt x="4022" y="513"/>
                  </a:cubicBezTo>
                  <a:cubicBezTo>
                    <a:pt x="4000" y="513"/>
                    <a:pt x="3978" y="513"/>
                    <a:pt x="3949" y="520"/>
                  </a:cubicBezTo>
                  <a:cubicBezTo>
                    <a:pt x="3883" y="542"/>
                    <a:pt x="3868" y="557"/>
                    <a:pt x="3809" y="601"/>
                  </a:cubicBezTo>
                  <a:cubicBezTo>
                    <a:pt x="3787" y="615"/>
                    <a:pt x="3787" y="615"/>
                    <a:pt x="3787" y="615"/>
                  </a:cubicBezTo>
                  <a:cubicBezTo>
                    <a:pt x="3692" y="682"/>
                    <a:pt x="3714" y="733"/>
                    <a:pt x="3736" y="791"/>
                  </a:cubicBezTo>
                  <a:cubicBezTo>
                    <a:pt x="3736" y="813"/>
                    <a:pt x="3736" y="813"/>
                    <a:pt x="3736" y="813"/>
                  </a:cubicBezTo>
                  <a:cubicBezTo>
                    <a:pt x="3758" y="872"/>
                    <a:pt x="3817" y="894"/>
                    <a:pt x="3883" y="916"/>
                  </a:cubicBezTo>
                  <a:cubicBezTo>
                    <a:pt x="3905" y="931"/>
                    <a:pt x="3934" y="938"/>
                    <a:pt x="3956" y="953"/>
                  </a:cubicBezTo>
                  <a:cubicBezTo>
                    <a:pt x="3971" y="960"/>
                    <a:pt x="3993" y="975"/>
                    <a:pt x="3985" y="996"/>
                  </a:cubicBezTo>
                  <a:cubicBezTo>
                    <a:pt x="3978" y="1011"/>
                    <a:pt x="3971" y="1019"/>
                    <a:pt x="3963" y="1019"/>
                  </a:cubicBezTo>
                  <a:cubicBezTo>
                    <a:pt x="3949" y="1019"/>
                    <a:pt x="3941" y="1019"/>
                    <a:pt x="3941" y="1011"/>
                  </a:cubicBezTo>
                  <a:cubicBezTo>
                    <a:pt x="3934" y="1011"/>
                    <a:pt x="3919" y="1004"/>
                    <a:pt x="3912" y="1004"/>
                  </a:cubicBezTo>
                  <a:cubicBezTo>
                    <a:pt x="3890" y="1004"/>
                    <a:pt x="3868" y="1026"/>
                    <a:pt x="3861" y="1041"/>
                  </a:cubicBezTo>
                  <a:cubicBezTo>
                    <a:pt x="3854" y="1048"/>
                    <a:pt x="3854" y="1048"/>
                    <a:pt x="3839" y="1048"/>
                  </a:cubicBezTo>
                  <a:cubicBezTo>
                    <a:pt x="3817" y="1048"/>
                    <a:pt x="3780" y="1033"/>
                    <a:pt x="3773" y="1026"/>
                  </a:cubicBezTo>
                  <a:cubicBezTo>
                    <a:pt x="3714" y="989"/>
                    <a:pt x="3714" y="989"/>
                    <a:pt x="3714" y="989"/>
                  </a:cubicBezTo>
                  <a:cubicBezTo>
                    <a:pt x="3729" y="1055"/>
                    <a:pt x="3729" y="1055"/>
                    <a:pt x="3729" y="1055"/>
                  </a:cubicBezTo>
                  <a:cubicBezTo>
                    <a:pt x="3736" y="1092"/>
                    <a:pt x="3729" y="1099"/>
                    <a:pt x="3722" y="1099"/>
                  </a:cubicBezTo>
                  <a:cubicBezTo>
                    <a:pt x="3722" y="1106"/>
                    <a:pt x="3714" y="1106"/>
                    <a:pt x="3707" y="1106"/>
                  </a:cubicBezTo>
                  <a:cubicBezTo>
                    <a:pt x="3692" y="1106"/>
                    <a:pt x="3678" y="1099"/>
                    <a:pt x="3678" y="1099"/>
                  </a:cubicBezTo>
                  <a:lnTo>
                    <a:pt x="3678" y="1099"/>
                  </a:lnTo>
                  <a:cubicBezTo>
                    <a:pt x="3670" y="1099"/>
                    <a:pt x="3670" y="1099"/>
                    <a:pt x="3670" y="1099"/>
                  </a:cubicBezTo>
                  <a:cubicBezTo>
                    <a:pt x="3670" y="1099"/>
                    <a:pt x="3604" y="1084"/>
                    <a:pt x="3538" y="1070"/>
                  </a:cubicBezTo>
                  <a:cubicBezTo>
                    <a:pt x="3502" y="1055"/>
                    <a:pt x="3502" y="1011"/>
                    <a:pt x="3516" y="931"/>
                  </a:cubicBezTo>
                  <a:cubicBezTo>
                    <a:pt x="3524" y="887"/>
                    <a:pt x="3509" y="857"/>
                    <a:pt x="3494" y="828"/>
                  </a:cubicBezTo>
                  <a:cubicBezTo>
                    <a:pt x="3487" y="806"/>
                    <a:pt x="3480" y="791"/>
                    <a:pt x="3480" y="769"/>
                  </a:cubicBezTo>
                  <a:cubicBezTo>
                    <a:pt x="3480" y="689"/>
                    <a:pt x="3421" y="660"/>
                    <a:pt x="3385" y="660"/>
                  </a:cubicBezTo>
                  <a:lnTo>
                    <a:pt x="3385" y="660"/>
                  </a:lnTo>
                  <a:cubicBezTo>
                    <a:pt x="3377" y="660"/>
                    <a:pt x="3377" y="660"/>
                    <a:pt x="3377" y="660"/>
                  </a:cubicBezTo>
                  <a:cubicBezTo>
                    <a:pt x="3377" y="660"/>
                    <a:pt x="3363" y="660"/>
                    <a:pt x="3348" y="660"/>
                  </a:cubicBezTo>
                  <a:cubicBezTo>
                    <a:pt x="3304" y="660"/>
                    <a:pt x="3267" y="652"/>
                    <a:pt x="3253" y="637"/>
                  </a:cubicBezTo>
                  <a:cubicBezTo>
                    <a:pt x="3238" y="630"/>
                    <a:pt x="3231" y="615"/>
                    <a:pt x="3223" y="601"/>
                  </a:cubicBezTo>
                  <a:cubicBezTo>
                    <a:pt x="3209" y="579"/>
                    <a:pt x="3187" y="542"/>
                    <a:pt x="3143" y="542"/>
                  </a:cubicBezTo>
                  <a:cubicBezTo>
                    <a:pt x="3143" y="542"/>
                    <a:pt x="3135" y="542"/>
                    <a:pt x="3128" y="542"/>
                  </a:cubicBezTo>
                  <a:cubicBezTo>
                    <a:pt x="3121" y="542"/>
                    <a:pt x="3121" y="542"/>
                    <a:pt x="3113" y="542"/>
                  </a:cubicBezTo>
                  <a:cubicBezTo>
                    <a:pt x="3099" y="542"/>
                    <a:pt x="3092" y="542"/>
                    <a:pt x="3070" y="498"/>
                  </a:cubicBezTo>
                  <a:cubicBezTo>
                    <a:pt x="3063" y="491"/>
                    <a:pt x="3063" y="484"/>
                    <a:pt x="3056" y="476"/>
                  </a:cubicBezTo>
                  <a:cubicBezTo>
                    <a:pt x="3048" y="462"/>
                    <a:pt x="3048" y="462"/>
                    <a:pt x="3048" y="462"/>
                  </a:cubicBezTo>
                  <a:cubicBezTo>
                    <a:pt x="3019" y="418"/>
                    <a:pt x="3004" y="388"/>
                    <a:pt x="2953" y="330"/>
                  </a:cubicBezTo>
                  <a:cubicBezTo>
                    <a:pt x="2938" y="308"/>
                    <a:pt x="2931" y="286"/>
                    <a:pt x="2924" y="271"/>
                  </a:cubicBezTo>
                  <a:cubicBezTo>
                    <a:pt x="2909" y="234"/>
                    <a:pt x="2895" y="213"/>
                    <a:pt x="2836" y="205"/>
                  </a:cubicBezTo>
                  <a:cubicBezTo>
                    <a:pt x="2792" y="198"/>
                    <a:pt x="2763" y="154"/>
                    <a:pt x="2726" y="110"/>
                  </a:cubicBezTo>
                  <a:cubicBezTo>
                    <a:pt x="2711" y="88"/>
                    <a:pt x="2697" y="66"/>
                    <a:pt x="2682" y="44"/>
                  </a:cubicBezTo>
                  <a:cubicBezTo>
                    <a:pt x="2667" y="22"/>
                    <a:pt x="2645" y="0"/>
                    <a:pt x="2616" y="0"/>
                  </a:cubicBezTo>
                  <a:lnTo>
                    <a:pt x="2616" y="3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" name="Freeform 16"/>
            <p:cNvSpPr>
              <a:spLocks noChangeArrowheads="1"/>
            </p:cNvSpPr>
            <p:nvPr/>
          </p:nvSpPr>
          <p:spPr bwMode="auto">
            <a:xfrm>
              <a:off x="3501614" y="7785284"/>
              <a:ext cx="1986234" cy="2522461"/>
            </a:xfrm>
            <a:custGeom>
              <a:avLst/>
              <a:gdLst>
                <a:gd name="T0" fmla="*/ 4082 w 5167"/>
                <a:gd name="T1" fmla="*/ 6426 h 6639"/>
                <a:gd name="T2" fmla="*/ 3686 w 5167"/>
                <a:gd name="T3" fmla="*/ 6345 h 6639"/>
                <a:gd name="T4" fmla="*/ 3444 w 5167"/>
                <a:gd name="T5" fmla="*/ 6323 h 6639"/>
                <a:gd name="T6" fmla="*/ 3173 w 5167"/>
                <a:gd name="T7" fmla="*/ 6206 h 6639"/>
                <a:gd name="T8" fmla="*/ 2938 w 5167"/>
                <a:gd name="T9" fmla="*/ 5950 h 6639"/>
                <a:gd name="T10" fmla="*/ 2609 w 5167"/>
                <a:gd name="T11" fmla="*/ 5935 h 6639"/>
                <a:gd name="T12" fmla="*/ 2616 w 5167"/>
                <a:gd name="T13" fmla="*/ 5517 h 6639"/>
                <a:gd name="T14" fmla="*/ 2682 w 5167"/>
                <a:gd name="T15" fmla="*/ 5254 h 6639"/>
                <a:gd name="T16" fmla="*/ 2514 w 5167"/>
                <a:gd name="T17" fmla="*/ 4924 h 6639"/>
                <a:gd name="T18" fmla="*/ 2447 w 5167"/>
                <a:gd name="T19" fmla="*/ 4594 h 6639"/>
                <a:gd name="T20" fmla="*/ 2191 w 5167"/>
                <a:gd name="T21" fmla="*/ 4528 h 6639"/>
                <a:gd name="T22" fmla="*/ 1737 w 5167"/>
                <a:gd name="T23" fmla="*/ 4389 h 6639"/>
                <a:gd name="T24" fmla="*/ 1173 w 5167"/>
                <a:gd name="T25" fmla="*/ 4631 h 6639"/>
                <a:gd name="T26" fmla="*/ 887 w 5167"/>
                <a:gd name="T27" fmla="*/ 4660 h 6639"/>
                <a:gd name="T28" fmla="*/ 491 w 5167"/>
                <a:gd name="T29" fmla="*/ 4616 h 6639"/>
                <a:gd name="T30" fmla="*/ 777 w 5167"/>
                <a:gd name="T31" fmla="*/ 4066 h 6639"/>
                <a:gd name="T32" fmla="*/ 616 w 5167"/>
                <a:gd name="T33" fmla="*/ 3627 h 6639"/>
                <a:gd name="T34" fmla="*/ 249 w 5167"/>
                <a:gd name="T35" fmla="*/ 3283 h 6639"/>
                <a:gd name="T36" fmla="*/ 95 w 5167"/>
                <a:gd name="T37" fmla="*/ 2608 h 6639"/>
                <a:gd name="T38" fmla="*/ 249 w 5167"/>
                <a:gd name="T39" fmla="*/ 2220 h 6639"/>
                <a:gd name="T40" fmla="*/ 696 w 5167"/>
                <a:gd name="T41" fmla="*/ 1978 h 6639"/>
                <a:gd name="T42" fmla="*/ 696 w 5167"/>
                <a:gd name="T43" fmla="*/ 1788 h 6639"/>
                <a:gd name="T44" fmla="*/ 1048 w 5167"/>
                <a:gd name="T45" fmla="*/ 1810 h 6639"/>
                <a:gd name="T46" fmla="*/ 1319 w 5167"/>
                <a:gd name="T47" fmla="*/ 1905 h 6639"/>
                <a:gd name="T48" fmla="*/ 1510 w 5167"/>
                <a:gd name="T49" fmla="*/ 1722 h 6639"/>
                <a:gd name="T50" fmla="*/ 1590 w 5167"/>
                <a:gd name="T51" fmla="*/ 1524 h 6639"/>
                <a:gd name="T52" fmla="*/ 1803 w 5167"/>
                <a:gd name="T53" fmla="*/ 1326 h 6639"/>
                <a:gd name="T54" fmla="*/ 2037 w 5167"/>
                <a:gd name="T55" fmla="*/ 1143 h 6639"/>
                <a:gd name="T56" fmla="*/ 2433 w 5167"/>
                <a:gd name="T57" fmla="*/ 996 h 6639"/>
                <a:gd name="T58" fmla="*/ 2748 w 5167"/>
                <a:gd name="T59" fmla="*/ 908 h 6639"/>
                <a:gd name="T60" fmla="*/ 3173 w 5167"/>
                <a:gd name="T61" fmla="*/ 637 h 6639"/>
                <a:gd name="T62" fmla="*/ 3393 w 5167"/>
                <a:gd name="T63" fmla="*/ 571 h 6639"/>
                <a:gd name="T64" fmla="*/ 3561 w 5167"/>
                <a:gd name="T65" fmla="*/ 322 h 6639"/>
                <a:gd name="T66" fmla="*/ 3788 w 5167"/>
                <a:gd name="T67" fmla="*/ 22 h 6639"/>
                <a:gd name="T68" fmla="*/ 3979 w 5167"/>
                <a:gd name="T69" fmla="*/ 337 h 6639"/>
                <a:gd name="T70" fmla="*/ 4104 w 5167"/>
                <a:gd name="T71" fmla="*/ 637 h 6639"/>
                <a:gd name="T72" fmla="*/ 4279 w 5167"/>
                <a:gd name="T73" fmla="*/ 828 h 6639"/>
                <a:gd name="T74" fmla="*/ 4375 w 5167"/>
                <a:gd name="T75" fmla="*/ 908 h 6639"/>
                <a:gd name="T76" fmla="*/ 4250 w 5167"/>
                <a:gd name="T77" fmla="*/ 1370 h 6639"/>
                <a:gd name="T78" fmla="*/ 4089 w 5167"/>
                <a:gd name="T79" fmla="*/ 1553 h 6639"/>
                <a:gd name="T80" fmla="*/ 4023 w 5167"/>
                <a:gd name="T81" fmla="*/ 1810 h 6639"/>
                <a:gd name="T82" fmla="*/ 4287 w 5167"/>
                <a:gd name="T83" fmla="*/ 2051 h 6639"/>
                <a:gd name="T84" fmla="*/ 4155 w 5167"/>
                <a:gd name="T85" fmla="*/ 2301 h 6639"/>
                <a:gd name="T86" fmla="*/ 4126 w 5167"/>
                <a:gd name="T87" fmla="*/ 2454 h 6639"/>
                <a:gd name="T88" fmla="*/ 3876 w 5167"/>
                <a:gd name="T89" fmla="*/ 2542 h 6639"/>
                <a:gd name="T90" fmla="*/ 3920 w 5167"/>
                <a:gd name="T91" fmla="*/ 2806 h 6639"/>
                <a:gd name="T92" fmla="*/ 3745 w 5167"/>
                <a:gd name="T93" fmla="*/ 2857 h 6639"/>
                <a:gd name="T94" fmla="*/ 3766 w 5167"/>
                <a:gd name="T95" fmla="*/ 3107 h 6639"/>
                <a:gd name="T96" fmla="*/ 4228 w 5167"/>
                <a:gd name="T97" fmla="*/ 3114 h 6639"/>
                <a:gd name="T98" fmla="*/ 4653 w 5167"/>
                <a:gd name="T99" fmla="*/ 3092 h 6639"/>
                <a:gd name="T100" fmla="*/ 4888 w 5167"/>
                <a:gd name="T101" fmla="*/ 3605 h 6639"/>
                <a:gd name="T102" fmla="*/ 5056 w 5167"/>
                <a:gd name="T103" fmla="*/ 3920 h 6639"/>
                <a:gd name="T104" fmla="*/ 4844 w 5167"/>
                <a:gd name="T105" fmla="*/ 4220 h 6639"/>
                <a:gd name="T106" fmla="*/ 4997 w 5167"/>
                <a:gd name="T107" fmla="*/ 4792 h 6639"/>
                <a:gd name="T108" fmla="*/ 5122 w 5167"/>
                <a:gd name="T109" fmla="*/ 5026 h 6639"/>
                <a:gd name="T110" fmla="*/ 5056 w 5167"/>
                <a:gd name="T111" fmla="*/ 5422 h 6639"/>
                <a:gd name="T112" fmla="*/ 4851 w 5167"/>
                <a:gd name="T113" fmla="*/ 5942 h 6639"/>
                <a:gd name="T114" fmla="*/ 4485 w 5167"/>
                <a:gd name="T115" fmla="*/ 6638 h 6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67" h="6639">
                  <a:moveTo>
                    <a:pt x="4477" y="6631"/>
                  </a:moveTo>
                  <a:lnTo>
                    <a:pt x="4477" y="6631"/>
                  </a:lnTo>
                  <a:cubicBezTo>
                    <a:pt x="4455" y="6609"/>
                    <a:pt x="4389" y="6551"/>
                    <a:pt x="4338" y="6551"/>
                  </a:cubicBezTo>
                  <a:cubicBezTo>
                    <a:pt x="4272" y="6551"/>
                    <a:pt x="4228" y="6514"/>
                    <a:pt x="4191" y="6485"/>
                  </a:cubicBezTo>
                  <a:cubicBezTo>
                    <a:pt x="4184" y="6485"/>
                    <a:pt x="4177" y="6477"/>
                    <a:pt x="4169" y="6470"/>
                  </a:cubicBezTo>
                  <a:cubicBezTo>
                    <a:pt x="4147" y="6455"/>
                    <a:pt x="4118" y="6441"/>
                    <a:pt x="4082" y="6426"/>
                  </a:cubicBezTo>
                  <a:cubicBezTo>
                    <a:pt x="4045" y="6404"/>
                    <a:pt x="3994" y="6382"/>
                    <a:pt x="3964" y="6360"/>
                  </a:cubicBezTo>
                  <a:cubicBezTo>
                    <a:pt x="3935" y="6331"/>
                    <a:pt x="3913" y="6323"/>
                    <a:pt x="3898" y="6323"/>
                  </a:cubicBezTo>
                  <a:cubicBezTo>
                    <a:pt x="3884" y="6323"/>
                    <a:pt x="3869" y="6331"/>
                    <a:pt x="3847" y="6345"/>
                  </a:cubicBezTo>
                  <a:cubicBezTo>
                    <a:pt x="3825" y="6367"/>
                    <a:pt x="3796" y="6375"/>
                    <a:pt x="3774" y="6375"/>
                  </a:cubicBezTo>
                  <a:cubicBezTo>
                    <a:pt x="3752" y="6375"/>
                    <a:pt x="3730" y="6367"/>
                    <a:pt x="3700" y="6353"/>
                  </a:cubicBezTo>
                  <a:cubicBezTo>
                    <a:pt x="3686" y="6345"/>
                    <a:pt x="3686" y="6345"/>
                    <a:pt x="3686" y="6345"/>
                  </a:cubicBezTo>
                  <a:cubicBezTo>
                    <a:pt x="3657" y="6338"/>
                    <a:pt x="3642" y="6316"/>
                    <a:pt x="3627" y="6294"/>
                  </a:cubicBezTo>
                  <a:cubicBezTo>
                    <a:pt x="3620" y="6287"/>
                    <a:pt x="3613" y="6279"/>
                    <a:pt x="3605" y="6279"/>
                  </a:cubicBezTo>
                  <a:lnTo>
                    <a:pt x="3598" y="6279"/>
                  </a:lnTo>
                  <a:cubicBezTo>
                    <a:pt x="3583" y="6287"/>
                    <a:pt x="3576" y="6294"/>
                    <a:pt x="3561" y="6302"/>
                  </a:cubicBezTo>
                  <a:cubicBezTo>
                    <a:pt x="3539" y="6316"/>
                    <a:pt x="3517" y="6331"/>
                    <a:pt x="3481" y="6331"/>
                  </a:cubicBezTo>
                  <a:cubicBezTo>
                    <a:pt x="3473" y="6331"/>
                    <a:pt x="3459" y="6331"/>
                    <a:pt x="3444" y="6323"/>
                  </a:cubicBezTo>
                  <a:cubicBezTo>
                    <a:pt x="3437" y="6323"/>
                    <a:pt x="3429" y="6316"/>
                    <a:pt x="3422" y="6316"/>
                  </a:cubicBezTo>
                  <a:cubicBezTo>
                    <a:pt x="3415" y="6309"/>
                    <a:pt x="3407" y="6309"/>
                    <a:pt x="3400" y="6309"/>
                  </a:cubicBezTo>
                  <a:cubicBezTo>
                    <a:pt x="3393" y="6309"/>
                    <a:pt x="3378" y="6316"/>
                    <a:pt x="3364" y="6331"/>
                  </a:cubicBezTo>
                  <a:cubicBezTo>
                    <a:pt x="3349" y="6345"/>
                    <a:pt x="3334" y="6345"/>
                    <a:pt x="3319" y="6345"/>
                  </a:cubicBezTo>
                  <a:cubicBezTo>
                    <a:pt x="3261" y="6345"/>
                    <a:pt x="3209" y="6250"/>
                    <a:pt x="3202" y="6228"/>
                  </a:cubicBezTo>
                  <a:cubicBezTo>
                    <a:pt x="3195" y="6214"/>
                    <a:pt x="3188" y="6206"/>
                    <a:pt x="3173" y="6206"/>
                  </a:cubicBezTo>
                  <a:cubicBezTo>
                    <a:pt x="3166" y="6206"/>
                    <a:pt x="3158" y="6206"/>
                    <a:pt x="3151" y="6221"/>
                  </a:cubicBezTo>
                  <a:cubicBezTo>
                    <a:pt x="3136" y="6228"/>
                    <a:pt x="3129" y="6235"/>
                    <a:pt x="3122" y="6235"/>
                  </a:cubicBezTo>
                  <a:cubicBezTo>
                    <a:pt x="3100" y="6235"/>
                    <a:pt x="3078" y="6214"/>
                    <a:pt x="3048" y="6192"/>
                  </a:cubicBezTo>
                  <a:cubicBezTo>
                    <a:pt x="3034" y="6177"/>
                    <a:pt x="3012" y="6155"/>
                    <a:pt x="2990" y="6140"/>
                  </a:cubicBezTo>
                  <a:cubicBezTo>
                    <a:pt x="2938" y="6104"/>
                    <a:pt x="2938" y="6060"/>
                    <a:pt x="2938" y="6008"/>
                  </a:cubicBezTo>
                  <a:cubicBezTo>
                    <a:pt x="2938" y="5994"/>
                    <a:pt x="2938" y="5972"/>
                    <a:pt x="2938" y="5950"/>
                  </a:cubicBezTo>
                  <a:cubicBezTo>
                    <a:pt x="2931" y="5920"/>
                    <a:pt x="2902" y="5913"/>
                    <a:pt x="2858" y="5906"/>
                  </a:cubicBezTo>
                  <a:cubicBezTo>
                    <a:pt x="2836" y="5906"/>
                    <a:pt x="2814" y="5906"/>
                    <a:pt x="2799" y="5891"/>
                  </a:cubicBezTo>
                  <a:cubicBezTo>
                    <a:pt x="2799" y="5891"/>
                    <a:pt x="2792" y="5891"/>
                    <a:pt x="2777" y="5891"/>
                  </a:cubicBezTo>
                  <a:cubicBezTo>
                    <a:pt x="2733" y="5891"/>
                    <a:pt x="2675" y="5913"/>
                    <a:pt x="2660" y="5913"/>
                  </a:cubicBezTo>
                  <a:cubicBezTo>
                    <a:pt x="2653" y="5920"/>
                    <a:pt x="2609" y="5964"/>
                    <a:pt x="2609" y="5964"/>
                  </a:cubicBezTo>
                  <a:cubicBezTo>
                    <a:pt x="2609" y="5935"/>
                    <a:pt x="2609" y="5935"/>
                    <a:pt x="2609" y="5935"/>
                  </a:cubicBezTo>
                  <a:cubicBezTo>
                    <a:pt x="2601" y="5906"/>
                    <a:pt x="2601" y="5876"/>
                    <a:pt x="2594" y="5862"/>
                  </a:cubicBezTo>
                  <a:cubicBezTo>
                    <a:pt x="2594" y="5840"/>
                    <a:pt x="2579" y="5833"/>
                    <a:pt x="2557" y="5818"/>
                  </a:cubicBezTo>
                  <a:cubicBezTo>
                    <a:pt x="2535" y="5803"/>
                    <a:pt x="2514" y="5788"/>
                    <a:pt x="2499" y="5766"/>
                  </a:cubicBezTo>
                  <a:cubicBezTo>
                    <a:pt x="2455" y="5715"/>
                    <a:pt x="2477" y="5686"/>
                    <a:pt x="2506" y="5642"/>
                  </a:cubicBezTo>
                  <a:cubicBezTo>
                    <a:pt x="2514" y="5635"/>
                    <a:pt x="2514" y="5627"/>
                    <a:pt x="2521" y="5620"/>
                  </a:cubicBezTo>
                  <a:cubicBezTo>
                    <a:pt x="2565" y="5561"/>
                    <a:pt x="2572" y="5547"/>
                    <a:pt x="2616" y="5517"/>
                  </a:cubicBezTo>
                  <a:cubicBezTo>
                    <a:pt x="2645" y="5495"/>
                    <a:pt x="2653" y="5495"/>
                    <a:pt x="2667" y="5488"/>
                  </a:cubicBezTo>
                  <a:cubicBezTo>
                    <a:pt x="2675" y="5488"/>
                    <a:pt x="2682" y="5488"/>
                    <a:pt x="2697" y="5473"/>
                  </a:cubicBezTo>
                  <a:cubicBezTo>
                    <a:pt x="2719" y="5444"/>
                    <a:pt x="2733" y="5385"/>
                    <a:pt x="2741" y="5334"/>
                  </a:cubicBezTo>
                  <a:cubicBezTo>
                    <a:pt x="2741" y="5319"/>
                    <a:pt x="2741" y="5319"/>
                    <a:pt x="2741" y="5319"/>
                  </a:cubicBezTo>
                  <a:cubicBezTo>
                    <a:pt x="2741" y="5297"/>
                    <a:pt x="2741" y="5283"/>
                    <a:pt x="2726" y="5268"/>
                  </a:cubicBezTo>
                  <a:cubicBezTo>
                    <a:pt x="2719" y="5254"/>
                    <a:pt x="2704" y="5254"/>
                    <a:pt x="2682" y="5254"/>
                  </a:cubicBezTo>
                  <a:lnTo>
                    <a:pt x="2675" y="5254"/>
                  </a:lnTo>
                  <a:cubicBezTo>
                    <a:pt x="2667" y="5254"/>
                    <a:pt x="2660" y="5254"/>
                    <a:pt x="2660" y="5254"/>
                  </a:cubicBezTo>
                  <a:cubicBezTo>
                    <a:pt x="2594" y="5254"/>
                    <a:pt x="2535" y="5195"/>
                    <a:pt x="2528" y="5166"/>
                  </a:cubicBezTo>
                  <a:cubicBezTo>
                    <a:pt x="2521" y="5136"/>
                    <a:pt x="2506" y="5100"/>
                    <a:pt x="2455" y="5048"/>
                  </a:cubicBezTo>
                  <a:cubicBezTo>
                    <a:pt x="2433" y="5026"/>
                    <a:pt x="2426" y="5012"/>
                    <a:pt x="2426" y="4990"/>
                  </a:cubicBezTo>
                  <a:cubicBezTo>
                    <a:pt x="2433" y="4961"/>
                    <a:pt x="2462" y="4946"/>
                    <a:pt x="2514" y="4924"/>
                  </a:cubicBezTo>
                  <a:cubicBezTo>
                    <a:pt x="2521" y="4924"/>
                    <a:pt x="2528" y="4916"/>
                    <a:pt x="2528" y="4916"/>
                  </a:cubicBezTo>
                  <a:cubicBezTo>
                    <a:pt x="2528" y="4902"/>
                    <a:pt x="2521" y="4880"/>
                    <a:pt x="2514" y="4858"/>
                  </a:cubicBezTo>
                  <a:cubicBezTo>
                    <a:pt x="2499" y="4828"/>
                    <a:pt x="2484" y="4799"/>
                    <a:pt x="2492" y="4770"/>
                  </a:cubicBezTo>
                  <a:cubicBezTo>
                    <a:pt x="2506" y="4748"/>
                    <a:pt x="2506" y="4748"/>
                    <a:pt x="2506" y="4748"/>
                  </a:cubicBezTo>
                  <a:cubicBezTo>
                    <a:pt x="2514" y="4711"/>
                    <a:pt x="2528" y="4682"/>
                    <a:pt x="2521" y="4653"/>
                  </a:cubicBezTo>
                  <a:cubicBezTo>
                    <a:pt x="2514" y="4623"/>
                    <a:pt x="2477" y="4594"/>
                    <a:pt x="2447" y="4594"/>
                  </a:cubicBezTo>
                  <a:lnTo>
                    <a:pt x="2440" y="4594"/>
                  </a:lnTo>
                  <a:cubicBezTo>
                    <a:pt x="2433" y="4602"/>
                    <a:pt x="2418" y="4602"/>
                    <a:pt x="2411" y="4602"/>
                  </a:cubicBezTo>
                  <a:cubicBezTo>
                    <a:pt x="2367" y="4602"/>
                    <a:pt x="2308" y="4572"/>
                    <a:pt x="2286" y="4528"/>
                  </a:cubicBezTo>
                  <a:cubicBezTo>
                    <a:pt x="2272" y="4514"/>
                    <a:pt x="2250" y="4484"/>
                    <a:pt x="2242" y="4484"/>
                  </a:cubicBezTo>
                  <a:cubicBezTo>
                    <a:pt x="2242" y="4484"/>
                    <a:pt x="2235" y="4484"/>
                    <a:pt x="2220" y="4506"/>
                  </a:cubicBezTo>
                  <a:cubicBezTo>
                    <a:pt x="2213" y="4521"/>
                    <a:pt x="2198" y="4528"/>
                    <a:pt x="2191" y="4528"/>
                  </a:cubicBezTo>
                  <a:cubicBezTo>
                    <a:pt x="2162" y="4528"/>
                    <a:pt x="2140" y="4506"/>
                    <a:pt x="2118" y="4477"/>
                  </a:cubicBezTo>
                  <a:cubicBezTo>
                    <a:pt x="2103" y="4462"/>
                    <a:pt x="2088" y="4447"/>
                    <a:pt x="2074" y="4440"/>
                  </a:cubicBezTo>
                  <a:cubicBezTo>
                    <a:pt x="2059" y="4433"/>
                    <a:pt x="2037" y="4411"/>
                    <a:pt x="2023" y="4396"/>
                  </a:cubicBezTo>
                  <a:cubicBezTo>
                    <a:pt x="2001" y="4374"/>
                    <a:pt x="1978" y="4345"/>
                    <a:pt x="1957" y="4345"/>
                  </a:cubicBezTo>
                  <a:cubicBezTo>
                    <a:pt x="1949" y="4338"/>
                    <a:pt x="1935" y="4338"/>
                    <a:pt x="1927" y="4338"/>
                  </a:cubicBezTo>
                  <a:cubicBezTo>
                    <a:pt x="1883" y="4338"/>
                    <a:pt x="1810" y="4352"/>
                    <a:pt x="1737" y="4389"/>
                  </a:cubicBezTo>
                  <a:cubicBezTo>
                    <a:pt x="1649" y="4433"/>
                    <a:pt x="1597" y="4462"/>
                    <a:pt x="1539" y="4492"/>
                  </a:cubicBezTo>
                  <a:cubicBezTo>
                    <a:pt x="1502" y="4514"/>
                    <a:pt x="1502" y="4514"/>
                    <a:pt x="1502" y="4514"/>
                  </a:cubicBezTo>
                  <a:cubicBezTo>
                    <a:pt x="1458" y="4543"/>
                    <a:pt x="1414" y="4565"/>
                    <a:pt x="1378" y="4572"/>
                  </a:cubicBezTo>
                  <a:cubicBezTo>
                    <a:pt x="1341" y="4579"/>
                    <a:pt x="1312" y="4594"/>
                    <a:pt x="1261" y="4631"/>
                  </a:cubicBezTo>
                  <a:cubicBezTo>
                    <a:pt x="1246" y="4638"/>
                    <a:pt x="1231" y="4638"/>
                    <a:pt x="1216" y="4638"/>
                  </a:cubicBezTo>
                  <a:cubicBezTo>
                    <a:pt x="1202" y="4638"/>
                    <a:pt x="1187" y="4638"/>
                    <a:pt x="1173" y="4631"/>
                  </a:cubicBezTo>
                  <a:cubicBezTo>
                    <a:pt x="1165" y="4631"/>
                    <a:pt x="1158" y="4631"/>
                    <a:pt x="1143" y="4631"/>
                  </a:cubicBezTo>
                  <a:cubicBezTo>
                    <a:pt x="1136" y="4631"/>
                    <a:pt x="1128" y="4631"/>
                    <a:pt x="1121" y="4645"/>
                  </a:cubicBezTo>
                  <a:cubicBezTo>
                    <a:pt x="1070" y="4697"/>
                    <a:pt x="1026" y="4711"/>
                    <a:pt x="997" y="4711"/>
                  </a:cubicBezTo>
                  <a:cubicBezTo>
                    <a:pt x="982" y="4711"/>
                    <a:pt x="967" y="4697"/>
                    <a:pt x="953" y="4682"/>
                  </a:cubicBezTo>
                  <a:cubicBezTo>
                    <a:pt x="938" y="4675"/>
                    <a:pt x="923" y="4653"/>
                    <a:pt x="894" y="4653"/>
                  </a:cubicBezTo>
                  <a:cubicBezTo>
                    <a:pt x="894" y="4653"/>
                    <a:pt x="894" y="4653"/>
                    <a:pt x="887" y="4660"/>
                  </a:cubicBezTo>
                  <a:cubicBezTo>
                    <a:pt x="879" y="4660"/>
                    <a:pt x="872" y="4660"/>
                    <a:pt x="857" y="4660"/>
                  </a:cubicBezTo>
                  <a:cubicBezTo>
                    <a:pt x="792" y="4660"/>
                    <a:pt x="696" y="4638"/>
                    <a:pt x="623" y="4602"/>
                  </a:cubicBezTo>
                  <a:cubicBezTo>
                    <a:pt x="616" y="4602"/>
                    <a:pt x="601" y="4602"/>
                    <a:pt x="594" y="4602"/>
                  </a:cubicBezTo>
                  <a:cubicBezTo>
                    <a:pt x="572" y="4602"/>
                    <a:pt x="542" y="4609"/>
                    <a:pt x="513" y="4631"/>
                  </a:cubicBezTo>
                  <a:cubicBezTo>
                    <a:pt x="476" y="4653"/>
                    <a:pt x="476" y="4653"/>
                    <a:pt x="476" y="4653"/>
                  </a:cubicBezTo>
                  <a:cubicBezTo>
                    <a:pt x="491" y="4616"/>
                    <a:pt x="491" y="4616"/>
                    <a:pt x="491" y="4616"/>
                  </a:cubicBezTo>
                  <a:cubicBezTo>
                    <a:pt x="491" y="4594"/>
                    <a:pt x="498" y="4579"/>
                    <a:pt x="506" y="4557"/>
                  </a:cubicBezTo>
                  <a:cubicBezTo>
                    <a:pt x="513" y="4543"/>
                    <a:pt x="520" y="4521"/>
                    <a:pt x="528" y="4506"/>
                  </a:cubicBezTo>
                  <a:cubicBezTo>
                    <a:pt x="535" y="4440"/>
                    <a:pt x="579" y="4396"/>
                    <a:pt x="630" y="4338"/>
                  </a:cubicBezTo>
                  <a:cubicBezTo>
                    <a:pt x="674" y="4301"/>
                    <a:pt x="674" y="4272"/>
                    <a:pt x="674" y="4228"/>
                  </a:cubicBezTo>
                  <a:cubicBezTo>
                    <a:pt x="682" y="4213"/>
                    <a:pt x="682" y="4198"/>
                    <a:pt x="682" y="4176"/>
                  </a:cubicBezTo>
                  <a:cubicBezTo>
                    <a:pt x="696" y="4103"/>
                    <a:pt x="726" y="4088"/>
                    <a:pt x="777" y="4066"/>
                  </a:cubicBezTo>
                  <a:cubicBezTo>
                    <a:pt x="784" y="4059"/>
                    <a:pt x="799" y="4052"/>
                    <a:pt x="813" y="4045"/>
                  </a:cubicBezTo>
                  <a:cubicBezTo>
                    <a:pt x="850" y="4023"/>
                    <a:pt x="850" y="3986"/>
                    <a:pt x="850" y="3927"/>
                  </a:cubicBezTo>
                  <a:cubicBezTo>
                    <a:pt x="850" y="3891"/>
                    <a:pt x="850" y="3854"/>
                    <a:pt x="865" y="3825"/>
                  </a:cubicBezTo>
                  <a:cubicBezTo>
                    <a:pt x="872" y="3795"/>
                    <a:pt x="879" y="3781"/>
                    <a:pt x="865" y="3766"/>
                  </a:cubicBezTo>
                  <a:cubicBezTo>
                    <a:pt x="850" y="3744"/>
                    <a:pt x="821" y="3729"/>
                    <a:pt x="777" y="3729"/>
                  </a:cubicBezTo>
                  <a:cubicBezTo>
                    <a:pt x="696" y="3729"/>
                    <a:pt x="616" y="3700"/>
                    <a:pt x="616" y="3627"/>
                  </a:cubicBezTo>
                  <a:cubicBezTo>
                    <a:pt x="616" y="3576"/>
                    <a:pt x="608" y="3576"/>
                    <a:pt x="594" y="3576"/>
                  </a:cubicBezTo>
                  <a:cubicBezTo>
                    <a:pt x="579" y="3576"/>
                    <a:pt x="564" y="3583"/>
                    <a:pt x="542" y="3583"/>
                  </a:cubicBezTo>
                  <a:cubicBezTo>
                    <a:pt x="535" y="3583"/>
                    <a:pt x="528" y="3583"/>
                    <a:pt x="520" y="3583"/>
                  </a:cubicBezTo>
                  <a:cubicBezTo>
                    <a:pt x="476" y="3583"/>
                    <a:pt x="447" y="3554"/>
                    <a:pt x="418" y="3532"/>
                  </a:cubicBezTo>
                  <a:cubicBezTo>
                    <a:pt x="403" y="3517"/>
                    <a:pt x="388" y="3502"/>
                    <a:pt x="374" y="3488"/>
                  </a:cubicBezTo>
                  <a:cubicBezTo>
                    <a:pt x="301" y="3451"/>
                    <a:pt x="264" y="3378"/>
                    <a:pt x="249" y="3283"/>
                  </a:cubicBezTo>
                  <a:cubicBezTo>
                    <a:pt x="242" y="3209"/>
                    <a:pt x="220" y="3195"/>
                    <a:pt x="183" y="3165"/>
                  </a:cubicBezTo>
                  <a:cubicBezTo>
                    <a:pt x="176" y="3158"/>
                    <a:pt x="161" y="3143"/>
                    <a:pt x="154" y="3136"/>
                  </a:cubicBezTo>
                  <a:cubicBezTo>
                    <a:pt x="125" y="3107"/>
                    <a:pt x="110" y="3055"/>
                    <a:pt x="88" y="3004"/>
                  </a:cubicBezTo>
                  <a:cubicBezTo>
                    <a:pt x="73" y="2967"/>
                    <a:pt x="59" y="2931"/>
                    <a:pt x="37" y="2894"/>
                  </a:cubicBezTo>
                  <a:cubicBezTo>
                    <a:pt x="0" y="2828"/>
                    <a:pt x="29" y="2762"/>
                    <a:pt x="66" y="2689"/>
                  </a:cubicBezTo>
                  <a:cubicBezTo>
                    <a:pt x="73" y="2660"/>
                    <a:pt x="88" y="2638"/>
                    <a:pt x="95" y="2608"/>
                  </a:cubicBezTo>
                  <a:cubicBezTo>
                    <a:pt x="110" y="2572"/>
                    <a:pt x="110" y="2550"/>
                    <a:pt x="110" y="2535"/>
                  </a:cubicBezTo>
                  <a:cubicBezTo>
                    <a:pt x="117" y="2506"/>
                    <a:pt x="117" y="2498"/>
                    <a:pt x="154" y="2469"/>
                  </a:cubicBezTo>
                  <a:cubicBezTo>
                    <a:pt x="176" y="2447"/>
                    <a:pt x="191" y="2447"/>
                    <a:pt x="205" y="2440"/>
                  </a:cubicBezTo>
                  <a:cubicBezTo>
                    <a:pt x="205" y="2440"/>
                    <a:pt x="213" y="2440"/>
                    <a:pt x="213" y="2433"/>
                  </a:cubicBezTo>
                  <a:cubicBezTo>
                    <a:pt x="213" y="2433"/>
                    <a:pt x="198" y="2418"/>
                    <a:pt x="198" y="2403"/>
                  </a:cubicBezTo>
                  <a:cubicBezTo>
                    <a:pt x="161" y="2330"/>
                    <a:pt x="198" y="2257"/>
                    <a:pt x="249" y="2220"/>
                  </a:cubicBezTo>
                  <a:cubicBezTo>
                    <a:pt x="264" y="2205"/>
                    <a:pt x="286" y="2198"/>
                    <a:pt x="315" y="2191"/>
                  </a:cubicBezTo>
                  <a:cubicBezTo>
                    <a:pt x="359" y="2176"/>
                    <a:pt x="403" y="2154"/>
                    <a:pt x="425" y="2110"/>
                  </a:cubicBezTo>
                  <a:cubicBezTo>
                    <a:pt x="447" y="2051"/>
                    <a:pt x="484" y="2015"/>
                    <a:pt x="528" y="2015"/>
                  </a:cubicBezTo>
                  <a:cubicBezTo>
                    <a:pt x="542" y="2015"/>
                    <a:pt x="564" y="2022"/>
                    <a:pt x="579" y="2037"/>
                  </a:cubicBezTo>
                  <a:cubicBezTo>
                    <a:pt x="594" y="2044"/>
                    <a:pt x="601" y="2044"/>
                    <a:pt x="608" y="2044"/>
                  </a:cubicBezTo>
                  <a:cubicBezTo>
                    <a:pt x="637" y="2044"/>
                    <a:pt x="660" y="2015"/>
                    <a:pt x="696" y="1978"/>
                  </a:cubicBezTo>
                  <a:cubicBezTo>
                    <a:pt x="704" y="1964"/>
                    <a:pt x="704" y="1956"/>
                    <a:pt x="704" y="1949"/>
                  </a:cubicBezTo>
                  <a:cubicBezTo>
                    <a:pt x="704" y="1942"/>
                    <a:pt x="689" y="1927"/>
                    <a:pt x="674" y="1919"/>
                  </a:cubicBezTo>
                  <a:cubicBezTo>
                    <a:pt x="667" y="1912"/>
                    <a:pt x="652" y="1905"/>
                    <a:pt x="645" y="1897"/>
                  </a:cubicBezTo>
                  <a:cubicBezTo>
                    <a:pt x="637" y="1890"/>
                    <a:pt x="637" y="1890"/>
                    <a:pt x="637" y="1890"/>
                  </a:cubicBezTo>
                  <a:cubicBezTo>
                    <a:pt x="645" y="1868"/>
                    <a:pt x="645" y="1868"/>
                    <a:pt x="645" y="1868"/>
                  </a:cubicBezTo>
                  <a:cubicBezTo>
                    <a:pt x="652" y="1832"/>
                    <a:pt x="660" y="1795"/>
                    <a:pt x="696" y="1788"/>
                  </a:cubicBezTo>
                  <a:cubicBezTo>
                    <a:pt x="704" y="1788"/>
                    <a:pt x="711" y="1788"/>
                    <a:pt x="718" y="1788"/>
                  </a:cubicBezTo>
                  <a:cubicBezTo>
                    <a:pt x="755" y="1788"/>
                    <a:pt x="777" y="1810"/>
                    <a:pt x="799" y="1846"/>
                  </a:cubicBezTo>
                  <a:cubicBezTo>
                    <a:pt x="799" y="1854"/>
                    <a:pt x="806" y="1868"/>
                    <a:pt x="813" y="1883"/>
                  </a:cubicBezTo>
                  <a:cubicBezTo>
                    <a:pt x="828" y="1912"/>
                    <a:pt x="843" y="1949"/>
                    <a:pt x="857" y="1949"/>
                  </a:cubicBezTo>
                  <a:cubicBezTo>
                    <a:pt x="872" y="1949"/>
                    <a:pt x="879" y="1942"/>
                    <a:pt x="894" y="1927"/>
                  </a:cubicBezTo>
                  <a:cubicBezTo>
                    <a:pt x="960" y="1854"/>
                    <a:pt x="989" y="1832"/>
                    <a:pt x="1048" y="1810"/>
                  </a:cubicBezTo>
                  <a:cubicBezTo>
                    <a:pt x="1063" y="1810"/>
                    <a:pt x="1070" y="1810"/>
                    <a:pt x="1077" y="1810"/>
                  </a:cubicBezTo>
                  <a:cubicBezTo>
                    <a:pt x="1136" y="1810"/>
                    <a:pt x="1180" y="1861"/>
                    <a:pt x="1195" y="1883"/>
                  </a:cubicBezTo>
                  <a:cubicBezTo>
                    <a:pt x="1209" y="1905"/>
                    <a:pt x="1224" y="1912"/>
                    <a:pt x="1238" y="1912"/>
                  </a:cubicBezTo>
                  <a:cubicBezTo>
                    <a:pt x="1246" y="1912"/>
                    <a:pt x="1253" y="1912"/>
                    <a:pt x="1253" y="1897"/>
                  </a:cubicBezTo>
                  <a:cubicBezTo>
                    <a:pt x="1261" y="1876"/>
                    <a:pt x="1268" y="1876"/>
                    <a:pt x="1275" y="1876"/>
                  </a:cubicBezTo>
                  <a:cubicBezTo>
                    <a:pt x="1290" y="1876"/>
                    <a:pt x="1304" y="1890"/>
                    <a:pt x="1319" y="1905"/>
                  </a:cubicBezTo>
                  <a:cubicBezTo>
                    <a:pt x="1326" y="1912"/>
                    <a:pt x="1334" y="1919"/>
                    <a:pt x="1341" y="1927"/>
                  </a:cubicBezTo>
                  <a:cubicBezTo>
                    <a:pt x="1348" y="1934"/>
                    <a:pt x="1356" y="1942"/>
                    <a:pt x="1370" y="1942"/>
                  </a:cubicBezTo>
                  <a:cubicBezTo>
                    <a:pt x="1400" y="1942"/>
                    <a:pt x="1422" y="1927"/>
                    <a:pt x="1444" y="1919"/>
                  </a:cubicBezTo>
                  <a:cubicBezTo>
                    <a:pt x="1480" y="1897"/>
                    <a:pt x="1488" y="1868"/>
                    <a:pt x="1480" y="1832"/>
                  </a:cubicBezTo>
                  <a:cubicBezTo>
                    <a:pt x="1480" y="1810"/>
                    <a:pt x="1488" y="1780"/>
                    <a:pt x="1502" y="1766"/>
                  </a:cubicBezTo>
                  <a:cubicBezTo>
                    <a:pt x="1517" y="1736"/>
                    <a:pt x="1524" y="1729"/>
                    <a:pt x="1510" y="1722"/>
                  </a:cubicBezTo>
                  <a:cubicBezTo>
                    <a:pt x="1502" y="1707"/>
                    <a:pt x="1495" y="1707"/>
                    <a:pt x="1480" y="1700"/>
                  </a:cubicBezTo>
                  <a:cubicBezTo>
                    <a:pt x="1458" y="1685"/>
                    <a:pt x="1436" y="1670"/>
                    <a:pt x="1436" y="1626"/>
                  </a:cubicBezTo>
                  <a:cubicBezTo>
                    <a:pt x="1436" y="1612"/>
                    <a:pt x="1436" y="1604"/>
                    <a:pt x="1436" y="1597"/>
                  </a:cubicBezTo>
                  <a:cubicBezTo>
                    <a:pt x="1436" y="1560"/>
                    <a:pt x="1436" y="1531"/>
                    <a:pt x="1480" y="1495"/>
                  </a:cubicBezTo>
                  <a:cubicBezTo>
                    <a:pt x="1488" y="1480"/>
                    <a:pt x="1502" y="1473"/>
                    <a:pt x="1517" y="1473"/>
                  </a:cubicBezTo>
                  <a:cubicBezTo>
                    <a:pt x="1546" y="1473"/>
                    <a:pt x="1568" y="1502"/>
                    <a:pt x="1590" y="1524"/>
                  </a:cubicBezTo>
                  <a:cubicBezTo>
                    <a:pt x="1590" y="1524"/>
                    <a:pt x="1597" y="1531"/>
                    <a:pt x="1605" y="1538"/>
                  </a:cubicBezTo>
                  <a:cubicBezTo>
                    <a:pt x="1619" y="1553"/>
                    <a:pt x="1649" y="1583"/>
                    <a:pt x="1678" y="1583"/>
                  </a:cubicBezTo>
                  <a:cubicBezTo>
                    <a:pt x="1693" y="1583"/>
                    <a:pt x="1700" y="1583"/>
                    <a:pt x="1707" y="1568"/>
                  </a:cubicBezTo>
                  <a:cubicBezTo>
                    <a:pt x="1751" y="1516"/>
                    <a:pt x="1766" y="1473"/>
                    <a:pt x="1759" y="1451"/>
                  </a:cubicBezTo>
                  <a:cubicBezTo>
                    <a:pt x="1744" y="1428"/>
                    <a:pt x="1737" y="1392"/>
                    <a:pt x="1751" y="1363"/>
                  </a:cubicBezTo>
                  <a:cubicBezTo>
                    <a:pt x="1759" y="1341"/>
                    <a:pt x="1781" y="1333"/>
                    <a:pt x="1803" y="1326"/>
                  </a:cubicBezTo>
                  <a:cubicBezTo>
                    <a:pt x="1832" y="1326"/>
                    <a:pt x="1832" y="1319"/>
                    <a:pt x="1832" y="1289"/>
                  </a:cubicBezTo>
                  <a:cubicBezTo>
                    <a:pt x="1839" y="1282"/>
                    <a:pt x="1839" y="1282"/>
                    <a:pt x="1839" y="1275"/>
                  </a:cubicBezTo>
                  <a:cubicBezTo>
                    <a:pt x="1847" y="1238"/>
                    <a:pt x="1898" y="1231"/>
                    <a:pt x="1942" y="1231"/>
                  </a:cubicBezTo>
                  <a:cubicBezTo>
                    <a:pt x="1957" y="1231"/>
                    <a:pt x="1971" y="1231"/>
                    <a:pt x="1978" y="1223"/>
                  </a:cubicBezTo>
                  <a:cubicBezTo>
                    <a:pt x="1986" y="1223"/>
                    <a:pt x="1993" y="1216"/>
                    <a:pt x="2008" y="1194"/>
                  </a:cubicBezTo>
                  <a:cubicBezTo>
                    <a:pt x="2015" y="1179"/>
                    <a:pt x="2023" y="1165"/>
                    <a:pt x="2037" y="1143"/>
                  </a:cubicBezTo>
                  <a:cubicBezTo>
                    <a:pt x="2052" y="1128"/>
                    <a:pt x="2066" y="1121"/>
                    <a:pt x="2088" y="1121"/>
                  </a:cubicBezTo>
                  <a:cubicBezTo>
                    <a:pt x="2103" y="1121"/>
                    <a:pt x="2125" y="1128"/>
                    <a:pt x="2140" y="1135"/>
                  </a:cubicBezTo>
                  <a:cubicBezTo>
                    <a:pt x="2154" y="1135"/>
                    <a:pt x="2169" y="1143"/>
                    <a:pt x="2176" y="1143"/>
                  </a:cubicBezTo>
                  <a:cubicBezTo>
                    <a:pt x="2213" y="1143"/>
                    <a:pt x="2242" y="1128"/>
                    <a:pt x="2286" y="1092"/>
                  </a:cubicBezTo>
                  <a:cubicBezTo>
                    <a:pt x="2301" y="1084"/>
                    <a:pt x="2308" y="1077"/>
                    <a:pt x="2323" y="1062"/>
                  </a:cubicBezTo>
                  <a:cubicBezTo>
                    <a:pt x="2360" y="1033"/>
                    <a:pt x="2396" y="996"/>
                    <a:pt x="2433" y="996"/>
                  </a:cubicBezTo>
                  <a:cubicBezTo>
                    <a:pt x="2455" y="996"/>
                    <a:pt x="2477" y="1011"/>
                    <a:pt x="2499" y="1018"/>
                  </a:cubicBezTo>
                  <a:cubicBezTo>
                    <a:pt x="2521" y="1033"/>
                    <a:pt x="2543" y="1047"/>
                    <a:pt x="2565" y="1047"/>
                  </a:cubicBezTo>
                  <a:cubicBezTo>
                    <a:pt x="2572" y="1047"/>
                    <a:pt x="2572" y="1040"/>
                    <a:pt x="2579" y="1040"/>
                  </a:cubicBezTo>
                  <a:cubicBezTo>
                    <a:pt x="2594" y="1033"/>
                    <a:pt x="2609" y="1026"/>
                    <a:pt x="2631" y="1011"/>
                  </a:cubicBezTo>
                  <a:cubicBezTo>
                    <a:pt x="2660" y="996"/>
                    <a:pt x="2704" y="982"/>
                    <a:pt x="2719" y="960"/>
                  </a:cubicBezTo>
                  <a:cubicBezTo>
                    <a:pt x="2733" y="938"/>
                    <a:pt x="2741" y="930"/>
                    <a:pt x="2748" y="908"/>
                  </a:cubicBezTo>
                  <a:cubicBezTo>
                    <a:pt x="2755" y="894"/>
                    <a:pt x="2763" y="879"/>
                    <a:pt x="2777" y="857"/>
                  </a:cubicBezTo>
                  <a:cubicBezTo>
                    <a:pt x="2814" y="798"/>
                    <a:pt x="2880" y="762"/>
                    <a:pt x="2924" y="747"/>
                  </a:cubicBezTo>
                  <a:cubicBezTo>
                    <a:pt x="2931" y="747"/>
                    <a:pt x="2938" y="747"/>
                    <a:pt x="2953" y="747"/>
                  </a:cubicBezTo>
                  <a:cubicBezTo>
                    <a:pt x="2983" y="740"/>
                    <a:pt x="3026" y="733"/>
                    <a:pt x="3070" y="703"/>
                  </a:cubicBezTo>
                  <a:cubicBezTo>
                    <a:pt x="3078" y="696"/>
                    <a:pt x="3092" y="688"/>
                    <a:pt x="3100" y="681"/>
                  </a:cubicBezTo>
                  <a:cubicBezTo>
                    <a:pt x="3129" y="659"/>
                    <a:pt x="3151" y="637"/>
                    <a:pt x="3173" y="637"/>
                  </a:cubicBezTo>
                  <a:cubicBezTo>
                    <a:pt x="3180" y="637"/>
                    <a:pt x="3202" y="645"/>
                    <a:pt x="3202" y="666"/>
                  </a:cubicBezTo>
                  <a:cubicBezTo>
                    <a:pt x="3202" y="674"/>
                    <a:pt x="3209" y="674"/>
                    <a:pt x="3209" y="674"/>
                  </a:cubicBezTo>
                  <a:cubicBezTo>
                    <a:pt x="3209" y="674"/>
                    <a:pt x="3232" y="659"/>
                    <a:pt x="3232" y="637"/>
                  </a:cubicBezTo>
                  <a:cubicBezTo>
                    <a:pt x="3239" y="593"/>
                    <a:pt x="3268" y="593"/>
                    <a:pt x="3297" y="586"/>
                  </a:cubicBezTo>
                  <a:cubicBezTo>
                    <a:pt x="3312" y="586"/>
                    <a:pt x="3334" y="586"/>
                    <a:pt x="3356" y="578"/>
                  </a:cubicBezTo>
                  <a:cubicBezTo>
                    <a:pt x="3378" y="578"/>
                    <a:pt x="3385" y="571"/>
                    <a:pt x="3393" y="571"/>
                  </a:cubicBezTo>
                  <a:lnTo>
                    <a:pt x="3393" y="571"/>
                  </a:lnTo>
                  <a:cubicBezTo>
                    <a:pt x="3400" y="564"/>
                    <a:pt x="3400" y="557"/>
                    <a:pt x="3407" y="542"/>
                  </a:cubicBezTo>
                  <a:cubicBezTo>
                    <a:pt x="3407" y="527"/>
                    <a:pt x="3407" y="513"/>
                    <a:pt x="3415" y="505"/>
                  </a:cubicBezTo>
                  <a:cubicBezTo>
                    <a:pt x="3422" y="469"/>
                    <a:pt x="3429" y="439"/>
                    <a:pt x="3459" y="410"/>
                  </a:cubicBezTo>
                  <a:cubicBezTo>
                    <a:pt x="3481" y="381"/>
                    <a:pt x="3503" y="359"/>
                    <a:pt x="3525" y="344"/>
                  </a:cubicBezTo>
                  <a:cubicBezTo>
                    <a:pt x="3539" y="337"/>
                    <a:pt x="3554" y="329"/>
                    <a:pt x="3561" y="322"/>
                  </a:cubicBezTo>
                  <a:cubicBezTo>
                    <a:pt x="3576" y="307"/>
                    <a:pt x="3583" y="271"/>
                    <a:pt x="3583" y="242"/>
                  </a:cubicBezTo>
                  <a:cubicBezTo>
                    <a:pt x="3583" y="227"/>
                    <a:pt x="3591" y="212"/>
                    <a:pt x="3591" y="197"/>
                  </a:cubicBezTo>
                  <a:cubicBezTo>
                    <a:pt x="3591" y="190"/>
                    <a:pt x="3591" y="176"/>
                    <a:pt x="3591" y="168"/>
                  </a:cubicBezTo>
                  <a:cubicBezTo>
                    <a:pt x="3591" y="124"/>
                    <a:pt x="3591" y="80"/>
                    <a:pt x="3642" y="44"/>
                  </a:cubicBezTo>
                  <a:cubicBezTo>
                    <a:pt x="3686" y="14"/>
                    <a:pt x="3715" y="0"/>
                    <a:pt x="3737" y="0"/>
                  </a:cubicBezTo>
                  <a:cubicBezTo>
                    <a:pt x="3759" y="0"/>
                    <a:pt x="3774" y="7"/>
                    <a:pt x="3788" y="22"/>
                  </a:cubicBezTo>
                  <a:cubicBezTo>
                    <a:pt x="3818" y="66"/>
                    <a:pt x="3818" y="124"/>
                    <a:pt x="3788" y="168"/>
                  </a:cubicBezTo>
                  <a:cubicBezTo>
                    <a:pt x="3781" y="176"/>
                    <a:pt x="3781" y="183"/>
                    <a:pt x="3788" y="183"/>
                  </a:cubicBezTo>
                  <a:cubicBezTo>
                    <a:pt x="3788" y="205"/>
                    <a:pt x="3825" y="219"/>
                    <a:pt x="3847" y="227"/>
                  </a:cubicBezTo>
                  <a:cubicBezTo>
                    <a:pt x="3847" y="234"/>
                    <a:pt x="3847" y="234"/>
                    <a:pt x="3847" y="234"/>
                  </a:cubicBezTo>
                  <a:cubicBezTo>
                    <a:pt x="3884" y="249"/>
                    <a:pt x="3913" y="278"/>
                    <a:pt x="3935" y="315"/>
                  </a:cubicBezTo>
                  <a:cubicBezTo>
                    <a:pt x="3942" y="329"/>
                    <a:pt x="3964" y="337"/>
                    <a:pt x="3979" y="337"/>
                  </a:cubicBezTo>
                  <a:cubicBezTo>
                    <a:pt x="3986" y="337"/>
                    <a:pt x="3994" y="337"/>
                    <a:pt x="3994" y="337"/>
                  </a:cubicBezTo>
                  <a:cubicBezTo>
                    <a:pt x="4008" y="337"/>
                    <a:pt x="4067" y="344"/>
                    <a:pt x="4082" y="388"/>
                  </a:cubicBezTo>
                  <a:cubicBezTo>
                    <a:pt x="4089" y="417"/>
                    <a:pt x="4074" y="461"/>
                    <a:pt x="4059" y="491"/>
                  </a:cubicBezTo>
                  <a:cubicBezTo>
                    <a:pt x="4059" y="498"/>
                    <a:pt x="4052" y="498"/>
                    <a:pt x="4052" y="505"/>
                  </a:cubicBezTo>
                  <a:cubicBezTo>
                    <a:pt x="4045" y="527"/>
                    <a:pt x="4045" y="593"/>
                    <a:pt x="4067" y="608"/>
                  </a:cubicBezTo>
                  <a:cubicBezTo>
                    <a:pt x="4074" y="623"/>
                    <a:pt x="4089" y="630"/>
                    <a:pt x="4104" y="637"/>
                  </a:cubicBezTo>
                  <a:cubicBezTo>
                    <a:pt x="4118" y="652"/>
                    <a:pt x="4147" y="674"/>
                    <a:pt x="4162" y="696"/>
                  </a:cubicBezTo>
                  <a:cubicBezTo>
                    <a:pt x="4169" y="703"/>
                    <a:pt x="4177" y="718"/>
                    <a:pt x="4191" y="725"/>
                  </a:cubicBezTo>
                  <a:cubicBezTo>
                    <a:pt x="4214" y="740"/>
                    <a:pt x="4243" y="762"/>
                    <a:pt x="4235" y="798"/>
                  </a:cubicBezTo>
                  <a:cubicBezTo>
                    <a:pt x="4228" y="806"/>
                    <a:pt x="4228" y="820"/>
                    <a:pt x="4235" y="820"/>
                  </a:cubicBezTo>
                  <a:cubicBezTo>
                    <a:pt x="4235" y="828"/>
                    <a:pt x="4250" y="828"/>
                    <a:pt x="4257" y="828"/>
                  </a:cubicBezTo>
                  <a:cubicBezTo>
                    <a:pt x="4265" y="828"/>
                    <a:pt x="4272" y="828"/>
                    <a:pt x="4279" y="828"/>
                  </a:cubicBezTo>
                  <a:cubicBezTo>
                    <a:pt x="4287" y="828"/>
                    <a:pt x="4294" y="820"/>
                    <a:pt x="4301" y="820"/>
                  </a:cubicBezTo>
                  <a:cubicBezTo>
                    <a:pt x="4316" y="820"/>
                    <a:pt x="4331" y="813"/>
                    <a:pt x="4338" y="813"/>
                  </a:cubicBezTo>
                  <a:cubicBezTo>
                    <a:pt x="4353" y="813"/>
                    <a:pt x="4375" y="820"/>
                    <a:pt x="4375" y="850"/>
                  </a:cubicBezTo>
                  <a:lnTo>
                    <a:pt x="4375" y="850"/>
                  </a:lnTo>
                  <a:lnTo>
                    <a:pt x="4375" y="857"/>
                  </a:lnTo>
                  <a:cubicBezTo>
                    <a:pt x="4375" y="908"/>
                    <a:pt x="4375" y="908"/>
                    <a:pt x="4375" y="908"/>
                  </a:cubicBezTo>
                  <a:cubicBezTo>
                    <a:pt x="4375" y="945"/>
                    <a:pt x="4382" y="982"/>
                    <a:pt x="4404" y="1018"/>
                  </a:cubicBezTo>
                  <a:cubicBezTo>
                    <a:pt x="4433" y="1077"/>
                    <a:pt x="4477" y="1187"/>
                    <a:pt x="4433" y="1260"/>
                  </a:cubicBezTo>
                  <a:cubicBezTo>
                    <a:pt x="4426" y="1267"/>
                    <a:pt x="4419" y="1282"/>
                    <a:pt x="4411" y="1297"/>
                  </a:cubicBezTo>
                  <a:cubicBezTo>
                    <a:pt x="4382" y="1355"/>
                    <a:pt x="4360" y="1407"/>
                    <a:pt x="4316" y="1407"/>
                  </a:cubicBezTo>
                  <a:cubicBezTo>
                    <a:pt x="4309" y="1407"/>
                    <a:pt x="4309" y="1407"/>
                    <a:pt x="4309" y="1407"/>
                  </a:cubicBezTo>
                  <a:cubicBezTo>
                    <a:pt x="4279" y="1407"/>
                    <a:pt x="4265" y="1385"/>
                    <a:pt x="4250" y="1370"/>
                  </a:cubicBezTo>
                  <a:cubicBezTo>
                    <a:pt x="4243" y="1355"/>
                    <a:pt x="4228" y="1341"/>
                    <a:pt x="4214" y="1341"/>
                  </a:cubicBezTo>
                  <a:lnTo>
                    <a:pt x="4206" y="1341"/>
                  </a:lnTo>
                  <a:cubicBezTo>
                    <a:pt x="4177" y="1341"/>
                    <a:pt x="4155" y="1363"/>
                    <a:pt x="4140" y="1392"/>
                  </a:cubicBezTo>
                  <a:cubicBezTo>
                    <a:pt x="4133" y="1407"/>
                    <a:pt x="4118" y="1414"/>
                    <a:pt x="4111" y="1421"/>
                  </a:cubicBezTo>
                  <a:cubicBezTo>
                    <a:pt x="4089" y="1451"/>
                    <a:pt x="4067" y="1473"/>
                    <a:pt x="4074" y="1502"/>
                  </a:cubicBezTo>
                  <a:cubicBezTo>
                    <a:pt x="4074" y="1516"/>
                    <a:pt x="4082" y="1538"/>
                    <a:pt x="4089" y="1553"/>
                  </a:cubicBezTo>
                  <a:cubicBezTo>
                    <a:pt x="4096" y="1583"/>
                    <a:pt x="4111" y="1619"/>
                    <a:pt x="4104" y="1648"/>
                  </a:cubicBezTo>
                  <a:cubicBezTo>
                    <a:pt x="4104" y="1663"/>
                    <a:pt x="4104" y="1670"/>
                    <a:pt x="4104" y="1678"/>
                  </a:cubicBezTo>
                  <a:cubicBezTo>
                    <a:pt x="4096" y="1714"/>
                    <a:pt x="4096" y="1736"/>
                    <a:pt x="4059" y="1773"/>
                  </a:cubicBezTo>
                  <a:cubicBezTo>
                    <a:pt x="4045" y="1780"/>
                    <a:pt x="4045" y="1780"/>
                    <a:pt x="4045" y="1780"/>
                  </a:cubicBezTo>
                  <a:cubicBezTo>
                    <a:pt x="4038" y="1788"/>
                    <a:pt x="4023" y="1802"/>
                    <a:pt x="4023" y="1810"/>
                  </a:cubicBezTo>
                  <a:lnTo>
                    <a:pt x="4023" y="1810"/>
                  </a:lnTo>
                  <a:cubicBezTo>
                    <a:pt x="4030" y="1810"/>
                    <a:pt x="4038" y="1810"/>
                    <a:pt x="4059" y="1810"/>
                  </a:cubicBezTo>
                  <a:cubicBezTo>
                    <a:pt x="4133" y="1824"/>
                    <a:pt x="4169" y="1861"/>
                    <a:pt x="4199" y="1890"/>
                  </a:cubicBezTo>
                  <a:cubicBezTo>
                    <a:pt x="4214" y="1905"/>
                    <a:pt x="4214" y="1905"/>
                    <a:pt x="4214" y="1905"/>
                  </a:cubicBezTo>
                  <a:cubicBezTo>
                    <a:pt x="4235" y="1927"/>
                    <a:pt x="4243" y="1949"/>
                    <a:pt x="4250" y="1971"/>
                  </a:cubicBezTo>
                  <a:cubicBezTo>
                    <a:pt x="4250" y="1985"/>
                    <a:pt x="4250" y="1993"/>
                    <a:pt x="4257" y="2007"/>
                  </a:cubicBezTo>
                  <a:cubicBezTo>
                    <a:pt x="4265" y="2029"/>
                    <a:pt x="4272" y="2037"/>
                    <a:pt x="4287" y="2051"/>
                  </a:cubicBezTo>
                  <a:cubicBezTo>
                    <a:pt x="4294" y="2059"/>
                    <a:pt x="4301" y="2066"/>
                    <a:pt x="4316" y="2081"/>
                  </a:cubicBezTo>
                  <a:cubicBezTo>
                    <a:pt x="4345" y="2125"/>
                    <a:pt x="4360" y="2183"/>
                    <a:pt x="4353" y="2227"/>
                  </a:cubicBezTo>
                  <a:cubicBezTo>
                    <a:pt x="4345" y="2249"/>
                    <a:pt x="4338" y="2315"/>
                    <a:pt x="4294" y="2315"/>
                  </a:cubicBezTo>
                  <a:cubicBezTo>
                    <a:pt x="4279" y="2315"/>
                    <a:pt x="4265" y="2308"/>
                    <a:pt x="4250" y="2301"/>
                  </a:cubicBezTo>
                  <a:cubicBezTo>
                    <a:pt x="4235" y="2286"/>
                    <a:pt x="4214" y="2286"/>
                    <a:pt x="4206" y="2286"/>
                  </a:cubicBezTo>
                  <a:cubicBezTo>
                    <a:pt x="4184" y="2286"/>
                    <a:pt x="4162" y="2293"/>
                    <a:pt x="4155" y="2301"/>
                  </a:cubicBezTo>
                  <a:cubicBezTo>
                    <a:pt x="4155" y="2308"/>
                    <a:pt x="4155" y="2308"/>
                    <a:pt x="4155" y="2308"/>
                  </a:cubicBezTo>
                  <a:cubicBezTo>
                    <a:pt x="4155" y="2315"/>
                    <a:pt x="4162" y="2315"/>
                    <a:pt x="4177" y="2323"/>
                  </a:cubicBezTo>
                  <a:cubicBezTo>
                    <a:pt x="4191" y="2323"/>
                    <a:pt x="4221" y="2330"/>
                    <a:pt x="4221" y="2359"/>
                  </a:cubicBezTo>
                  <a:cubicBezTo>
                    <a:pt x="4228" y="2388"/>
                    <a:pt x="4221" y="2425"/>
                    <a:pt x="4206" y="2440"/>
                  </a:cubicBezTo>
                  <a:cubicBezTo>
                    <a:pt x="4191" y="2454"/>
                    <a:pt x="4177" y="2462"/>
                    <a:pt x="4162" y="2462"/>
                  </a:cubicBezTo>
                  <a:cubicBezTo>
                    <a:pt x="4147" y="2462"/>
                    <a:pt x="4140" y="2462"/>
                    <a:pt x="4126" y="2454"/>
                  </a:cubicBezTo>
                  <a:cubicBezTo>
                    <a:pt x="4111" y="2447"/>
                    <a:pt x="4096" y="2433"/>
                    <a:pt x="4082" y="2425"/>
                  </a:cubicBezTo>
                  <a:cubicBezTo>
                    <a:pt x="4067" y="2410"/>
                    <a:pt x="4052" y="2403"/>
                    <a:pt x="4045" y="2403"/>
                  </a:cubicBezTo>
                  <a:cubicBezTo>
                    <a:pt x="4038" y="2403"/>
                    <a:pt x="4038" y="2403"/>
                    <a:pt x="4023" y="2418"/>
                  </a:cubicBezTo>
                  <a:cubicBezTo>
                    <a:pt x="4008" y="2440"/>
                    <a:pt x="3979" y="2454"/>
                    <a:pt x="3957" y="2476"/>
                  </a:cubicBezTo>
                  <a:cubicBezTo>
                    <a:pt x="3942" y="2484"/>
                    <a:pt x="3928" y="2498"/>
                    <a:pt x="3913" y="2513"/>
                  </a:cubicBezTo>
                  <a:cubicBezTo>
                    <a:pt x="3906" y="2520"/>
                    <a:pt x="3891" y="2528"/>
                    <a:pt x="3876" y="2542"/>
                  </a:cubicBezTo>
                  <a:cubicBezTo>
                    <a:pt x="3854" y="2557"/>
                    <a:pt x="3825" y="2579"/>
                    <a:pt x="3825" y="2594"/>
                  </a:cubicBezTo>
                  <a:cubicBezTo>
                    <a:pt x="3825" y="2594"/>
                    <a:pt x="3825" y="2594"/>
                    <a:pt x="3832" y="2601"/>
                  </a:cubicBezTo>
                  <a:cubicBezTo>
                    <a:pt x="3854" y="2630"/>
                    <a:pt x="3884" y="2638"/>
                    <a:pt x="3906" y="2645"/>
                  </a:cubicBezTo>
                  <a:cubicBezTo>
                    <a:pt x="3913" y="2645"/>
                    <a:pt x="3913" y="2645"/>
                    <a:pt x="3913" y="2645"/>
                  </a:cubicBezTo>
                  <a:cubicBezTo>
                    <a:pt x="3950" y="2660"/>
                    <a:pt x="3972" y="2704"/>
                    <a:pt x="3957" y="2747"/>
                  </a:cubicBezTo>
                  <a:cubicBezTo>
                    <a:pt x="3957" y="2777"/>
                    <a:pt x="3950" y="2806"/>
                    <a:pt x="3920" y="2806"/>
                  </a:cubicBezTo>
                  <a:cubicBezTo>
                    <a:pt x="3913" y="2806"/>
                    <a:pt x="3898" y="2799"/>
                    <a:pt x="3884" y="2792"/>
                  </a:cubicBezTo>
                  <a:cubicBezTo>
                    <a:pt x="3869" y="2792"/>
                    <a:pt x="3854" y="2784"/>
                    <a:pt x="3840" y="2777"/>
                  </a:cubicBezTo>
                  <a:cubicBezTo>
                    <a:pt x="3818" y="2769"/>
                    <a:pt x="3796" y="2762"/>
                    <a:pt x="3788" y="2762"/>
                  </a:cubicBezTo>
                  <a:cubicBezTo>
                    <a:pt x="3781" y="2762"/>
                    <a:pt x="3781" y="2762"/>
                    <a:pt x="3781" y="2762"/>
                  </a:cubicBezTo>
                  <a:cubicBezTo>
                    <a:pt x="3766" y="2777"/>
                    <a:pt x="3759" y="2806"/>
                    <a:pt x="3759" y="2828"/>
                  </a:cubicBezTo>
                  <a:cubicBezTo>
                    <a:pt x="3752" y="2843"/>
                    <a:pt x="3752" y="2850"/>
                    <a:pt x="3745" y="2857"/>
                  </a:cubicBezTo>
                  <a:cubicBezTo>
                    <a:pt x="3737" y="2879"/>
                    <a:pt x="3723" y="2887"/>
                    <a:pt x="3715" y="2887"/>
                  </a:cubicBezTo>
                  <a:cubicBezTo>
                    <a:pt x="3700" y="2887"/>
                    <a:pt x="3693" y="2887"/>
                    <a:pt x="3678" y="2901"/>
                  </a:cubicBezTo>
                  <a:cubicBezTo>
                    <a:pt x="3649" y="2923"/>
                    <a:pt x="3627" y="2960"/>
                    <a:pt x="3635" y="2989"/>
                  </a:cubicBezTo>
                  <a:cubicBezTo>
                    <a:pt x="3635" y="2989"/>
                    <a:pt x="3635" y="2997"/>
                    <a:pt x="3649" y="3004"/>
                  </a:cubicBezTo>
                  <a:cubicBezTo>
                    <a:pt x="3657" y="3011"/>
                    <a:pt x="3671" y="3011"/>
                    <a:pt x="3678" y="3019"/>
                  </a:cubicBezTo>
                  <a:cubicBezTo>
                    <a:pt x="3715" y="3033"/>
                    <a:pt x="3752" y="3048"/>
                    <a:pt x="3766" y="3107"/>
                  </a:cubicBezTo>
                  <a:cubicBezTo>
                    <a:pt x="3781" y="3173"/>
                    <a:pt x="3796" y="3231"/>
                    <a:pt x="3832" y="3238"/>
                  </a:cubicBezTo>
                  <a:cubicBezTo>
                    <a:pt x="3840" y="3246"/>
                    <a:pt x="3854" y="3246"/>
                    <a:pt x="3884" y="3246"/>
                  </a:cubicBezTo>
                  <a:cubicBezTo>
                    <a:pt x="3920" y="3246"/>
                    <a:pt x="3964" y="3246"/>
                    <a:pt x="3972" y="3238"/>
                  </a:cubicBezTo>
                  <a:cubicBezTo>
                    <a:pt x="4001" y="3216"/>
                    <a:pt x="4030" y="3209"/>
                    <a:pt x="4052" y="3202"/>
                  </a:cubicBezTo>
                  <a:cubicBezTo>
                    <a:pt x="4074" y="3195"/>
                    <a:pt x="4089" y="3187"/>
                    <a:pt x="4104" y="3173"/>
                  </a:cubicBezTo>
                  <a:cubicBezTo>
                    <a:pt x="4140" y="3143"/>
                    <a:pt x="4177" y="3136"/>
                    <a:pt x="4228" y="3114"/>
                  </a:cubicBezTo>
                  <a:cubicBezTo>
                    <a:pt x="4294" y="3092"/>
                    <a:pt x="4294" y="3092"/>
                    <a:pt x="4294" y="3092"/>
                  </a:cubicBezTo>
                  <a:cubicBezTo>
                    <a:pt x="4353" y="3070"/>
                    <a:pt x="4419" y="3041"/>
                    <a:pt x="4455" y="3041"/>
                  </a:cubicBezTo>
                  <a:cubicBezTo>
                    <a:pt x="4463" y="3033"/>
                    <a:pt x="4463" y="3033"/>
                    <a:pt x="4463" y="3033"/>
                  </a:cubicBezTo>
                  <a:cubicBezTo>
                    <a:pt x="4477" y="3033"/>
                    <a:pt x="4507" y="3026"/>
                    <a:pt x="4536" y="3026"/>
                  </a:cubicBezTo>
                  <a:cubicBezTo>
                    <a:pt x="4573" y="3026"/>
                    <a:pt x="4602" y="3033"/>
                    <a:pt x="4616" y="3055"/>
                  </a:cubicBezTo>
                  <a:cubicBezTo>
                    <a:pt x="4631" y="3070"/>
                    <a:pt x="4638" y="3077"/>
                    <a:pt x="4653" y="3092"/>
                  </a:cubicBezTo>
                  <a:cubicBezTo>
                    <a:pt x="4682" y="3114"/>
                    <a:pt x="4704" y="3143"/>
                    <a:pt x="4734" y="3180"/>
                  </a:cubicBezTo>
                  <a:cubicBezTo>
                    <a:pt x="4741" y="3195"/>
                    <a:pt x="4756" y="3209"/>
                    <a:pt x="4770" y="3224"/>
                  </a:cubicBezTo>
                  <a:cubicBezTo>
                    <a:pt x="4800" y="3253"/>
                    <a:pt x="4836" y="3290"/>
                    <a:pt x="4829" y="3341"/>
                  </a:cubicBezTo>
                  <a:cubicBezTo>
                    <a:pt x="4822" y="3378"/>
                    <a:pt x="4807" y="3495"/>
                    <a:pt x="4829" y="3546"/>
                  </a:cubicBezTo>
                  <a:cubicBezTo>
                    <a:pt x="4836" y="3568"/>
                    <a:pt x="4844" y="3576"/>
                    <a:pt x="4851" y="3576"/>
                  </a:cubicBezTo>
                  <a:cubicBezTo>
                    <a:pt x="4858" y="3583"/>
                    <a:pt x="4873" y="3583"/>
                    <a:pt x="4888" y="3605"/>
                  </a:cubicBezTo>
                  <a:cubicBezTo>
                    <a:pt x="4902" y="3627"/>
                    <a:pt x="4902" y="3664"/>
                    <a:pt x="4902" y="3700"/>
                  </a:cubicBezTo>
                  <a:cubicBezTo>
                    <a:pt x="4902" y="3722"/>
                    <a:pt x="4902" y="3737"/>
                    <a:pt x="4902" y="3752"/>
                  </a:cubicBezTo>
                  <a:cubicBezTo>
                    <a:pt x="4909" y="3766"/>
                    <a:pt x="4909" y="3773"/>
                    <a:pt x="4909" y="3781"/>
                  </a:cubicBezTo>
                  <a:cubicBezTo>
                    <a:pt x="4917" y="3817"/>
                    <a:pt x="4917" y="3869"/>
                    <a:pt x="4946" y="3869"/>
                  </a:cubicBezTo>
                  <a:cubicBezTo>
                    <a:pt x="4968" y="3876"/>
                    <a:pt x="4983" y="3883"/>
                    <a:pt x="4997" y="3898"/>
                  </a:cubicBezTo>
                  <a:cubicBezTo>
                    <a:pt x="5012" y="3905"/>
                    <a:pt x="5027" y="3920"/>
                    <a:pt x="5056" y="3920"/>
                  </a:cubicBezTo>
                  <a:cubicBezTo>
                    <a:pt x="5071" y="3920"/>
                    <a:pt x="5071" y="3920"/>
                    <a:pt x="5071" y="3920"/>
                  </a:cubicBezTo>
                  <a:cubicBezTo>
                    <a:pt x="5085" y="3927"/>
                    <a:pt x="5100" y="3927"/>
                    <a:pt x="5107" y="3942"/>
                  </a:cubicBezTo>
                  <a:cubicBezTo>
                    <a:pt x="5115" y="3957"/>
                    <a:pt x="5100" y="3971"/>
                    <a:pt x="5064" y="4015"/>
                  </a:cubicBezTo>
                  <a:cubicBezTo>
                    <a:pt x="5041" y="4037"/>
                    <a:pt x="5034" y="4059"/>
                    <a:pt x="5019" y="4081"/>
                  </a:cubicBezTo>
                  <a:cubicBezTo>
                    <a:pt x="5012" y="4110"/>
                    <a:pt x="4997" y="4133"/>
                    <a:pt x="4946" y="4147"/>
                  </a:cubicBezTo>
                  <a:cubicBezTo>
                    <a:pt x="4866" y="4162"/>
                    <a:pt x="4851" y="4176"/>
                    <a:pt x="4844" y="4220"/>
                  </a:cubicBezTo>
                  <a:cubicBezTo>
                    <a:pt x="4836" y="4272"/>
                    <a:pt x="4851" y="4301"/>
                    <a:pt x="4880" y="4330"/>
                  </a:cubicBezTo>
                  <a:cubicBezTo>
                    <a:pt x="4931" y="4367"/>
                    <a:pt x="4954" y="4433"/>
                    <a:pt x="4961" y="4477"/>
                  </a:cubicBezTo>
                  <a:cubicBezTo>
                    <a:pt x="4968" y="4499"/>
                    <a:pt x="4983" y="4521"/>
                    <a:pt x="4983" y="4535"/>
                  </a:cubicBezTo>
                  <a:cubicBezTo>
                    <a:pt x="4997" y="4550"/>
                    <a:pt x="4997" y="4550"/>
                    <a:pt x="4997" y="4550"/>
                  </a:cubicBezTo>
                  <a:cubicBezTo>
                    <a:pt x="4983" y="4557"/>
                    <a:pt x="4983" y="4557"/>
                    <a:pt x="4983" y="4557"/>
                  </a:cubicBezTo>
                  <a:cubicBezTo>
                    <a:pt x="4976" y="4609"/>
                    <a:pt x="4961" y="4748"/>
                    <a:pt x="4997" y="4792"/>
                  </a:cubicBezTo>
                  <a:cubicBezTo>
                    <a:pt x="5005" y="4814"/>
                    <a:pt x="5019" y="4828"/>
                    <a:pt x="5034" y="4843"/>
                  </a:cubicBezTo>
                  <a:cubicBezTo>
                    <a:pt x="5064" y="4880"/>
                    <a:pt x="5093" y="4909"/>
                    <a:pt x="5049" y="4961"/>
                  </a:cubicBezTo>
                  <a:cubicBezTo>
                    <a:pt x="5041" y="4975"/>
                    <a:pt x="5034" y="4990"/>
                    <a:pt x="5041" y="4997"/>
                  </a:cubicBezTo>
                  <a:cubicBezTo>
                    <a:pt x="5049" y="5019"/>
                    <a:pt x="5078" y="5026"/>
                    <a:pt x="5100" y="5026"/>
                  </a:cubicBezTo>
                  <a:cubicBezTo>
                    <a:pt x="5107" y="5026"/>
                    <a:pt x="5115" y="5026"/>
                    <a:pt x="5115" y="5026"/>
                  </a:cubicBezTo>
                  <a:cubicBezTo>
                    <a:pt x="5122" y="5026"/>
                    <a:pt x="5122" y="5026"/>
                    <a:pt x="5122" y="5026"/>
                  </a:cubicBezTo>
                  <a:cubicBezTo>
                    <a:pt x="5137" y="5026"/>
                    <a:pt x="5144" y="5026"/>
                    <a:pt x="5151" y="5034"/>
                  </a:cubicBezTo>
                  <a:cubicBezTo>
                    <a:pt x="5166" y="5056"/>
                    <a:pt x="5159" y="5107"/>
                    <a:pt x="5144" y="5173"/>
                  </a:cubicBezTo>
                  <a:cubicBezTo>
                    <a:pt x="5137" y="5202"/>
                    <a:pt x="5137" y="5232"/>
                    <a:pt x="5137" y="5246"/>
                  </a:cubicBezTo>
                  <a:cubicBezTo>
                    <a:pt x="5137" y="5283"/>
                    <a:pt x="5115" y="5305"/>
                    <a:pt x="5093" y="5319"/>
                  </a:cubicBezTo>
                  <a:cubicBezTo>
                    <a:pt x="5078" y="5342"/>
                    <a:pt x="5064" y="5356"/>
                    <a:pt x="5056" y="5385"/>
                  </a:cubicBezTo>
                  <a:cubicBezTo>
                    <a:pt x="5049" y="5415"/>
                    <a:pt x="5049" y="5415"/>
                    <a:pt x="5056" y="5422"/>
                  </a:cubicBezTo>
                  <a:cubicBezTo>
                    <a:pt x="5071" y="5437"/>
                    <a:pt x="5085" y="5452"/>
                    <a:pt x="5085" y="5503"/>
                  </a:cubicBezTo>
                  <a:cubicBezTo>
                    <a:pt x="5085" y="5583"/>
                    <a:pt x="5071" y="5598"/>
                    <a:pt x="5027" y="5620"/>
                  </a:cubicBezTo>
                  <a:cubicBezTo>
                    <a:pt x="5019" y="5627"/>
                    <a:pt x="5005" y="5635"/>
                    <a:pt x="4990" y="5642"/>
                  </a:cubicBezTo>
                  <a:cubicBezTo>
                    <a:pt x="4924" y="5686"/>
                    <a:pt x="4902" y="5737"/>
                    <a:pt x="4917" y="5796"/>
                  </a:cubicBezTo>
                  <a:cubicBezTo>
                    <a:pt x="4939" y="5854"/>
                    <a:pt x="4902" y="5891"/>
                    <a:pt x="4873" y="5920"/>
                  </a:cubicBezTo>
                  <a:cubicBezTo>
                    <a:pt x="4866" y="5928"/>
                    <a:pt x="4851" y="5935"/>
                    <a:pt x="4851" y="5942"/>
                  </a:cubicBezTo>
                  <a:cubicBezTo>
                    <a:pt x="4836" y="5957"/>
                    <a:pt x="4836" y="5986"/>
                    <a:pt x="4844" y="6023"/>
                  </a:cubicBezTo>
                  <a:cubicBezTo>
                    <a:pt x="4844" y="6052"/>
                    <a:pt x="4844" y="6082"/>
                    <a:pt x="4836" y="6118"/>
                  </a:cubicBezTo>
                  <a:cubicBezTo>
                    <a:pt x="4836" y="6162"/>
                    <a:pt x="4807" y="6206"/>
                    <a:pt x="4778" y="6257"/>
                  </a:cubicBezTo>
                  <a:cubicBezTo>
                    <a:pt x="4741" y="6309"/>
                    <a:pt x="4704" y="6367"/>
                    <a:pt x="4668" y="6455"/>
                  </a:cubicBezTo>
                  <a:cubicBezTo>
                    <a:pt x="4609" y="6587"/>
                    <a:pt x="4550" y="6609"/>
                    <a:pt x="4536" y="6609"/>
                  </a:cubicBezTo>
                  <a:cubicBezTo>
                    <a:pt x="4485" y="6638"/>
                    <a:pt x="4485" y="6638"/>
                    <a:pt x="4485" y="6638"/>
                  </a:cubicBezTo>
                  <a:lnTo>
                    <a:pt x="4477" y="6631"/>
                  </a:lnTo>
                </a:path>
              </a:pathLst>
            </a:custGeom>
            <a:grpFill/>
            <a:ln w="6350" cmpd="sng">
              <a:solidFill>
                <a:schemeClr val="bg1"/>
              </a:solidFill>
            </a:ln>
            <a:effectLst/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" name="Freeform 17"/>
            <p:cNvSpPr>
              <a:spLocks noChangeArrowheads="1"/>
            </p:cNvSpPr>
            <p:nvPr/>
          </p:nvSpPr>
          <p:spPr bwMode="auto">
            <a:xfrm>
              <a:off x="3494318" y="7779811"/>
              <a:ext cx="1999001" cy="2531581"/>
            </a:xfrm>
            <a:custGeom>
              <a:avLst/>
              <a:gdLst>
                <a:gd name="T0" fmla="*/ 4053 w 5197"/>
                <a:gd name="T1" fmla="*/ 513 h 6669"/>
                <a:gd name="T2" fmla="*/ 4375 w 5197"/>
                <a:gd name="T3" fmla="*/ 916 h 6669"/>
                <a:gd name="T4" fmla="*/ 4060 w 5197"/>
                <a:gd name="T5" fmla="*/ 1773 h 6669"/>
                <a:gd name="T6" fmla="*/ 4221 w 5197"/>
                <a:gd name="T7" fmla="*/ 2381 h 6669"/>
                <a:gd name="T8" fmla="*/ 3899 w 5197"/>
                <a:gd name="T9" fmla="*/ 2792 h 6669"/>
                <a:gd name="T10" fmla="*/ 4133 w 5197"/>
                <a:gd name="T11" fmla="*/ 3202 h 6669"/>
                <a:gd name="T12" fmla="*/ 4954 w 5197"/>
                <a:gd name="T13" fmla="*/ 3898 h 6669"/>
                <a:gd name="T14" fmla="*/ 5056 w 5197"/>
                <a:gd name="T15" fmla="*/ 4968 h 6669"/>
                <a:gd name="T16" fmla="*/ 4837 w 5197"/>
                <a:gd name="T17" fmla="*/ 6133 h 6669"/>
                <a:gd name="T18" fmla="*/ 3789 w 5197"/>
                <a:gd name="T19" fmla="*/ 6375 h 6669"/>
                <a:gd name="T20" fmla="*/ 3188 w 5197"/>
                <a:gd name="T21" fmla="*/ 6207 h 6669"/>
                <a:gd name="T22" fmla="*/ 2521 w 5197"/>
                <a:gd name="T23" fmla="*/ 5767 h 6669"/>
                <a:gd name="T24" fmla="*/ 2536 w 5197"/>
                <a:gd name="T25" fmla="*/ 4953 h 6669"/>
                <a:gd name="T26" fmla="*/ 2096 w 5197"/>
                <a:gd name="T27" fmla="*/ 4441 h 6669"/>
                <a:gd name="T28" fmla="*/ 1012 w 5197"/>
                <a:gd name="T29" fmla="*/ 4704 h 6669"/>
                <a:gd name="T30" fmla="*/ 836 w 5197"/>
                <a:gd name="T31" fmla="*/ 4067 h 6669"/>
                <a:gd name="T32" fmla="*/ 67 w 5197"/>
                <a:gd name="T33" fmla="*/ 2902 h 6669"/>
                <a:gd name="T34" fmla="*/ 667 w 5197"/>
                <a:gd name="T35" fmla="*/ 1898 h 6669"/>
                <a:gd name="T36" fmla="*/ 1283 w 5197"/>
                <a:gd name="T37" fmla="*/ 1920 h 6669"/>
                <a:gd name="T38" fmla="*/ 1605 w 5197"/>
                <a:gd name="T39" fmla="*/ 1561 h 6669"/>
                <a:gd name="T40" fmla="*/ 2309 w 5197"/>
                <a:gd name="T41" fmla="*/ 1121 h 6669"/>
                <a:gd name="T42" fmla="*/ 3217 w 5197"/>
                <a:gd name="T43" fmla="*/ 703 h 6669"/>
                <a:gd name="T44" fmla="*/ 3752 w 5197"/>
                <a:gd name="T45" fmla="*/ 0 h 6669"/>
                <a:gd name="T46" fmla="*/ 3408 w 5197"/>
                <a:gd name="T47" fmla="*/ 550 h 6669"/>
                <a:gd name="T48" fmla="*/ 2931 w 5197"/>
                <a:gd name="T49" fmla="*/ 748 h 6669"/>
                <a:gd name="T50" fmla="*/ 2294 w 5197"/>
                <a:gd name="T51" fmla="*/ 1099 h 6669"/>
                <a:gd name="T52" fmla="*/ 1810 w 5197"/>
                <a:gd name="T53" fmla="*/ 1326 h 6669"/>
                <a:gd name="T54" fmla="*/ 1437 w 5197"/>
                <a:gd name="T55" fmla="*/ 1641 h 6669"/>
                <a:gd name="T56" fmla="*/ 1253 w 5197"/>
                <a:gd name="T57" fmla="*/ 1912 h 6669"/>
                <a:gd name="T58" fmla="*/ 704 w 5197"/>
                <a:gd name="T59" fmla="*/ 1788 h 6669"/>
                <a:gd name="T60" fmla="*/ 601 w 5197"/>
                <a:gd name="T61" fmla="*/ 2037 h 6669"/>
                <a:gd name="T62" fmla="*/ 67 w 5197"/>
                <a:gd name="T63" fmla="*/ 2697 h 6669"/>
                <a:gd name="T64" fmla="*/ 609 w 5197"/>
                <a:gd name="T65" fmla="*/ 3605 h 6669"/>
                <a:gd name="T66" fmla="*/ 675 w 5197"/>
                <a:gd name="T67" fmla="*/ 4235 h 6669"/>
                <a:gd name="T68" fmla="*/ 902 w 5197"/>
                <a:gd name="T69" fmla="*/ 4690 h 6669"/>
                <a:gd name="T70" fmla="*/ 1525 w 5197"/>
                <a:gd name="T71" fmla="*/ 4543 h 6669"/>
                <a:gd name="T72" fmla="*/ 2257 w 5197"/>
                <a:gd name="T73" fmla="*/ 4521 h 6669"/>
                <a:gd name="T74" fmla="*/ 2529 w 5197"/>
                <a:gd name="T75" fmla="*/ 4924 h 6669"/>
                <a:gd name="T76" fmla="*/ 2741 w 5197"/>
                <a:gd name="T77" fmla="*/ 5349 h 6669"/>
                <a:gd name="T78" fmla="*/ 2616 w 5197"/>
                <a:gd name="T79" fmla="*/ 6016 h 6669"/>
                <a:gd name="T80" fmla="*/ 3137 w 5197"/>
                <a:gd name="T81" fmla="*/ 6265 h 6669"/>
                <a:gd name="T82" fmla="*/ 3584 w 5197"/>
                <a:gd name="T83" fmla="*/ 6324 h 6669"/>
                <a:gd name="T84" fmla="*/ 4097 w 5197"/>
                <a:gd name="T85" fmla="*/ 6456 h 6669"/>
                <a:gd name="T86" fmla="*/ 4866 w 5197"/>
                <a:gd name="T87" fmla="*/ 6141 h 6669"/>
                <a:gd name="T88" fmla="*/ 5079 w 5197"/>
                <a:gd name="T89" fmla="*/ 5422 h 6669"/>
                <a:gd name="T90" fmla="*/ 5079 w 5197"/>
                <a:gd name="T91" fmla="*/ 4983 h 6669"/>
                <a:gd name="T92" fmla="*/ 5049 w 5197"/>
                <a:gd name="T93" fmla="*/ 4103 h 6669"/>
                <a:gd name="T94" fmla="*/ 4910 w 5197"/>
                <a:gd name="T95" fmla="*/ 3612 h 6669"/>
                <a:gd name="T96" fmla="*/ 4463 w 5197"/>
                <a:gd name="T97" fmla="*/ 3034 h 6669"/>
                <a:gd name="T98" fmla="*/ 3701 w 5197"/>
                <a:gd name="T99" fmla="*/ 3019 h 6669"/>
                <a:gd name="T100" fmla="*/ 3935 w 5197"/>
                <a:gd name="T101" fmla="*/ 2836 h 6669"/>
                <a:gd name="T102" fmla="*/ 4060 w 5197"/>
                <a:gd name="T103" fmla="*/ 2433 h 6669"/>
                <a:gd name="T104" fmla="*/ 4382 w 5197"/>
                <a:gd name="T105" fmla="*/ 2250 h 6669"/>
                <a:gd name="T106" fmla="*/ 4082 w 5197"/>
                <a:gd name="T107" fmla="*/ 1795 h 6669"/>
                <a:gd name="T108" fmla="*/ 4324 w 5197"/>
                <a:gd name="T109" fmla="*/ 1436 h 6669"/>
                <a:gd name="T110" fmla="*/ 4404 w 5197"/>
                <a:gd name="T111" fmla="*/ 872 h 6669"/>
                <a:gd name="T112" fmla="*/ 4214 w 5197"/>
                <a:gd name="T113" fmla="*/ 725 h 6669"/>
                <a:gd name="T114" fmla="*/ 3994 w 5197"/>
                <a:gd name="T115" fmla="*/ 337 h 6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97" h="6669">
                  <a:moveTo>
                    <a:pt x="3752" y="29"/>
                  </a:moveTo>
                  <a:lnTo>
                    <a:pt x="3752" y="29"/>
                  </a:lnTo>
                  <a:cubicBezTo>
                    <a:pt x="3767" y="29"/>
                    <a:pt x="3781" y="37"/>
                    <a:pt x="3789" y="51"/>
                  </a:cubicBezTo>
                  <a:cubicBezTo>
                    <a:pt x="3818" y="81"/>
                    <a:pt x="3818" y="132"/>
                    <a:pt x="3789" y="176"/>
                  </a:cubicBezTo>
                  <a:cubicBezTo>
                    <a:pt x="3767" y="220"/>
                    <a:pt x="3825" y="242"/>
                    <a:pt x="3862" y="264"/>
                  </a:cubicBezTo>
                  <a:cubicBezTo>
                    <a:pt x="3891" y="279"/>
                    <a:pt x="3921" y="300"/>
                    <a:pt x="3935" y="337"/>
                  </a:cubicBezTo>
                  <a:cubicBezTo>
                    <a:pt x="3950" y="359"/>
                    <a:pt x="3979" y="366"/>
                    <a:pt x="3994" y="366"/>
                  </a:cubicBezTo>
                  <a:cubicBezTo>
                    <a:pt x="4009" y="366"/>
                    <a:pt x="4009" y="366"/>
                    <a:pt x="4009" y="366"/>
                  </a:cubicBezTo>
                  <a:cubicBezTo>
                    <a:pt x="4009" y="366"/>
                    <a:pt x="4074" y="374"/>
                    <a:pt x="4082" y="403"/>
                  </a:cubicBezTo>
                  <a:cubicBezTo>
                    <a:pt x="4089" y="440"/>
                    <a:pt x="4060" y="491"/>
                    <a:pt x="4053" y="513"/>
                  </a:cubicBezTo>
                  <a:cubicBezTo>
                    <a:pt x="4045" y="542"/>
                    <a:pt x="4045" y="608"/>
                    <a:pt x="4074" y="638"/>
                  </a:cubicBezTo>
                  <a:cubicBezTo>
                    <a:pt x="4097" y="660"/>
                    <a:pt x="4141" y="689"/>
                    <a:pt x="4162" y="718"/>
                  </a:cubicBezTo>
                  <a:cubicBezTo>
                    <a:pt x="4192" y="755"/>
                    <a:pt x="4243" y="769"/>
                    <a:pt x="4236" y="813"/>
                  </a:cubicBezTo>
                  <a:cubicBezTo>
                    <a:pt x="4229" y="850"/>
                    <a:pt x="4243" y="857"/>
                    <a:pt x="4272" y="857"/>
                  </a:cubicBezTo>
                  <a:cubicBezTo>
                    <a:pt x="4280" y="857"/>
                    <a:pt x="4294" y="857"/>
                    <a:pt x="4302" y="857"/>
                  </a:cubicBezTo>
                  <a:cubicBezTo>
                    <a:pt x="4324" y="850"/>
                    <a:pt x="4338" y="843"/>
                    <a:pt x="4353" y="843"/>
                  </a:cubicBezTo>
                  <a:cubicBezTo>
                    <a:pt x="4368" y="843"/>
                    <a:pt x="4375" y="850"/>
                    <a:pt x="4375" y="872"/>
                  </a:cubicBezTo>
                  <a:cubicBezTo>
                    <a:pt x="4375" y="887"/>
                    <a:pt x="4375" y="901"/>
                    <a:pt x="4375" y="916"/>
                  </a:cubicBezTo>
                  <a:cubicBezTo>
                    <a:pt x="4346" y="960"/>
                    <a:pt x="4324" y="1004"/>
                    <a:pt x="4324" y="1004"/>
                  </a:cubicBezTo>
                  <a:cubicBezTo>
                    <a:pt x="4324" y="1004"/>
                    <a:pt x="4346" y="960"/>
                    <a:pt x="4375" y="916"/>
                  </a:cubicBezTo>
                  <a:cubicBezTo>
                    <a:pt x="4375" y="953"/>
                    <a:pt x="4375" y="1004"/>
                    <a:pt x="4404" y="1041"/>
                  </a:cubicBezTo>
                  <a:cubicBezTo>
                    <a:pt x="4434" y="1107"/>
                    <a:pt x="4470" y="1202"/>
                    <a:pt x="4434" y="1268"/>
                  </a:cubicBezTo>
                  <a:cubicBezTo>
                    <a:pt x="4404" y="1319"/>
                    <a:pt x="4375" y="1407"/>
                    <a:pt x="4331" y="1407"/>
                  </a:cubicBezTo>
                  <a:cubicBezTo>
                    <a:pt x="4331" y="1407"/>
                    <a:pt x="4331" y="1407"/>
                    <a:pt x="4324" y="1407"/>
                  </a:cubicBezTo>
                  <a:cubicBezTo>
                    <a:pt x="4287" y="1400"/>
                    <a:pt x="4272" y="1348"/>
                    <a:pt x="4236" y="1341"/>
                  </a:cubicBezTo>
                  <a:cubicBezTo>
                    <a:pt x="4229" y="1341"/>
                    <a:pt x="4221" y="1341"/>
                    <a:pt x="4221" y="1341"/>
                  </a:cubicBezTo>
                  <a:cubicBezTo>
                    <a:pt x="4184" y="1341"/>
                    <a:pt x="4162" y="1370"/>
                    <a:pt x="4141" y="1400"/>
                  </a:cubicBezTo>
                  <a:cubicBezTo>
                    <a:pt x="4111" y="1436"/>
                    <a:pt x="4060" y="1466"/>
                    <a:pt x="4074" y="1517"/>
                  </a:cubicBezTo>
                  <a:cubicBezTo>
                    <a:pt x="4082" y="1568"/>
                    <a:pt x="4111" y="1612"/>
                    <a:pt x="4104" y="1663"/>
                  </a:cubicBezTo>
                  <a:cubicBezTo>
                    <a:pt x="4097" y="1715"/>
                    <a:pt x="4104" y="1729"/>
                    <a:pt x="4060" y="1773"/>
                  </a:cubicBezTo>
                  <a:cubicBezTo>
                    <a:pt x="4023" y="1817"/>
                    <a:pt x="3994" y="1832"/>
                    <a:pt x="4074" y="1839"/>
                  </a:cubicBezTo>
                  <a:cubicBezTo>
                    <a:pt x="4148" y="1854"/>
                    <a:pt x="4184" y="1891"/>
                    <a:pt x="4214" y="1927"/>
                  </a:cubicBezTo>
                  <a:cubicBezTo>
                    <a:pt x="4250" y="1964"/>
                    <a:pt x="4243" y="1986"/>
                    <a:pt x="4258" y="2030"/>
                  </a:cubicBezTo>
                  <a:cubicBezTo>
                    <a:pt x="4272" y="2074"/>
                    <a:pt x="4294" y="2074"/>
                    <a:pt x="4316" y="2103"/>
                  </a:cubicBezTo>
                  <a:cubicBezTo>
                    <a:pt x="4346" y="2140"/>
                    <a:pt x="4360" y="2191"/>
                    <a:pt x="4353" y="2242"/>
                  </a:cubicBezTo>
                  <a:cubicBezTo>
                    <a:pt x="4346" y="2279"/>
                    <a:pt x="4331" y="2316"/>
                    <a:pt x="4309" y="2316"/>
                  </a:cubicBezTo>
                  <a:cubicBezTo>
                    <a:pt x="4302" y="2316"/>
                    <a:pt x="4287" y="2308"/>
                    <a:pt x="4272" y="2301"/>
                  </a:cubicBezTo>
                  <a:cubicBezTo>
                    <a:pt x="4258" y="2293"/>
                    <a:pt x="4236" y="2286"/>
                    <a:pt x="4221" y="2286"/>
                  </a:cubicBezTo>
                  <a:cubicBezTo>
                    <a:pt x="4184" y="2286"/>
                    <a:pt x="4148" y="2301"/>
                    <a:pt x="4155" y="2330"/>
                  </a:cubicBezTo>
                  <a:cubicBezTo>
                    <a:pt x="4162" y="2360"/>
                    <a:pt x="4214" y="2338"/>
                    <a:pt x="4221" y="2381"/>
                  </a:cubicBezTo>
                  <a:cubicBezTo>
                    <a:pt x="4229" y="2411"/>
                    <a:pt x="4214" y="2462"/>
                    <a:pt x="4177" y="2462"/>
                  </a:cubicBezTo>
                  <a:cubicBezTo>
                    <a:pt x="4170" y="2462"/>
                    <a:pt x="4162" y="2462"/>
                    <a:pt x="4148" y="2455"/>
                  </a:cubicBezTo>
                  <a:cubicBezTo>
                    <a:pt x="4104" y="2433"/>
                    <a:pt x="4082" y="2403"/>
                    <a:pt x="4060" y="2403"/>
                  </a:cubicBezTo>
                  <a:cubicBezTo>
                    <a:pt x="4045" y="2403"/>
                    <a:pt x="4038" y="2411"/>
                    <a:pt x="4031" y="2418"/>
                  </a:cubicBezTo>
                  <a:cubicBezTo>
                    <a:pt x="3994" y="2462"/>
                    <a:pt x="3950" y="2477"/>
                    <a:pt x="3921" y="2513"/>
                  </a:cubicBezTo>
                  <a:cubicBezTo>
                    <a:pt x="3884" y="2550"/>
                    <a:pt x="3796" y="2594"/>
                    <a:pt x="3833" y="2623"/>
                  </a:cubicBezTo>
                  <a:cubicBezTo>
                    <a:pt x="3869" y="2660"/>
                    <a:pt x="3899" y="2667"/>
                    <a:pt x="3928" y="2675"/>
                  </a:cubicBezTo>
                  <a:cubicBezTo>
                    <a:pt x="3950" y="2682"/>
                    <a:pt x="3972" y="2719"/>
                    <a:pt x="3957" y="2762"/>
                  </a:cubicBezTo>
                  <a:cubicBezTo>
                    <a:pt x="3957" y="2792"/>
                    <a:pt x="3950" y="2807"/>
                    <a:pt x="3935" y="2807"/>
                  </a:cubicBezTo>
                  <a:cubicBezTo>
                    <a:pt x="3928" y="2807"/>
                    <a:pt x="3921" y="2799"/>
                    <a:pt x="3899" y="2792"/>
                  </a:cubicBezTo>
                  <a:cubicBezTo>
                    <a:pt x="3862" y="2784"/>
                    <a:pt x="3825" y="2762"/>
                    <a:pt x="3803" y="2762"/>
                  </a:cubicBezTo>
                  <a:cubicBezTo>
                    <a:pt x="3796" y="2762"/>
                    <a:pt x="3789" y="2762"/>
                    <a:pt x="3781" y="2770"/>
                  </a:cubicBezTo>
                  <a:cubicBezTo>
                    <a:pt x="3767" y="2792"/>
                    <a:pt x="3760" y="2843"/>
                    <a:pt x="3745" y="2872"/>
                  </a:cubicBezTo>
                  <a:cubicBezTo>
                    <a:pt x="3738" y="2894"/>
                    <a:pt x="3715" y="2872"/>
                    <a:pt x="3679" y="2902"/>
                  </a:cubicBezTo>
                  <a:cubicBezTo>
                    <a:pt x="3650" y="2938"/>
                    <a:pt x="3606" y="3004"/>
                    <a:pt x="3657" y="3034"/>
                  </a:cubicBezTo>
                  <a:cubicBezTo>
                    <a:pt x="3708" y="3056"/>
                    <a:pt x="3745" y="3056"/>
                    <a:pt x="3767" y="3129"/>
                  </a:cubicBezTo>
                  <a:cubicBezTo>
                    <a:pt x="3781" y="3195"/>
                    <a:pt x="3796" y="3253"/>
                    <a:pt x="3840" y="3268"/>
                  </a:cubicBezTo>
                  <a:cubicBezTo>
                    <a:pt x="3855" y="3275"/>
                    <a:pt x="3877" y="3275"/>
                    <a:pt x="3899" y="3275"/>
                  </a:cubicBezTo>
                  <a:cubicBezTo>
                    <a:pt x="3943" y="3275"/>
                    <a:pt x="3994" y="3268"/>
                    <a:pt x="3994" y="3268"/>
                  </a:cubicBezTo>
                  <a:cubicBezTo>
                    <a:pt x="4045" y="3231"/>
                    <a:pt x="4089" y="3239"/>
                    <a:pt x="4133" y="3202"/>
                  </a:cubicBezTo>
                  <a:cubicBezTo>
                    <a:pt x="4170" y="3166"/>
                    <a:pt x="4206" y="3158"/>
                    <a:pt x="4272" y="3136"/>
                  </a:cubicBezTo>
                  <a:cubicBezTo>
                    <a:pt x="4346" y="3107"/>
                    <a:pt x="4426" y="3078"/>
                    <a:pt x="4470" y="3070"/>
                  </a:cubicBezTo>
                  <a:cubicBezTo>
                    <a:pt x="4492" y="3063"/>
                    <a:pt x="4522" y="3056"/>
                    <a:pt x="4551" y="3056"/>
                  </a:cubicBezTo>
                  <a:cubicBezTo>
                    <a:pt x="4573" y="3056"/>
                    <a:pt x="4602" y="3063"/>
                    <a:pt x="4624" y="3085"/>
                  </a:cubicBezTo>
                  <a:cubicBezTo>
                    <a:pt x="4668" y="3129"/>
                    <a:pt x="4697" y="3151"/>
                    <a:pt x="4734" y="3202"/>
                  </a:cubicBezTo>
                  <a:cubicBezTo>
                    <a:pt x="4771" y="3253"/>
                    <a:pt x="4837" y="3290"/>
                    <a:pt x="4829" y="3356"/>
                  </a:cubicBezTo>
                  <a:cubicBezTo>
                    <a:pt x="4822" y="3422"/>
                    <a:pt x="4807" y="3517"/>
                    <a:pt x="4829" y="3569"/>
                  </a:cubicBezTo>
                  <a:cubicBezTo>
                    <a:pt x="4844" y="3620"/>
                    <a:pt x="4859" y="3591"/>
                    <a:pt x="4888" y="3627"/>
                  </a:cubicBezTo>
                  <a:cubicBezTo>
                    <a:pt x="4910" y="3664"/>
                    <a:pt x="4895" y="3730"/>
                    <a:pt x="4903" y="3774"/>
                  </a:cubicBezTo>
                  <a:cubicBezTo>
                    <a:pt x="4910" y="3818"/>
                    <a:pt x="4910" y="3891"/>
                    <a:pt x="4954" y="3898"/>
                  </a:cubicBezTo>
                  <a:cubicBezTo>
                    <a:pt x="4998" y="3906"/>
                    <a:pt x="5012" y="3942"/>
                    <a:pt x="5064" y="3950"/>
                  </a:cubicBezTo>
                  <a:cubicBezTo>
                    <a:pt x="5115" y="3957"/>
                    <a:pt x="5122" y="3950"/>
                    <a:pt x="5064" y="4016"/>
                  </a:cubicBezTo>
                  <a:cubicBezTo>
                    <a:pt x="5005" y="4089"/>
                    <a:pt x="5034" y="4133"/>
                    <a:pt x="4954" y="4148"/>
                  </a:cubicBezTo>
                  <a:cubicBezTo>
                    <a:pt x="4881" y="4162"/>
                    <a:pt x="4851" y="4184"/>
                    <a:pt x="4844" y="4235"/>
                  </a:cubicBezTo>
                  <a:cubicBezTo>
                    <a:pt x="4837" y="4279"/>
                    <a:pt x="4844" y="4323"/>
                    <a:pt x="4888" y="4360"/>
                  </a:cubicBezTo>
                  <a:cubicBezTo>
                    <a:pt x="4932" y="4397"/>
                    <a:pt x="4954" y="4455"/>
                    <a:pt x="4961" y="4492"/>
                  </a:cubicBezTo>
                  <a:cubicBezTo>
                    <a:pt x="4969" y="4514"/>
                    <a:pt x="4976" y="4536"/>
                    <a:pt x="4991" y="4558"/>
                  </a:cubicBezTo>
                  <a:cubicBezTo>
                    <a:pt x="4983" y="4558"/>
                    <a:pt x="4983" y="4558"/>
                    <a:pt x="4983" y="4558"/>
                  </a:cubicBezTo>
                  <a:cubicBezTo>
                    <a:pt x="4983" y="4558"/>
                    <a:pt x="4954" y="4748"/>
                    <a:pt x="4998" y="4822"/>
                  </a:cubicBezTo>
                  <a:cubicBezTo>
                    <a:pt x="5042" y="4888"/>
                    <a:pt x="5100" y="4910"/>
                    <a:pt x="5056" y="4968"/>
                  </a:cubicBezTo>
                  <a:cubicBezTo>
                    <a:pt x="5012" y="5019"/>
                    <a:pt x="5064" y="5056"/>
                    <a:pt x="5115" y="5056"/>
                  </a:cubicBezTo>
                  <a:cubicBezTo>
                    <a:pt x="5122" y="5056"/>
                    <a:pt x="5130" y="5056"/>
                    <a:pt x="5137" y="5056"/>
                  </a:cubicBezTo>
                  <a:lnTo>
                    <a:pt x="5137" y="5056"/>
                  </a:lnTo>
                  <a:cubicBezTo>
                    <a:pt x="5188" y="5056"/>
                    <a:pt x="5137" y="5203"/>
                    <a:pt x="5137" y="5261"/>
                  </a:cubicBezTo>
                  <a:cubicBezTo>
                    <a:pt x="5137" y="5320"/>
                    <a:pt x="5079" y="5327"/>
                    <a:pt x="5056" y="5393"/>
                  </a:cubicBezTo>
                  <a:cubicBezTo>
                    <a:pt x="5034" y="5467"/>
                    <a:pt x="5086" y="5430"/>
                    <a:pt x="5086" y="5518"/>
                  </a:cubicBezTo>
                  <a:cubicBezTo>
                    <a:pt x="5086" y="5613"/>
                    <a:pt x="5064" y="5598"/>
                    <a:pt x="4998" y="5642"/>
                  </a:cubicBezTo>
                  <a:cubicBezTo>
                    <a:pt x="4932" y="5693"/>
                    <a:pt x="4895" y="5745"/>
                    <a:pt x="4917" y="5818"/>
                  </a:cubicBezTo>
                  <a:cubicBezTo>
                    <a:pt x="4939" y="5884"/>
                    <a:pt x="4873" y="5921"/>
                    <a:pt x="4851" y="5950"/>
                  </a:cubicBezTo>
                  <a:cubicBezTo>
                    <a:pt x="4829" y="5987"/>
                    <a:pt x="4851" y="6053"/>
                    <a:pt x="4837" y="6133"/>
                  </a:cubicBezTo>
                  <a:cubicBezTo>
                    <a:pt x="4829" y="6214"/>
                    <a:pt x="4741" y="6287"/>
                    <a:pt x="4668" y="6463"/>
                  </a:cubicBezTo>
                  <a:cubicBezTo>
                    <a:pt x="4610" y="6602"/>
                    <a:pt x="4551" y="6610"/>
                    <a:pt x="4543" y="6610"/>
                  </a:cubicBezTo>
                  <a:lnTo>
                    <a:pt x="4543" y="6610"/>
                  </a:lnTo>
                  <a:cubicBezTo>
                    <a:pt x="4500" y="6631"/>
                    <a:pt x="4500" y="6631"/>
                    <a:pt x="4500" y="6631"/>
                  </a:cubicBezTo>
                  <a:cubicBezTo>
                    <a:pt x="4470" y="6610"/>
                    <a:pt x="4404" y="6551"/>
                    <a:pt x="4353" y="6551"/>
                  </a:cubicBezTo>
                  <a:cubicBezTo>
                    <a:pt x="4287" y="6551"/>
                    <a:pt x="4236" y="6507"/>
                    <a:pt x="4192" y="6470"/>
                  </a:cubicBezTo>
                  <a:cubicBezTo>
                    <a:pt x="4148" y="6441"/>
                    <a:pt x="4045" y="6404"/>
                    <a:pt x="3987" y="6360"/>
                  </a:cubicBezTo>
                  <a:cubicBezTo>
                    <a:pt x="3957" y="6331"/>
                    <a:pt x="3935" y="6317"/>
                    <a:pt x="3913" y="6317"/>
                  </a:cubicBezTo>
                  <a:cubicBezTo>
                    <a:pt x="3899" y="6317"/>
                    <a:pt x="3877" y="6331"/>
                    <a:pt x="3855" y="6346"/>
                  </a:cubicBezTo>
                  <a:cubicBezTo>
                    <a:pt x="3825" y="6368"/>
                    <a:pt x="3811" y="6375"/>
                    <a:pt x="3789" y="6375"/>
                  </a:cubicBezTo>
                  <a:cubicBezTo>
                    <a:pt x="3767" y="6375"/>
                    <a:pt x="3738" y="6360"/>
                    <a:pt x="3708" y="6346"/>
                  </a:cubicBezTo>
                  <a:cubicBezTo>
                    <a:pt x="3657" y="6331"/>
                    <a:pt x="3650" y="6272"/>
                    <a:pt x="3620" y="6272"/>
                  </a:cubicBezTo>
                  <a:cubicBezTo>
                    <a:pt x="3613" y="6272"/>
                    <a:pt x="3613" y="6280"/>
                    <a:pt x="3606" y="6280"/>
                  </a:cubicBezTo>
                  <a:cubicBezTo>
                    <a:pt x="3569" y="6302"/>
                    <a:pt x="3540" y="6331"/>
                    <a:pt x="3496" y="6331"/>
                  </a:cubicBezTo>
                  <a:cubicBezTo>
                    <a:pt x="3488" y="6331"/>
                    <a:pt x="3481" y="6331"/>
                    <a:pt x="3466" y="6324"/>
                  </a:cubicBezTo>
                  <a:cubicBezTo>
                    <a:pt x="3437" y="6317"/>
                    <a:pt x="3430" y="6309"/>
                    <a:pt x="3415" y="6309"/>
                  </a:cubicBezTo>
                  <a:cubicBezTo>
                    <a:pt x="3408" y="6309"/>
                    <a:pt x="3393" y="6317"/>
                    <a:pt x="3364" y="6338"/>
                  </a:cubicBezTo>
                  <a:cubicBezTo>
                    <a:pt x="3356" y="6346"/>
                    <a:pt x="3349" y="6346"/>
                    <a:pt x="3334" y="6346"/>
                  </a:cubicBezTo>
                  <a:cubicBezTo>
                    <a:pt x="3291" y="6346"/>
                    <a:pt x="3239" y="6265"/>
                    <a:pt x="3232" y="6236"/>
                  </a:cubicBezTo>
                  <a:cubicBezTo>
                    <a:pt x="3224" y="6214"/>
                    <a:pt x="3203" y="6207"/>
                    <a:pt x="3188" y="6207"/>
                  </a:cubicBezTo>
                  <a:cubicBezTo>
                    <a:pt x="3173" y="6207"/>
                    <a:pt x="3159" y="6207"/>
                    <a:pt x="3151" y="6221"/>
                  </a:cubicBezTo>
                  <a:cubicBezTo>
                    <a:pt x="3144" y="6229"/>
                    <a:pt x="3144" y="6236"/>
                    <a:pt x="3137" y="6236"/>
                  </a:cubicBezTo>
                  <a:cubicBezTo>
                    <a:pt x="3107" y="6236"/>
                    <a:pt x="3071" y="6184"/>
                    <a:pt x="3012" y="6148"/>
                  </a:cubicBezTo>
                  <a:cubicBezTo>
                    <a:pt x="2946" y="6097"/>
                    <a:pt x="2983" y="6031"/>
                    <a:pt x="2968" y="5965"/>
                  </a:cubicBezTo>
                  <a:cubicBezTo>
                    <a:pt x="2961" y="5899"/>
                    <a:pt x="2858" y="5921"/>
                    <a:pt x="2822" y="5899"/>
                  </a:cubicBezTo>
                  <a:cubicBezTo>
                    <a:pt x="2814" y="5891"/>
                    <a:pt x="2807" y="5891"/>
                    <a:pt x="2792" y="5891"/>
                  </a:cubicBezTo>
                  <a:cubicBezTo>
                    <a:pt x="2741" y="5891"/>
                    <a:pt x="2660" y="5921"/>
                    <a:pt x="2660" y="5921"/>
                  </a:cubicBezTo>
                  <a:cubicBezTo>
                    <a:pt x="2660" y="5921"/>
                    <a:pt x="2653" y="5928"/>
                    <a:pt x="2638" y="5950"/>
                  </a:cubicBezTo>
                  <a:cubicBezTo>
                    <a:pt x="2631" y="5913"/>
                    <a:pt x="2631" y="5891"/>
                    <a:pt x="2624" y="5869"/>
                  </a:cubicBezTo>
                  <a:cubicBezTo>
                    <a:pt x="2616" y="5833"/>
                    <a:pt x="2565" y="5818"/>
                    <a:pt x="2521" y="5767"/>
                  </a:cubicBezTo>
                  <a:cubicBezTo>
                    <a:pt x="2484" y="5723"/>
                    <a:pt x="2507" y="5701"/>
                    <a:pt x="2550" y="5642"/>
                  </a:cubicBezTo>
                  <a:cubicBezTo>
                    <a:pt x="2594" y="5584"/>
                    <a:pt x="2602" y="5576"/>
                    <a:pt x="2646" y="5540"/>
                  </a:cubicBezTo>
                  <a:cubicBezTo>
                    <a:pt x="2682" y="5510"/>
                    <a:pt x="2682" y="5532"/>
                    <a:pt x="2719" y="5496"/>
                  </a:cubicBezTo>
                  <a:cubicBezTo>
                    <a:pt x="2756" y="5467"/>
                    <a:pt x="2763" y="5386"/>
                    <a:pt x="2770" y="5334"/>
                  </a:cubicBezTo>
                  <a:cubicBezTo>
                    <a:pt x="2778" y="5291"/>
                    <a:pt x="2748" y="5254"/>
                    <a:pt x="2697" y="5254"/>
                  </a:cubicBezTo>
                  <a:cubicBezTo>
                    <a:pt x="2697" y="5254"/>
                    <a:pt x="2690" y="5254"/>
                    <a:pt x="2682" y="5254"/>
                  </a:cubicBezTo>
                  <a:lnTo>
                    <a:pt x="2675" y="5254"/>
                  </a:lnTo>
                  <a:cubicBezTo>
                    <a:pt x="2616" y="5254"/>
                    <a:pt x="2565" y="5203"/>
                    <a:pt x="2558" y="5173"/>
                  </a:cubicBezTo>
                  <a:cubicBezTo>
                    <a:pt x="2550" y="5151"/>
                    <a:pt x="2536" y="5107"/>
                    <a:pt x="2484" y="5056"/>
                  </a:cubicBezTo>
                  <a:cubicBezTo>
                    <a:pt x="2433" y="5005"/>
                    <a:pt x="2462" y="4983"/>
                    <a:pt x="2536" y="4953"/>
                  </a:cubicBezTo>
                  <a:cubicBezTo>
                    <a:pt x="2602" y="4931"/>
                    <a:pt x="2507" y="4843"/>
                    <a:pt x="2521" y="4792"/>
                  </a:cubicBezTo>
                  <a:cubicBezTo>
                    <a:pt x="2543" y="4741"/>
                    <a:pt x="2558" y="4704"/>
                    <a:pt x="2550" y="4668"/>
                  </a:cubicBezTo>
                  <a:cubicBezTo>
                    <a:pt x="2543" y="4631"/>
                    <a:pt x="2499" y="4594"/>
                    <a:pt x="2462" y="4594"/>
                  </a:cubicBezTo>
                  <a:cubicBezTo>
                    <a:pt x="2455" y="4594"/>
                    <a:pt x="2455" y="4594"/>
                    <a:pt x="2448" y="4594"/>
                  </a:cubicBezTo>
                  <a:cubicBezTo>
                    <a:pt x="2441" y="4602"/>
                    <a:pt x="2433" y="4602"/>
                    <a:pt x="2426" y="4602"/>
                  </a:cubicBezTo>
                  <a:cubicBezTo>
                    <a:pt x="2389" y="4602"/>
                    <a:pt x="2338" y="4580"/>
                    <a:pt x="2309" y="4536"/>
                  </a:cubicBezTo>
                  <a:cubicBezTo>
                    <a:pt x="2294" y="4507"/>
                    <a:pt x="2279" y="4484"/>
                    <a:pt x="2257" y="4484"/>
                  </a:cubicBezTo>
                  <a:cubicBezTo>
                    <a:pt x="2250" y="4484"/>
                    <a:pt x="2243" y="4492"/>
                    <a:pt x="2228" y="4514"/>
                  </a:cubicBezTo>
                  <a:cubicBezTo>
                    <a:pt x="2221" y="4521"/>
                    <a:pt x="2213" y="4529"/>
                    <a:pt x="2206" y="4529"/>
                  </a:cubicBezTo>
                  <a:cubicBezTo>
                    <a:pt x="2169" y="4529"/>
                    <a:pt x="2133" y="4462"/>
                    <a:pt x="2096" y="4441"/>
                  </a:cubicBezTo>
                  <a:cubicBezTo>
                    <a:pt x="2060" y="4419"/>
                    <a:pt x="2023" y="4353"/>
                    <a:pt x="1972" y="4345"/>
                  </a:cubicBezTo>
                  <a:cubicBezTo>
                    <a:pt x="1964" y="4338"/>
                    <a:pt x="1950" y="4338"/>
                    <a:pt x="1942" y="4338"/>
                  </a:cubicBezTo>
                  <a:cubicBezTo>
                    <a:pt x="1891" y="4338"/>
                    <a:pt x="1810" y="4360"/>
                    <a:pt x="1744" y="4397"/>
                  </a:cubicBezTo>
                  <a:cubicBezTo>
                    <a:pt x="1657" y="4433"/>
                    <a:pt x="1605" y="4462"/>
                    <a:pt x="1547" y="4492"/>
                  </a:cubicBezTo>
                  <a:cubicBezTo>
                    <a:pt x="1488" y="4529"/>
                    <a:pt x="1437" y="4565"/>
                    <a:pt x="1393" y="4572"/>
                  </a:cubicBezTo>
                  <a:cubicBezTo>
                    <a:pt x="1349" y="4580"/>
                    <a:pt x="1319" y="4594"/>
                    <a:pt x="1268" y="4631"/>
                  </a:cubicBezTo>
                  <a:cubicBezTo>
                    <a:pt x="1253" y="4638"/>
                    <a:pt x="1246" y="4638"/>
                    <a:pt x="1231" y="4638"/>
                  </a:cubicBezTo>
                  <a:cubicBezTo>
                    <a:pt x="1210" y="4638"/>
                    <a:pt x="1180" y="4631"/>
                    <a:pt x="1158" y="4631"/>
                  </a:cubicBezTo>
                  <a:cubicBezTo>
                    <a:pt x="1143" y="4631"/>
                    <a:pt x="1136" y="4631"/>
                    <a:pt x="1122" y="4646"/>
                  </a:cubicBezTo>
                  <a:cubicBezTo>
                    <a:pt x="1078" y="4697"/>
                    <a:pt x="1034" y="4704"/>
                    <a:pt x="1012" y="4704"/>
                  </a:cubicBezTo>
                  <a:cubicBezTo>
                    <a:pt x="990" y="4704"/>
                    <a:pt x="960" y="4653"/>
                    <a:pt x="909" y="4653"/>
                  </a:cubicBezTo>
                  <a:cubicBezTo>
                    <a:pt x="909" y="4653"/>
                    <a:pt x="902" y="4653"/>
                    <a:pt x="902" y="4660"/>
                  </a:cubicBezTo>
                  <a:cubicBezTo>
                    <a:pt x="894" y="4660"/>
                    <a:pt x="880" y="4660"/>
                    <a:pt x="872" y="4660"/>
                  </a:cubicBezTo>
                  <a:cubicBezTo>
                    <a:pt x="807" y="4660"/>
                    <a:pt x="711" y="4638"/>
                    <a:pt x="645" y="4609"/>
                  </a:cubicBezTo>
                  <a:cubicBezTo>
                    <a:pt x="631" y="4602"/>
                    <a:pt x="623" y="4602"/>
                    <a:pt x="609" y="4602"/>
                  </a:cubicBezTo>
                  <a:cubicBezTo>
                    <a:pt x="579" y="4602"/>
                    <a:pt x="543" y="4617"/>
                    <a:pt x="521" y="4631"/>
                  </a:cubicBezTo>
                  <a:cubicBezTo>
                    <a:pt x="528" y="4594"/>
                    <a:pt x="550" y="4558"/>
                    <a:pt x="557" y="4521"/>
                  </a:cubicBezTo>
                  <a:cubicBezTo>
                    <a:pt x="565" y="4470"/>
                    <a:pt x="601" y="4419"/>
                    <a:pt x="652" y="4367"/>
                  </a:cubicBezTo>
                  <a:cubicBezTo>
                    <a:pt x="711" y="4309"/>
                    <a:pt x="704" y="4272"/>
                    <a:pt x="711" y="4191"/>
                  </a:cubicBezTo>
                  <a:cubicBezTo>
                    <a:pt x="726" y="4118"/>
                    <a:pt x="755" y="4118"/>
                    <a:pt x="836" y="4067"/>
                  </a:cubicBezTo>
                  <a:cubicBezTo>
                    <a:pt x="917" y="4023"/>
                    <a:pt x="858" y="3920"/>
                    <a:pt x="894" y="3840"/>
                  </a:cubicBezTo>
                  <a:cubicBezTo>
                    <a:pt x="931" y="3767"/>
                    <a:pt x="858" y="3730"/>
                    <a:pt x="792" y="3730"/>
                  </a:cubicBezTo>
                  <a:cubicBezTo>
                    <a:pt x="726" y="3730"/>
                    <a:pt x="645" y="3708"/>
                    <a:pt x="645" y="3642"/>
                  </a:cubicBezTo>
                  <a:cubicBezTo>
                    <a:pt x="645" y="3591"/>
                    <a:pt x="638" y="3576"/>
                    <a:pt x="609" y="3576"/>
                  </a:cubicBezTo>
                  <a:cubicBezTo>
                    <a:pt x="594" y="3576"/>
                    <a:pt x="579" y="3576"/>
                    <a:pt x="557" y="3583"/>
                  </a:cubicBezTo>
                  <a:cubicBezTo>
                    <a:pt x="550" y="3583"/>
                    <a:pt x="543" y="3583"/>
                    <a:pt x="535" y="3583"/>
                  </a:cubicBezTo>
                  <a:cubicBezTo>
                    <a:pt x="469" y="3583"/>
                    <a:pt x="448" y="3525"/>
                    <a:pt x="396" y="3495"/>
                  </a:cubicBezTo>
                  <a:cubicBezTo>
                    <a:pt x="338" y="3459"/>
                    <a:pt x="294" y="3400"/>
                    <a:pt x="279" y="3298"/>
                  </a:cubicBezTo>
                  <a:cubicBezTo>
                    <a:pt x="272" y="3195"/>
                    <a:pt x="228" y="3188"/>
                    <a:pt x="184" y="3143"/>
                  </a:cubicBezTo>
                  <a:cubicBezTo>
                    <a:pt x="132" y="3092"/>
                    <a:pt x="110" y="2982"/>
                    <a:pt x="67" y="2902"/>
                  </a:cubicBezTo>
                  <a:cubicBezTo>
                    <a:pt x="22" y="2821"/>
                    <a:pt x="88" y="2733"/>
                    <a:pt x="125" y="2631"/>
                  </a:cubicBezTo>
                  <a:cubicBezTo>
                    <a:pt x="154" y="2528"/>
                    <a:pt x="125" y="2543"/>
                    <a:pt x="184" y="2491"/>
                  </a:cubicBezTo>
                  <a:cubicBezTo>
                    <a:pt x="235" y="2448"/>
                    <a:pt x="257" y="2484"/>
                    <a:pt x="228" y="2418"/>
                  </a:cubicBezTo>
                  <a:cubicBezTo>
                    <a:pt x="191" y="2345"/>
                    <a:pt x="228" y="2279"/>
                    <a:pt x="272" y="2242"/>
                  </a:cubicBezTo>
                  <a:cubicBezTo>
                    <a:pt x="316" y="2213"/>
                    <a:pt x="418" y="2213"/>
                    <a:pt x="455" y="2132"/>
                  </a:cubicBezTo>
                  <a:cubicBezTo>
                    <a:pt x="477" y="2074"/>
                    <a:pt x="506" y="2052"/>
                    <a:pt x="543" y="2052"/>
                  </a:cubicBezTo>
                  <a:cubicBezTo>
                    <a:pt x="557" y="2052"/>
                    <a:pt x="572" y="2052"/>
                    <a:pt x="587" y="2066"/>
                  </a:cubicBezTo>
                  <a:cubicBezTo>
                    <a:pt x="601" y="2074"/>
                    <a:pt x="616" y="2074"/>
                    <a:pt x="623" y="2074"/>
                  </a:cubicBezTo>
                  <a:cubicBezTo>
                    <a:pt x="660" y="2074"/>
                    <a:pt x="689" y="2037"/>
                    <a:pt x="726" y="1993"/>
                  </a:cubicBezTo>
                  <a:cubicBezTo>
                    <a:pt x="762" y="1949"/>
                    <a:pt x="711" y="1934"/>
                    <a:pt x="667" y="1898"/>
                  </a:cubicBezTo>
                  <a:cubicBezTo>
                    <a:pt x="682" y="1861"/>
                    <a:pt x="682" y="1825"/>
                    <a:pt x="711" y="1817"/>
                  </a:cubicBezTo>
                  <a:cubicBezTo>
                    <a:pt x="719" y="1817"/>
                    <a:pt x="726" y="1817"/>
                    <a:pt x="733" y="1817"/>
                  </a:cubicBezTo>
                  <a:cubicBezTo>
                    <a:pt x="762" y="1817"/>
                    <a:pt x="777" y="1832"/>
                    <a:pt x="799" y="1869"/>
                  </a:cubicBezTo>
                  <a:cubicBezTo>
                    <a:pt x="821" y="1898"/>
                    <a:pt x="836" y="1979"/>
                    <a:pt x="872" y="1979"/>
                  </a:cubicBezTo>
                  <a:cubicBezTo>
                    <a:pt x="887" y="1979"/>
                    <a:pt x="902" y="1971"/>
                    <a:pt x="917" y="1957"/>
                  </a:cubicBezTo>
                  <a:cubicBezTo>
                    <a:pt x="982" y="1876"/>
                    <a:pt x="1012" y="1861"/>
                    <a:pt x="1070" y="1839"/>
                  </a:cubicBezTo>
                  <a:cubicBezTo>
                    <a:pt x="1078" y="1839"/>
                    <a:pt x="1085" y="1839"/>
                    <a:pt x="1092" y="1839"/>
                  </a:cubicBezTo>
                  <a:cubicBezTo>
                    <a:pt x="1143" y="1839"/>
                    <a:pt x="1173" y="1883"/>
                    <a:pt x="1195" y="1912"/>
                  </a:cubicBezTo>
                  <a:cubicBezTo>
                    <a:pt x="1210" y="1927"/>
                    <a:pt x="1239" y="1942"/>
                    <a:pt x="1253" y="1942"/>
                  </a:cubicBezTo>
                  <a:cubicBezTo>
                    <a:pt x="1268" y="1942"/>
                    <a:pt x="1276" y="1934"/>
                    <a:pt x="1283" y="1920"/>
                  </a:cubicBezTo>
                  <a:cubicBezTo>
                    <a:pt x="1283" y="1905"/>
                    <a:pt x="1290" y="1905"/>
                    <a:pt x="1290" y="1905"/>
                  </a:cubicBezTo>
                  <a:cubicBezTo>
                    <a:pt x="1305" y="1905"/>
                    <a:pt x="1327" y="1934"/>
                    <a:pt x="1341" y="1957"/>
                  </a:cubicBezTo>
                  <a:cubicBezTo>
                    <a:pt x="1356" y="1964"/>
                    <a:pt x="1371" y="1971"/>
                    <a:pt x="1385" y="1971"/>
                  </a:cubicBezTo>
                  <a:cubicBezTo>
                    <a:pt x="1415" y="1971"/>
                    <a:pt x="1444" y="1957"/>
                    <a:pt x="1466" y="1942"/>
                  </a:cubicBezTo>
                  <a:cubicBezTo>
                    <a:pt x="1510" y="1920"/>
                    <a:pt x="1517" y="1883"/>
                    <a:pt x="1510" y="1839"/>
                  </a:cubicBezTo>
                  <a:cubicBezTo>
                    <a:pt x="1503" y="1803"/>
                    <a:pt x="1569" y="1759"/>
                    <a:pt x="1539" y="1722"/>
                  </a:cubicBezTo>
                  <a:cubicBezTo>
                    <a:pt x="1503" y="1693"/>
                    <a:pt x="1466" y="1700"/>
                    <a:pt x="1466" y="1641"/>
                  </a:cubicBezTo>
                  <a:cubicBezTo>
                    <a:pt x="1466" y="1575"/>
                    <a:pt x="1459" y="1561"/>
                    <a:pt x="1503" y="1517"/>
                  </a:cubicBezTo>
                  <a:cubicBezTo>
                    <a:pt x="1517" y="1510"/>
                    <a:pt x="1525" y="1502"/>
                    <a:pt x="1532" y="1502"/>
                  </a:cubicBezTo>
                  <a:cubicBezTo>
                    <a:pt x="1561" y="1502"/>
                    <a:pt x="1583" y="1546"/>
                    <a:pt x="1605" y="1561"/>
                  </a:cubicBezTo>
                  <a:cubicBezTo>
                    <a:pt x="1627" y="1583"/>
                    <a:pt x="1657" y="1619"/>
                    <a:pt x="1693" y="1619"/>
                  </a:cubicBezTo>
                  <a:cubicBezTo>
                    <a:pt x="1708" y="1619"/>
                    <a:pt x="1722" y="1612"/>
                    <a:pt x="1730" y="1598"/>
                  </a:cubicBezTo>
                  <a:cubicBezTo>
                    <a:pt x="1774" y="1546"/>
                    <a:pt x="1803" y="1495"/>
                    <a:pt x="1781" y="1458"/>
                  </a:cubicBezTo>
                  <a:cubicBezTo>
                    <a:pt x="1766" y="1429"/>
                    <a:pt x="1766" y="1363"/>
                    <a:pt x="1818" y="1356"/>
                  </a:cubicBezTo>
                  <a:cubicBezTo>
                    <a:pt x="1869" y="1348"/>
                    <a:pt x="1862" y="1326"/>
                    <a:pt x="1869" y="1290"/>
                  </a:cubicBezTo>
                  <a:cubicBezTo>
                    <a:pt x="1876" y="1253"/>
                    <a:pt x="1972" y="1268"/>
                    <a:pt x="1993" y="1253"/>
                  </a:cubicBezTo>
                  <a:cubicBezTo>
                    <a:pt x="2023" y="1246"/>
                    <a:pt x="2030" y="1216"/>
                    <a:pt x="2067" y="1172"/>
                  </a:cubicBezTo>
                  <a:cubicBezTo>
                    <a:pt x="2074" y="1158"/>
                    <a:pt x="2089" y="1150"/>
                    <a:pt x="2103" y="1150"/>
                  </a:cubicBezTo>
                  <a:cubicBezTo>
                    <a:pt x="2133" y="1150"/>
                    <a:pt x="2162" y="1172"/>
                    <a:pt x="2191" y="1172"/>
                  </a:cubicBezTo>
                  <a:cubicBezTo>
                    <a:pt x="2235" y="1172"/>
                    <a:pt x="2272" y="1150"/>
                    <a:pt x="2309" y="1121"/>
                  </a:cubicBezTo>
                  <a:cubicBezTo>
                    <a:pt x="2353" y="1084"/>
                    <a:pt x="2404" y="1026"/>
                    <a:pt x="2448" y="1026"/>
                  </a:cubicBezTo>
                  <a:cubicBezTo>
                    <a:pt x="2484" y="1026"/>
                    <a:pt x="2536" y="1077"/>
                    <a:pt x="2580" y="1077"/>
                  </a:cubicBezTo>
                  <a:cubicBezTo>
                    <a:pt x="2587" y="1077"/>
                    <a:pt x="2594" y="1070"/>
                    <a:pt x="2602" y="1070"/>
                  </a:cubicBezTo>
                  <a:cubicBezTo>
                    <a:pt x="2646" y="1041"/>
                    <a:pt x="2719" y="1019"/>
                    <a:pt x="2748" y="982"/>
                  </a:cubicBezTo>
                  <a:cubicBezTo>
                    <a:pt x="2770" y="953"/>
                    <a:pt x="2770" y="938"/>
                    <a:pt x="2807" y="879"/>
                  </a:cubicBezTo>
                  <a:cubicBezTo>
                    <a:pt x="2836" y="821"/>
                    <a:pt x="2910" y="791"/>
                    <a:pt x="2939" y="777"/>
                  </a:cubicBezTo>
                  <a:cubicBezTo>
                    <a:pt x="2975" y="769"/>
                    <a:pt x="3034" y="769"/>
                    <a:pt x="3093" y="725"/>
                  </a:cubicBezTo>
                  <a:cubicBezTo>
                    <a:pt x="3137" y="696"/>
                    <a:pt x="3166" y="667"/>
                    <a:pt x="3188" y="667"/>
                  </a:cubicBezTo>
                  <a:cubicBezTo>
                    <a:pt x="3195" y="667"/>
                    <a:pt x="3203" y="674"/>
                    <a:pt x="3203" y="689"/>
                  </a:cubicBezTo>
                  <a:cubicBezTo>
                    <a:pt x="3210" y="703"/>
                    <a:pt x="3210" y="703"/>
                    <a:pt x="3217" y="703"/>
                  </a:cubicBezTo>
                  <a:cubicBezTo>
                    <a:pt x="3239" y="703"/>
                    <a:pt x="3261" y="681"/>
                    <a:pt x="3261" y="652"/>
                  </a:cubicBezTo>
                  <a:cubicBezTo>
                    <a:pt x="3269" y="608"/>
                    <a:pt x="3305" y="630"/>
                    <a:pt x="3371" y="608"/>
                  </a:cubicBezTo>
                  <a:cubicBezTo>
                    <a:pt x="3444" y="593"/>
                    <a:pt x="3415" y="616"/>
                    <a:pt x="3437" y="557"/>
                  </a:cubicBezTo>
                  <a:cubicBezTo>
                    <a:pt x="3452" y="498"/>
                    <a:pt x="3452" y="476"/>
                    <a:pt x="3481" y="432"/>
                  </a:cubicBezTo>
                  <a:cubicBezTo>
                    <a:pt x="3518" y="388"/>
                    <a:pt x="3562" y="374"/>
                    <a:pt x="3584" y="344"/>
                  </a:cubicBezTo>
                  <a:cubicBezTo>
                    <a:pt x="3613" y="322"/>
                    <a:pt x="3613" y="264"/>
                    <a:pt x="3620" y="220"/>
                  </a:cubicBezTo>
                  <a:cubicBezTo>
                    <a:pt x="3628" y="176"/>
                    <a:pt x="3606" y="117"/>
                    <a:pt x="3664" y="73"/>
                  </a:cubicBezTo>
                  <a:cubicBezTo>
                    <a:pt x="3701" y="44"/>
                    <a:pt x="3730" y="29"/>
                    <a:pt x="3752" y="29"/>
                  </a:cubicBezTo>
                  <a:lnTo>
                    <a:pt x="3752" y="0"/>
                  </a:lnTo>
                  <a:lnTo>
                    <a:pt x="3752" y="0"/>
                  </a:lnTo>
                  <a:lnTo>
                    <a:pt x="3752" y="0"/>
                  </a:lnTo>
                  <a:cubicBezTo>
                    <a:pt x="3730" y="0"/>
                    <a:pt x="3693" y="15"/>
                    <a:pt x="3642" y="51"/>
                  </a:cubicBezTo>
                  <a:cubicBezTo>
                    <a:pt x="3591" y="88"/>
                    <a:pt x="3591" y="139"/>
                    <a:pt x="3591" y="183"/>
                  </a:cubicBezTo>
                  <a:cubicBezTo>
                    <a:pt x="3591" y="191"/>
                    <a:pt x="3591" y="205"/>
                    <a:pt x="3591" y="212"/>
                  </a:cubicBezTo>
                  <a:cubicBezTo>
                    <a:pt x="3591" y="227"/>
                    <a:pt x="3584" y="234"/>
                    <a:pt x="3584" y="249"/>
                  </a:cubicBezTo>
                  <a:cubicBezTo>
                    <a:pt x="3584" y="279"/>
                    <a:pt x="3576" y="315"/>
                    <a:pt x="3562" y="322"/>
                  </a:cubicBezTo>
                  <a:cubicBezTo>
                    <a:pt x="3554" y="330"/>
                    <a:pt x="3547" y="337"/>
                    <a:pt x="3532" y="352"/>
                  </a:cubicBezTo>
                  <a:cubicBezTo>
                    <a:pt x="3510" y="366"/>
                    <a:pt x="3481" y="381"/>
                    <a:pt x="3459" y="410"/>
                  </a:cubicBezTo>
                  <a:cubicBezTo>
                    <a:pt x="3430" y="447"/>
                    <a:pt x="3422" y="476"/>
                    <a:pt x="3415" y="520"/>
                  </a:cubicBezTo>
                  <a:cubicBezTo>
                    <a:pt x="3408" y="528"/>
                    <a:pt x="3408" y="535"/>
                    <a:pt x="3408" y="550"/>
                  </a:cubicBezTo>
                  <a:cubicBezTo>
                    <a:pt x="3400" y="557"/>
                    <a:pt x="3400" y="564"/>
                    <a:pt x="3400" y="572"/>
                  </a:cubicBezTo>
                  <a:cubicBezTo>
                    <a:pt x="3393" y="572"/>
                    <a:pt x="3379" y="579"/>
                    <a:pt x="3364" y="579"/>
                  </a:cubicBezTo>
                  <a:cubicBezTo>
                    <a:pt x="3349" y="586"/>
                    <a:pt x="3327" y="586"/>
                    <a:pt x="3312" y="586"/>
                  </a:cubicBezTo>
                  <a:cubicBezTo>
                    <a:pt x="3283" y="593"/>
                    <a:pt x="3247" y="593"/>
                    <a:pt x="3232" y="645"/>
                  </a:cubicBezTo>
                  <a:cubicBezTo>
                    <a:pt x="3232" y="652"/>
                    <a:pt x="3232" y="660"/>
                    <a:pt x="3224" y="660"/>
                  </a:cubicBezTo>
                  <a:cubicBezTo>
                    <a:pt x="3217" y="638"/>
                    <a:pt x="3195" y="638"/>
                    <a:pt x="3188" y="638"/>
                  </a:cubicBezTo>
                  <a:cubicBezTo>
                    <a:pt x="3166" y="638"/>
                    <a:pt x="3137" y="660"/>
                    <a:pt x="3107" y="681"/>
                  </a:cubicBezTo>
                  <a:cubicBezTo>
                    <a:pt x="3093" y="689"/>
                    <a:pt x="3085" y="696"/>
                    <a:pt x="3078" y="703"/>
                  </a:cubicBezTo>
                  <a:cubicBezTo>
                    <a:pt x="3034" y="733"/>
                    <a:pt x="2998" y="740"/>
                    <a:pt x="2961" y="748"/>
                  </a:cubicBezTo>
                  <a:cubicBezTo>
                    <a:pt x="2953" y="748"/>
                    <a:pt x="2939" y="748"/>
                    <a:pt x="2931" y="748"/>
                  </a:cubicBezTo>
                  <a:cubicBezTo>
                    <a:pt x="2895" y="762"/>
                    <a:pt x="2814" y="799"/>
                    <a:pt x="2778" y="865"/>
                  </a:cubicBezTo>
                  <a:cubicBezTo>
                    <a:pt x="2763" y="887"/>
                    <a:pt x="2756" y="901"/>
                    <a:pt x="2748" y="916"/>
                  </a:cubicBezTo>
                  <a:cubicBezTo>
                    <a:pt x="2741" y="938"/>
                    <a:pt x="2734" y="945"/>
                    <a:pt x="2719" y="967"/>
                  </a:cubicBezTo>
                  <a:cubicBezTo>
                    <a:pt x="2704" y="982"/>
                    <a:pt x="2668" y="1004"/>
                    <a:pt x="2638" y="1019"/>
                  </a:cubicBezTo>
                  <a:cubicBezTo>
                    <a:pt x="2616" y="1026"/>
                    <a:pt x="2602" y="1033"/>
                    <a:pt x="2587" y="1041"/>
                  </a:cubicBezTo>
                  <a:lnTo>
                    <a:pt x="2580" y="1041"/>
                  </a:lnTo>
                  <a:cubicBezTo>
                    <a:pt x="2565" y="1041"/>
                    <a:pt x="2543" y="1033"/>
                    <a:pt x="2521" y="1026"/>
                  </a:cubicBezTo>
                  <a:cubicBezTo>
                    <a:pt x="2499" y="1011"/>
                    <a:pt x="2470" y="997"/>
                    <a:pt x="2448" y="997"/>
                  </a:cubicBezTo>
                  <a:cubicBezTo>
                    <a:pt x="2404" y="997"/>
                    <a:pt x="2367" y="1033"/>
                    <a:pt x="2323" y="1070"/>
                  </a:cubicBezTo>
                  <a:cubicBezTo>
                    <a:pt x="2316" y="1077"/>
                    <a:pt x="2301" y="1084"/>
                    <a:pt x="2294" y="1099"/>
                  </a:cubicBezTo>
                  <a:cubicBezTo>
                    <a:pt x="2250" y="1129"/>
                    <a:pt x="2228" y="1143"/>
                    <a:pt x="2191" y="1143"/>
                  </a:cubicBezTo>
                  <a:cubicBezTo>
                    <a:pt x="2184" y="1143"/>
                    <a:pt x="2169" y="1136"/>
                    <a:pt x="2155" y="1136"/>
                  </a:cubicBezTo>
                  <a:cubicBezTo>
                    <a:pt x="2140" y="1129"/>
                    <a:pt x="2125" y="1121"/>
                    <a:pt x="2103" y="1121"/>
                  </a:cubicBezTo>
                  <a:cubicBezTo>
                    <a:pt x="2081" y="1121"/>
                    <a:pt x="2060" y="1129"/>
                    <a:pt x="2038" y="1150"/>
                  </a:cubicBezTo>
                  <a:cubicBezTo>
                    <a:pt x="2030" y="1172"/>
                    <a:pt x="2016" y="1187"/>
                    <a:pt x="2008" y="1202"/>
                  </a:cubicBezTo>
                  <a:cubicBezTo>
                    <a:pt x="2001" y="1209"/>
                    <a:pt x="1993" y="1224"/>
                    <a:pt x="1986" y="1224"/>
                  </a:cubicBezTo>
                  <a:cubicBezTo>
                    <a:pt x="1986" y="1231"/>
                    <a:pt x="1964" y="1231"/>
                    <a:pt x="1957" y="1231"/>
                  </a:cubicBezTo>
                  <a:cubicBezTo>
                    <a:pt x="1906" y="1231"/>
                    <a:pt x="1854" y="1238"/>
                    <a:pt x="1840" y="1282"/>
                  </a:cubicBezTo>
                  <a:cubicBezTo>
                    <a:pt x="1840" y="1290"/>
                    <a:pt x="1840" y="1297"/>
                    <a:pt x="1832" y="1304"/>
                  </a:cubicBezTo>
                  <a:cubicBezTo>
                    <a:pt x="1832" y="1326"/>
                    <a:pt x="1832" y="1326"/>
                    <a:pt x="1810" y="1326"/>
                  </a:cubicBezTo>
                  <a:cubicBezTo>
                    <a:pt x="1788" y="1334"/>
                    <a:pt x="1766" y="1348"/>
                    <a:pt x="1752" y="1370"/>
                  </a:cubicBezTo>
                  <a:cubicBezTo>
                    <a:pt x="1737" y="1407"/>
                    <a:pt x="1744" y="1443"/>
                    <a:pt x="1759" y="1473"/>
                  </a:cubicBezTo>
                  <a:cubicBezTo>
                    <a:pt x="1766" y="1488"/>
                    <a:pt x="1752" y="1524"/>
                    <a:pt x="1708" y="1575"/>
                  </a:cubicBezTo>
                  <a:cubicBezTo>
                    <a:pt x="1700" y="1583"/>
                    <a:pt x="1700" y="1583"/>
                    <a:pt x="1693" y="1583"/>
                  </a:cubicBezTo>
                  <a:cubicBezTo>
                    <a:pt x="1671" y="1583"/>
                    <a:pt x="1642" y="1553"/>
                    <a:pt x="1627" y="1539"/>
                  </a:cubicBezTo>
                  <a:cubicBezTo>
                    <a:pt x="1620" y="1539"/>
                    <a:pt x="1620" y="1531"/>
                    <a:pt x="1612" y="1524"/>
                  </a:cubicBezTo>
                  <a:cubicBezTo>
                    <a:pt x="1598" y="1502"/>
                    <a:pt x="1569" y="1473"/>
                    <a:pt x="1532" y="1473"/>
                  </a:cubicBezTo>
                  <a:cubicBezTo>
                    <a:pt x="1517" y="1473"/>
                    <a:pt x="1495" y="1480"/>
                    <a:pt x="1481" y="1495"/>
                  </a:cubicBezTo>
                  <a:cubicBezTo>
                    <a:pt x="1437" y="1539"/>
                    <a:pt x="1437" y="1568"/>
                    <a:pt x="1437" y="1612"/>
                  </a:cubicBezTo>
                  <a:cubicBezTo>
                    <a:pt x="1437" y="1619"/>
                    <a:pt x="1437" y="1627"/>
                    <a:pt x="1437" y="1641"/>
                  </a:cubicBezTo>
                  <a:cubicBezTo>
                    <a:pt x="1437" y="1693"/>
                    <a:pt x="1466" y="1715"/>
                    <a:pt x="1488" y="1729"/>
                  </a:cubicBezTo>
                  <a:cubicBezTo>
                    <a:pt x="1503" y="1729"/>
                    <a:pt x="1510" y="1737"/>
                    <a:pt x="1517" y="1744"/>
                  </a:cubicBezTo>
                  <a:cubicBezTo>
                    <a:pt x="1517" y="1751"/>
                    <a:pt x="1510" y="1766"/>
                    <a:pt x="1503" y="1773"/>
                  </a:cubicBezTo>
                  <a:cubicBezTo>
                    <a:pt x="1495" y="1795"/>
                    <a:pt x="1473" y="1817"/>
                    <a:pt x="1481" y="1847"/>
                  </a:cubicBezTo>
                  <a:cubicBezTo>
                    <a:pt x="1488" y="1883"/>
                    <a:pt x="1481" y="1905"/>
                    <a:pt x="1451" y="1920"/>
                  </a:cubicBezTo>
                  <a:cubicBezTo>
                    <a:pt x="1437" y="1927"/>
                    <a:pt x="1407" y="1934"/>
                    <a:pt x="1385" y="1934"/>
                  </a:cubicBezTo>
                  <a:cubicBezTo>
                    <a:pt x="1378" y="1934"/>
                    <a:pt x="1371" y="1934"/>
                    <a:pt x="1363" y="1934"/>
                  </a:cubicBezTo>
                  <a:cubicBezTo>
                    <a:pt x="1356" y="1927"/>
                    <a:pt x="1349" y="1920"/>
                    <a:pt x="1349" y="1912"/>
                  </a:cubicBezTo>
                  <a:cubicBezTo>
                    <a:pt x="1327" y="1891"/>
                    <a:pt x="1312" y="1876"/>
                    <a:pt x="1290" y="1876"/>
                  </a:cubicBezTo>
                  <a:cubicBezTo>
                    <a:pt x="1283" y="1876"/>
                    <a:pt x="1261" y="1876"/>
                    <a:pt x="1253" y="1912"/>
                  </a:cubicBezTo>
                  <a:lnTo>
                    <a:pt x="1253" y="1912"/>
                  </a:lnTo>
                  <a:cubicBezTo>
                    <a:pt x="1246" y="1912"/>
                    <a:pt x="1231" y="1905"/>
                    <a:pt x="1224" y="1891"/>
                  </a:cubicBezTo>
                  <a:cubicBezTo>
                    <a:pt x="1202" y="1869"/>
                    <a:pt x="1158" y="1810"/>
                    <a:pt x="1092" y="1810"/>
                  </a:cubicBezTo>
                  <a:cubicBezTo>
                    <a:pt x="1085" y="1810"/>
                    <a:pt x="1070" y="1810"/>
                    <a:pt x="1063" y="1810"/>
                  </a:cubicBezTo>
                  <a:cubicBezTo>
                    <a:pt x="997" y="1832"/>
                    <a:pt x="968" y="1854"/>
                    <a:pt x="894" y="1934"/>
                  </a:cubicBezTo>
                  <a:cubicBezTo>
                    <a:pt x="880" y="1949"/>
                    <a:pt x="872" y="1949"/>
                    <a:pt x="872" y="1949"/>
                  </a:cubicBezTo>
                  <a:cubicBezTo>
                    <a:pt x="865" y="1942"/>
                    <a:pt x="850" y="1905"/>
                    <a:pt x="843" y="1891"/>
                  </a:cubicBezTo>
                  <a:cubicBezTo>
                    <a:pt x="836" y="1876"/>
                    <a:pt x="828" y="1861"/>
                    <a:pt x="821" y="1854"/>
                  </a:cubicBezTo>
                  <a:cubicBezTo>
                    <a:pt x="799" y="1817"/>
                    <a:pt x="777" y="1788"/>
                    <a:pt x="733" y="1788"/>
                  </a:cubicBezTo>
                  <a:cubicBezTo>
                    <a:pt x="726" y="1788"/>
                    <a:pt x="719" y="1788"/>
                    <a:pt x="704" y="1788"/>
                  </a:cubicBezTo>
                  <a:cubicBezTo>
                    <a:pt x="660" y="1795"/>
                    <a:pt x="652" y="1847"/>
                    <a:pt x="645" y="1883"/>
                  </a:cubicBezTo>
                  <a:cubicBezTo>
                    <a:pt x="638" y="1891"/>
                    <a:pt x="638" y="1891"/>
                    <a:pt x="638" y="1891"/>
                  </a:cubicBezTo>
                  <a:cubicBezTo>
                    <a:pt x="638" y="1912"/>
                    <a:pt x="638" y="1912"/>
                    <a:pt x="638" y="1912"/>
                  </a:cubicBezTo>
                  <a:cubicBezTo>
                    <a:pt x="652" y="1920"/>
                    <a:pt x="652" y="1920"/>
                    <a:pt x="652" y="1920"/>
                  </a:cubicBezTo>
                  <a:cubicBezTo>
                    <a:pt x="660" y="1934"/>
                    <a:pt x="667" y="1934"/>
                    <a:pt x="682" y="1942"/>
                  </a:cubicBezTo>
                  <a:cubicBezTo>
                    <a:pt x="689" y="1949"/>
                    <a:pt x="704" y="1964"/>
                    <a:pt x="704" y="1971"/>
                  </a:cubicBezTo>
                  <a:cubicBezTo>
                    <a:pt x="704" y="1971"/>
                    <a:pt x="704" y="1971"/>
                    <a:pt x="704" y="1979"/>
                  </a:cubicBezTo>
                  <a:cubicBezTo>
                    <a:pt x="697" y="1979"/>
                    <a:pt x="697" y="1979"/>
                    <a:pt x="697" y="1979"/>
                  </a:cubicBezTo>
                  <a:cubicBezTo>
                    <a:pt x="667" y="2015"/>
                    <a:pt x="645" y="2044"/>
                    <a:pt x="623" y="2044"/>
                  </a:cubicBezTo>
                  <a:cubicBezTo>
                    <a:pt x="616" y="2044"/>
                    <a:pt x="609" y="2044"/>
                    <a:pt x="601" y="2037"/>
                  </a:cubicBezTo>
                  <a:cubicBezTo>
                    <a:pt x="579" y="2022"/>
                    <a:pt x="557" y="2015"/>
                    <a:pt x="543" y="2015"/>
                  </a:cubicBezTo>
                  <a:cubicBezTo>
                    <a:pt x="491" y="2015"/>
                    <a:pt x="455" y="2052"/>
                    <a:pt x="426" y="2118"/>
                  </a:cubicBezTo>
                  <a:cubicBezTo>
                    <a:pt x="411" y="2162"/>
                    <a:pt x="367" y="2176"/>
                    <a:pt x="323" y="2191"/>
                  </a:cubicBezTo>
                  <a:cubicBezTo>
                    <a:pt x="294" y="2198"/>
                    <a:pt x="272" y="2206"/>
                    <a:pt x="250" y="2220"/>
                  </a:cubicBezTo>
                  <a:cubicBezTo>
                    <a:pt x="198" y="2264"/>
                    <a:pt x="154" y="2345"/>
                    <a:pt x="198" y="2425"/>
                  </a:cubicBezTo>
                  <a:cubicBezTo>
                    <a:pt x="198" y="2433"/>
                    <a:pt x="206" y="2440"/>
                    <a:pt x="206" y="2440"/>
                  </a:cubicBezTo>
                  <a:cubicBezTo>
                    <a:pt x="191" y="2448"/>
                    <a:pt x="176" y="2455"/>
                    <a:pt x="162" y="2469"/>
                  </a:cubicBezTo>
                  <a:cubicBezTo>
                    <a:pt x="125" y="2499"/>
                    <a:pt x="118" y="2513"/>
                    <a:pt x="110" y="2550"/>
                  </a:cubicBezTo>
                  <a:cubicBezTo>
                    <a:pt x="110" y="2565"/>
                    <a:pt x="110" y="2587"/>
                    <a:pt x="96" y="2623"/>
                  </a:cubicBezTo>
                  <a:cubicBezTo>
                    <a:pt x="88" y="2645"/>
                    <a:pt x="74" y="2675"/>
                    <a:pt x="67" y="2697"/>
                  </a:cubicBezTo>
                  <a:cubicBezTo>
                    <a:pt x="30" y="2770"/>
                    <a:pt x="0" y="2843"/>
                    <a:pt x="37" y="2916"/>
                  </a:cubicBezTo>
                  <a:cubicBezTo>
                    <a:pt x="59" y="2946"/>
                    <a:pt x="74" y="2990"/>
                    <a:pt x="88" y="3026"/>
                  </a:cubicBezTo>
                  <a:cubicBezTo>
                    <a:pt x="110" y="3078"/>
                    <a:pt x="125" y="3129"/>
                    <a:pt x="162" y="3166"/>
                  </a:cubicBezTo>
                  <a:cubicBezTo>
                    <a:pt x="169" y="3173"/>
                    <a:pt x="184" y="3180"/>
                    <a:pt x="191" y="3188"/>
                  </a:cubicBezTo>
                  <a:cubicBezTo>
                    <a:pt x="220" y="3217"/>
                    <a:pt x="242" y="3239"/>
                    <a:pt x="250" y="3305"/>
                  </a:cubicBezTo>
                  <a:cubicBezTo>
                    <a:pt x="264" y="3400"/>
                    <a:pt x="308" y="3473"/>
                    <a:pt x="381" y="3517"/>
                  </a:cubicBezTo>
                  <a:cubicBezTo>
                    <a:pt x="396" y="3525"/>
                    <a:pt x="411" y="3539"/>
                    <a:pt x="426" y="3554"/>
                  </a:cubicBezTo>
                  <a:cubicBezTo>
                    <a:pt x="448" y="3583"/>
                    <a:pt x="484" y="3612"/>
                    <a:pt x="535" y="3612"/>
                  </a:cubicBezTo>
                  <a:cubicBezTo>
                    <a:pt x="543" y="3612"/>
                    <a:pt x="550" y="3612"/>
                    <a:pt x="557" y="3612"/>
                  </a:cubicBezTo>
                  <a:cubicBezTo>
                    <a:pt x="579" y="3612"/>
                    <a:pt x="594" y="3605"/>
                    <a:pt x="609" y="3605"/>
                  </a:cubicBezTo>
                  <a:cubicBezTo>
                    <a:pt x="609" y="3605"/>
                    <a:pt x="609" y="3605"/>
                    <a:pt x="616" y="3605"/>
                  </a:cubicBezTo>
                  <a:cubicBezTo>
                    <a:pt x="616" y="3612"/>
                    <a:pt x="616" y="3620"/>
                    <a:pt x="616" y="3642"/>
                  </a:cubicBezTo>
                  <a:cubicBezTo>
                    <a:pt x="616" y="3715"/>
                    <a:pt x="682" y="3759"/>
                    <a:pt x="792" y="3759"/>
                  </a:cubicBezTo>
                  <a:cubicBezTo>
                    <a:pt x="828" y="3759"/>
                    <a:pt x="858" y="3774"/>
                    <a:pt x="865" y="3788"/>
                  </a:cubicBezTo>
                  <a:cubicBezTo>
                    <a:pt x="872" y="3796"/>
                    <a:pt x="872" y="3810"/>
                    <a:pt x="865" y="3832"/>
                  </a:cubicBezTo>
                  <a:cubicBezTo>
                    <a:pt x="850" y="3869"/>
                    <a:pt x="850" y="3913"/>
                    <a:pt x="850" y="3942"/>
                  </a:cubicBezTo>
                  <a:cubicBezTo>
                    <a:pt x="850" y="4001"/>
                    <a:pt x="850" y="4023"/>
                    <a:pt x="821" y="4045"/>
                  </a:cubicBezTo>
                  <a:cubicBezTo>
                    <a:pt x="807" y="4052"/>
                    <a:pt x="792" y="4060"/>
                    <a:pt x="785" y="4067"/>
                  </a:cubicBezTo>
                  <a:cubicBezTo>
                    <a:pt x="726" y="4096"/>
                    <a:pt x="697" y="4111"/>
                    <a:pt x="682" y="4191"/>
                  </a:cubicBezTo>
                  <a:cubicBezTo>
                    <a:pt x="682" y="4206"/>
                    <a:pt x="682" y="4221"/>
                    <a:pt x="675" y="4235"/>
                  </a:cubicBezTo>
                  <a:cubicBezTo>
                    <a:pt x="675" y="4287"/>
                    <a:pt x="675" y="4309"/>
                    <a:pt x="638" y="4345"/>
                  </a:cubicBezTo>
                  <a:cubicBezTo>
                    <a:pt x="579" y="4397"/>
                    <a:pt x="535" y="4448"/>
                    <a:pt x="528" y="4521"/>
                  </a:cubicBezTo>
                  <a:cubicBezTo>
                    <a:pt x="521" y="4536"/>
                    <a:pt x="513" y="4550"/>
                    <a:pt x="506" y="4572"/>
                  </a:cubicBezTo>
                  <a:cubicBezTo>
                    <a:pt x="499" y="4587"/>
                    <a:pt x="491" y="4602"/>
                    <a:pt x="491" y="4624"/>
                  </a:cubicBezTo>
                  <a:cubicBezTo>
                    <a:pt x="469" y="4697"/>
                    <a:pt x="469" y="4697"/>
                    <a:pt x="469" y="4697"/>
                  </a:cubicBezTo>
                  <a:cubicBezTo>
                    <a:pt x="535" y="4653"/>
                    <a:pt x="535" y="4653"/>
                    <a:pt x="535" y="4653"/>
                  </a:cubicBezTo>
                  <a:cubicBezTo>
                    <a:pt x="565" y="4638"/>
                    <a:pt x="587" y="4631"/>
                    <a:pt x="609" y="4631"/>
                  </a:cubicBezTo>
                  <a:cubicBezTo>
                    <a:pt x="616" y="4631"/>
                    <a:pt x="623" y="4631"/>
                    <a:pt x="631" y="4631"/>
                  </a:cubicBezTo>
                  <a:cubicBezTo>
                    <a:pt x="704" y="4668"/>
                    <a:pt x="807" y="4690"/>
                    <a:pt x="872" y="4690"/>
                  </a:cubicBezTo>
                  <a:cubicBezTo>
                    <a:pt x="887" y="4690"/>
                    <a:pt x="894" y="4690"/>
                    <a:pt x="902" y="4690"/>
                  </a:cubicBezTo>
                  <a:cubicBezTo>
                    <a:pt x="909" y="4690"/>
                    <a:pt x="909" y="4690"/>
                    <a:pt x="909" y="4690"/>
                  </a:cubicBezTo>
                  <a:cubicBezTo>
                    <a:pt x="931" y="4690"/>
                    <a:pt x="946" y="4697"/>
                    <a:pt x="960" y="4712"/>
                  </a:cubicBezTo>
                  <a:cubicBezTo>
                    <a:pt x="975" y="4726"/>
                    <a:pt x="990" y="4741"/>
                    <a:pt x="1012" y="4741"/>
                  </a:cubicBezTo>
                  <a:cubicBezTo>
                    <a:pt x="1048" y="4741"/>
                    <a:pt x="1092" y="4726"/>
                    <a:pt x="1143" y="4668"/>
                  </a:cubicBezTo>
                  <a:cubicBezTo>
                    <a:pt x="1151" y="4660"/>
                    <a:pt x="1158" y="4660"/>
                    <a:pt x="1158" y="4660"/>
                  </a:cubicBezTo>
                  <a:cubicBezTo>
                    <a:pt x="1166" y="4660"/>
                    <a:pt x="1180" y="4660"/>
                    <a:pt x="1188" y="4660"/>
                  </a:cubicBezTo>
                  <a:cubicBezTo>
                    <a:pt x="1202" y="4668"/>
                    <a:pt x="1217" y="4675"/>
                    <a:pt x="1231" y="4675"/>
                  </a:cubicBezTo>
                  <a:cubicBezTo>
                    <a:pt x="1253" y="4675"/>
                    <a:pt x="1268" y="4668"/>
                    <a:pt x="1283" y="4653"/>
                  </a:cubicBezTo>
                  <a:cubicBezTo>
                    <a:pt x="1334" y="4624"/>
                    <a:pt x="1363" y="4609"/>
                    <a:pt x="1400" y="4602"/>
                  </a:cubicBezTo>
                  <a:cubicBezTo>
                    <a:pt x="1437" y="4594"/>
                    <a:pt x="1481" y="4572"/>
                    <a:pt x="1525" y="4543"/>
                  </a:cubicBezTo>
                  <a:cubicBezTo>
                    <a:pt x="1539" y="4536"/>
                    <a:pt x="1547" y="4529"/>
                    <a:pt x="1561" y="4521"/>
                  </a:cubicBezTo>
                  <a:cubicBezTo>
                    <a:pt x="1620" y="4492"/>
                    <a:pt x="1664" y="4462"/>
                    <a:pt x="1752" y="4419"/>
                  </a:cubicBezTo>
                  <a:cubicBezTo>
                    <a:pt x="1818" y="4389"/>
                    <a:pt x="1891" y="4367"/>
                    <a:pt x="1942" y="4367"/>
                  </a:cubicBezTo>
                  <a:cubicBezTo>
                    <a:pt x="1950" y="4367"/>
                    <a:pt x="1957" y="4375"/>
                    <a:pt x="1964" y="4375"/>
                  </a:cubicBezTo>
                  <a:cubicBezTo>
                    <a:pt x="1986" y="4375"/>
                    <a:pt x="2008" y="4397"/>
                    <a:pt x="2030" y="4419"/>
                  </a:cubicBezTo>
                  <a:cubicBezTo>
                    <a:pt x="2045" y="4441"/>
                    <a:pt x="2060" y="4455"/>
                    <a:pt x="2081" y="4470"/>
                  </a:cubicBezTo>
                  <a:cubicBezTo>
                    <a:pt x="2096" y="4477"/>
                    <a:pt x="2103" y="4492"/>
                    <a:pt x="2118" y="4507"/>
                  </a:cubicBezTo>
                  <a:cubicBezTo>
                    <a:pt x="2148" y="4529"/>
                    <a:pt x="2169" y="4558"/>
                    <a:pt x="2206" y="4558"/>
                  </a:cubicBezTo>
                  <a:cubicBezTo>
                    <a:pt x="2213" y="4558"/>
                    <a:pt x="2235" y="4550"/>
                    <a:pt x="2250" y="4529"/>
                  </a:cubicBezTo>
                  <a:cubicBezTo>
                    <a:pt x="2257" y="4521"/>
                    <a:pt x="2257" y="4521"/>
                    <a:pt x="2257" y="4521"/>
                  </a:cubicBezTo>
                  <a:cubicBezTo>
                    <a:pt x="2265" y="4529"/>
                    <a:pt x="2279" y="4543"/>
                    <a:pt x="2287" y="4558"/>
                  </a:cubicBezTo>
                  <a:cubicBezTo>
                    <a:pt x="2316" y="4602"/>
                    <a:pt x="2375" y="4631"/>
                    <a:pt x="2426" y="4631"/>
                  </a:cubicBezTo>
                  <a:cubicBezTo>
                    <a:pt x="2433" y="4631"/>
                    <a:pt x="2448" y="4631"/>
                    <a:pt x="2462" y="4624"/>
                  </a:cubicBezTo>
                  <a:lnTo>
                    <a:pt x="2462" y="4624"/>
                  </a:lnTo>
                  <a:cubicBezTo>
                    <a:pt x="2484" y="4624"/>
                    <a:pt x="2514" y="4646"/>
                    <a:pt x="2521" y="4668"/>
                  </a:cubicBezTo>
                  <a:cubicBezTo>
                    <a:pt x="2529" y="4697"/>
                    <a:pt x="2514" y="4719"/>
                    <a:pt x="2507" y="4756"/>
                  </a:cubicBezTo>
                  <a:cubicBezTo>
                    <a:pt x="2499" y="4763"/>
                    <a:pt x="2499" y="4778"/>
                    <a:pt x="2492" y="4785"/>
                  </a:cubicBezTo>
                  <a:cubicBezTo>
                    <a:pt x="2484" y="4814"/>
                    <a:pt x="2499" y="4851"/>
                    <a:pt x="2514" y="4880"/>
                  </a:cubicBezTo>
                  <a:cubicBezTo>
                    <a:pt x="2521" y="4895"/>
                    <a:pt x="2529" y="4917"/>
                    <a:pt x="2529" y="4924"/>
                  </a:cubicBezTo>
                  <a:lnTo>
                    <a:pt x="2529" y="4924"/>
                  </a:lnTo>
                  <a:cubicBezTo>
                    <a:pt x="2529" y="4924"/>
                    <a:pt x="2529" y="4924"/>
                    <a:pt x="2521" y="4924"/>
                  </a:cubicBezTo>
                  <a:cubicBezTo>
                    <a:pt x="2477" y="4939"/>
                    <a:pt x="2433" y="4961"/>
                    <a:pt x="2426" y="4998"/>
                  </a:cubicBezTo>
                  <a:cubicBezTo>
                    <a:pt x="2419" y="5034"/>
                    <a:pt x="2448" y="5071"/>
                    <a:pt x="2462" y="5078"/>
                  </a:cubicBezTo>
                  <a:cubicBezTo>
                    <a:pt x="2507" y="5122"/>
                    <a:pt x="2521" y="5159"/>
                    <a:pt x="2529" y="5188"/>
                  </a:cubicBezTo>
                  <a:cubicBezTo>
                    <a:pt x="2543" y="5217"/>
                    <a:pt x="2602" y="5283"/>
                    <a:pt x="2675" y="5283"/>
                  </a:cubicBezTo>
                  <a:cubicBezTo>
                    <a:pt x="2682" y="5283"/>
                    <a:pt x="2682" y="5283"/>
                    <a:pt x="2690" y="5283"/>
                  </a:cubicBezTo>
                  <a:cubicBezTo>
                    <a:pt x="2697" y="5283"/>
                    <a:pt x="2697" y="5283"/>
                    <a:pt x="2697" y="5283"/>
                  </a:cubicBezTo>
                  <a:cubicBezTo>
                    <a:pt x="2712" y="5283"/>
                    <a:pt x="2726" y="5283"/>
                    <a:pt x="2734" y="5291"/>
                  </a:cubicBezTo>
                  <a:cubicBezTo>
                    <a:pt x="2741" y="5305"/>
                    <a:pt x="2741" y="5320"/>
                    <a:pt x="2741" y="5334"/>
                  </a:cubicBezTo>
                  <a:cubicBezTo>
                    <a:pt x="2741" y="5349"/>
                    <a:pt x="2741" y="5349"/>
                    <a:pt x="2741" y="5349"/>
                  </a:cubicBezTo>
                  <a:cubicBezTo>
                    <a:pt x="2734" y="5393"/>
                    <a:pt x="2719" y="5452"/>
                    <a:pt x="2697" y="5474"/>
                  </a:cubicBezTo>
                  <a:cubicBezTo>
                    <a:pt x="2690" y="5488"/>
                    <a:pt x="2682" y="5488"/>
                    <a:pt x="2675" y="5488"/>
                  </a:cubicBezTo>
                  <a:cubicBezTo>
                    <a:pt x="2660" y="5496"/>
                    <a:pt x="2646" y="5496"/>
                    <a:pt x="2624" y="5518"/>
                  </a:cubicBezTo>
                  <a:cubicBezTo>
                    <a:pt x="2580" y="5554"/>
                    <a:pt x="2572" y="5562"/>
                    <a:pt x="2521" y="5628"/>
                  </a:cubicBezTo>
                  <a:cubicBezTo>
                    <a:pt x="2521" y="5635"/>
                    <a:pt x="2514" y="5642"/>
                    <a:pt x="2507" y="5650"/>
                  </a:cubicBezTo>
                  <a:cubicBezTo>
                    <a:pt x="2477" y="5693"/>
                    <a:pt x="2448" y="5730"/>
                    <a:pt x="2499" y="5789"/>
                  </a:cubicBezTo>
                  <a:cubicBezTo>
                    <a:pt x="2521" y="5818"/>
                    <a:pt x="2543" y="5833"/>
                    <a:pt x="2565" y="5840"/>
                  </a:cubicBezTo>
                  <a:cubicBezTo>
                    <a:pt x="2580" y="5855"/>
                    <a:pt x="2594" y="5869"/>
                    <a:pt x="2594" y="5877"/>
                  </a:cubicBezTo>
                  <a:cubicBezTo>
                    <a:pt x="2602" y="5891"/>
                    <a:pt x="2602" y="5913"/>
                    <a:pt x="2609" y="5950"/>
                  </a:cubicBezTo>
                  <a:cubicBezTo>
                    <a:pt x="2616" y="6016"/>
                    <a:pt x="2616" y="6016"/>
                    <a:pt x="2616" y="6016"/>
                  </a:cubicBezTo>
                  <a:cubicBezTo>
                    <a:pt x="2660" y="5965"/>
                    <a:pt x="2660" y="5965"/>
                    <a:pt x="2660" y="5965"/>
                  </a:cubicBezTo>
                  <a:cubicBezTo>
                    <a:pt x="2668" y="5957"/>
                    <a:pt x="2675" y="5950"/>
                    <a:pt x="2682" y="5943"/>
                  </a:cubicBezTo>
                  <a:cubicBezTo>
                    <a:pt x="2704" y="5935"/>
                    <a:pt x="2763" y="5921"/>
                    <a:pt x="2792" y="5921"/>
                  </a:cubicBezTo>
                  <a:cubicBezTo>
                    <a:pt x="2800" y="5921"/>
                    <a:pt x="2807" y="5921"/>
                    <a:pt x="2807" y="5921"/>
                  </a:cubicBezTo>
                  <a:cubicBezTo>
                    <a:pt x="2822" y="5935"/>
                    <a:pt x="2843" y="5935"/>
                    <a:pt x="2873" y="5935"/>
                  </a:cubicBezTo>
                  <a:cubicBezTo>
                    <a:pt x="2917" y="5943"/>
                    <a:pt x="2939" y="5950"/>
                    <a:pt x="2939" y="5965"/>
                  </a:cubicBezTo>
                  <a:cubicBezTo>
                    <a:pt x="2939" y="5987"/>
                    <a:pt x="2939" y="6001"/>
                    <a:pt x="2939" y="6023"/>
                  </a:cubicBezTo>
                  <a:cubicBezTo>
                    <a:pt x="2939" y="6075"/>
                    <a:pt x="2939" y="6126"/>
                    <a:pt x="2998" y="6170"/>
                  </a:cubicBezTo>
                  <a:cubicBezTo>
                    <a:pt x="3019" y="6184"/>
                    <a:pt x="3041" y="6199"/>
                    <a:pt x="3056" y="6214"/>
                  </a:cubicBezTo>
                  <a:cubicBezTo>
                    <a:pt x="3085" y="6243"/>
                    <a:pt x="3107" y="6265"/>
                    <a:pt x="3137" y="6265"/>
                  </a:cubicBezTo>
                  <a:cubicBezTo>
                    <a:pt x="3151" y="6265"/>
                    <a:pt x="3166" y="6258"/>
                    <a:pt x="3173" y="6243"/>
                  </a:cubicBezTo>
                  <a:cubicBezTo>
                    <a:pt x="3181" y="6236"/>
                    <a:pt x="3181" y="6236"/>
                    <a:pt x="3188" y="6236"/>
                  </a:cubicBezTo>
                  <a:cubicBezTo>
                    <a:pt x="3188" y="6236"/>
                    <a:pt x="3195" y="6236"/>
                    <a:pt x="3203" y="6243"/>
                  </a:cubicBezTo>
                  <a:cubicBezTo>
                    <a:pt x="3210" y="6265"/>
                    <a:pt x="3261" y="6375"/>
                    <a:pt x="3334" y="6375"/>
                  </a:cubicBezTo>
                  <a:cubicBezTo>
                    <a:pt x="3356" y="6375"/>
                    <a:pt x="3371" y="6375"/>
                    <a:pt x="3386" y="6360"/>
                  </a:cubicBezTo>
                  <a:cubicBezTo>
                    <a:pt x="3393" y="6353"/>
                    <a:pt x="3415" y="6338"/>
                    <a:pt x="3415" y="6338"/>
                  </a:cubicBezTo>
                  <a:cubicBezTo>
                    <a:pt x="3415" y="6338"/>
                    <a:pt x="3422" y="6338"/>
                    <a:pt x="3430" y="6346"/>
                  </a:cubicBezTo>
                  <a:cubicBezTo>
                    <a:pt x="3437" y="6346"/>
                    <a:pt x="3444" y="6353"/>
                    <a:pt x="3459" y="6353"/>
                  </a:cubicBezTo>
                  <a:cubicBezTo>
                    <a:pt x="3474" y="6360"/>
                    <a:pt x="3481" y="6360"/>
                    <a:pt x="3496" y="6360"/>
                  </a:cubicBezTo>
                  <a:cubicBezTo>
                    <a:pt x="3532" y="6360"/>
                    <a:pt x="3562" y="6346"/>
                    <a:pt x="3584" y="6324"/>
                  </a:cubicBezTo>
                  <a:cubicBezTo>
                    <a:pt x="3598" y="6317"/>
                    <a:pt x="3606" y="6309"/>
                    <a:pt x="3620" y="6309"/>
                  </a:cubicBezTo>
                  <a:lnTo>
                    <a:pt x="3620" y="6309"/>
                  </a:lnTo>
                  <a:cubicBezTo>
                    <a:pt x="3620" y="6309"/>
                    <a:pt x="3628" y="6317"/>
                    <a:pt x="3628" y="6324"/>
                  </a:cubicBezTo>
                  <a:cubicBezTo>
                    <a:pt x="3642" y="6338"/>
                    <a:pt x="3664" y="6360"/>
                    <a:pt x="3693" y="6375"/>
                  </a:cubicBezTo>
                  <a:cubicBezTo>
                    <a:pt x="3701" y="6382"/>
                    <a:pt x="3708" y="6382"/>
                    <a:pt x="3715" y="6382"/>
                  </a:cubicBezTo>
                  <a:cubicBezTo>
                    <a:pt x="3738" y="6397"/>
                    <a:pt x="3760" y="6404"/>
                    <a:pt x="3789" y="6404"/>
                  </a:cubicBezTo>
                  <a:cubicBezTo>
                    <a:pt x="3818" y="6404"/>
                    <a:pt x="3847" y="6397"/>
                    <a:pt x="3869" y="6375"/>
                  </a:cubicBezTo>
                  <a:cubicBezTo>
                    <a:pt x="3891" y="6360"/>
                    <a:pt x="3906" y="6353"/>
                    <a:pt x="3913" y="6353"/>
                  </a:cubicBezTo>
                  <a:cubicBezTo>
                    <a:pt x="3928" y="6353"/>
                    <a:pt x="3943" y="6360"/>
                    <a:pt x="3972" y="6382"/>
                  </a:cubicBezTo>
                  <a:cubicBezTo>
                    <a:pt x="4001" y="6412"/>
                    <a:pt x="4053" y="6434"/>
                    <a:pt x="4097" y="6456"/>
                  </a:cubicBezTo>
                  <a:cubicBezTo>
                    <a:pt x="4126" y="6470"/>
                    <a:pt x="4155" y="6485"/>
                    <a:pt x="4177" y="6500"/>
                  </a:cubicBezTo>
                  <a:cubicBezTo>
                    <a:pt x="4184" y="6500"/>
                    <a:pt x="4184" y="6507"/>
                    <a:pt x="4192" y="6514"/>
                  </a:cubicBezTo>
                  <a:cubicBezTo>
                    <a:pt x="4236" y="6543"/>
                    <a:pt x="4287" y="6580"/>
                    <a:pt x="4353" y="6580"/>
                  </a:cubicBezTo>
                  <a:cubicBezTo>
                    <a:pt x="4390" y="6580"/>
                    <a:pt x="4441" y="6617"/>
                    <a:pt x="4478" y="6653"/>
                  </a:cubicBezTo>
                  <a:cubicBezTo>
                    <a:pt x="4492" y="6668"/>
                    <a:pt x="4492" y="6668"/>
                    <a:pt x="4492" y="6668"/>
                  </a:cubicBezTo>
                  <a:cubicBezTo>
                    <a:pt x="4514" y="6661"/>
                    <a:pt x="4514" y="6661"/>
                    <a:pt x="4514" y="6661"/>
                  </a:cubicBezTo>
                  <a:cubicBezTo>
                    <a:pt x="4551" y="6639"/>
                    <a:pt x="4551" y="6639"/>
                    <a:pt x="4551" y="6639"/>
                  </a:cubicBezTo>
                  <a:cubicBezTo>
                    <a:pt x="4580" y="6631"/>
                    <a:pt x="4646" y="6602"/>
                    <a:pt x="4697" y="6470"/>
                  </a:cubicBezTo>
                  <a:cubicBezTo>
                    <a:pt x="4734" y="6390"/>
                    <a:pt x="4771" y="6331"/>
                    <a:pt x="4800" y="6280"/>
                  </a:cubicBezTo>
                  <a:cubicBezTo>
                    <a:pt x="4837" y="6229"/>
                    <a:pt x="4866" y="6184"/>
                    <a:pt x="4866" y="6141"/>
                  </a:cubicBezTo>
                  <a:cubicBezTo>
                    <a:pt x="4873" y="6097"/>
                    <a:pt x="4873" y="6067"/>
                    <a:pt x="4873" y="6038"/>
                  </a:cubicBezTo>
                  <a:cubicBezTo>
                    <a:pt x="4873" y="6009"/>
                    <a:pt x="4866" y="5979"/>
                    <a:pt x="4873" y="5972"/>
                  </a:cubicBezTo>
                  <a:cubicBezTo>
                    <a:pt x="4881" y="5965"/>
                    <a:pt x="4888" y="5957"/>
                    <a:pt x="4895" y="5943"/>
                  </a:cubicBezTo>
                  <a:cubicBezTo>
                    <a:pt x="4924" y="5921"/>
                    <a:pt x="4969" y="5877"/>
                    <a:pt x="4946" y="5803"/>
                  </a:cubicBezTo>
                  <a:cubicBezTo>
                    <a:pt x="4939" y="5789"/>
                    <a:pt x="4924" y="5730"/>
                    <a:pt x="5012" y="5672"/>
                  </a:cubicBezTo>
                  <a:cubicBezTo>
                    <a:pt x="5027" y="5664"/>
                    <a:pt x="5042" y="5657"/>
                    <a:pt x="5049" y="5650"/>
                  </a:cubicBezTo>
                  <a:cubicBezTo>
                    <a:pt x="5100" y="5620"/>
                    <a:pt x="5122" y="5606"/>
                    <a:pt x="5122" y="5518"/>
                  </a:cubicBezTo>
                  <a:cubicBezTo>
                    <a:pt x="5122" y="5467"/>
                    <a:pt x="5100" y="5444"/>
                    <a:pt x="5086" y="5430"/>
                  </a:cubicBezTo>
                  <a:lnTo>
                    <a:pt x="5079" y="5422"/>
                  </a:lnTo>
                  <a:lnTo>
                    <a:pt x="5079" y="5422"/>
                  </a:lnTo>
                  <a:cubicBezTo>
                    <a:pt x="5079" y="5422"/>
                    <a:pt x="5079" y="5415"/>
                    <a:pt x="5086" y="5408"/>
                  </a:cubicBezTo>
                  <a:cubicBezTo>
                    <a:pt x="5093" y="5379"/>
                    <a:pt x="5108" y="5364"/>
                    <a:pt x="5122" y="5349"/>
                  </a:cubicBezTo>
                  <a:cubicBezTo>
                    <a:pt x="5144" y="5327"/>
                    <a:pt x="5166" y="5305"/>
                    <a:pt x="5166" y="5261"/>
                  </a:cubicBezTo>
                  <a:cubicBezTo>
                    <a:pt x="5166" y="5247"/>
                    <a:pt x="5166" y="5217"/>
                    <a:pt x="5174" y="5188"/>
                  </a:cubicBezTo>
                  <a:cubicBezTo>
                    <a:pt x="5188" y="5115"/>
                    <a:pt x="5196" y="5071"/>
                    <a:pt x="5174" y="5041"/>
                  </a:cubicBezTo>
                  <a:cubicBezTo>
                    <a:pt x="5166" y="5034"/>
                    <a:pt x="5152" y="5027"/>
                    <a:pt x="5137" y="5027"/>
                  </a:cubicBezTo>
                  <a:lnTo>
                    <a:pt x="5130" y="5027"/>
                  </a:lnTo>
                  <a:cubicBezTo>
                    <a:pt x="5122" y="5027"/>
                    <a:pt x="5122" y="5027"/>
                    <a:pt x="5115" y="5027"/>
                  </a:cubicBezTo>
                  <a:cubicBezTo>
                    <a:pt x="5093" y="5027"/>
                    <a:pt x="5079" y="5019"/>
                    <a:pt x="5071" y="5005"/>
                  </a:cubicBezTo>
                  <a:cubicBezTo>
                    <a:pt x="5071" y="5005"/>
                    <a:pt x="5071" y="4998"/>
                    <a:pt x="5079" y="4983"/>
                  </a:cubicBezTo>
                  <a:cubicBezTo>
                    <a:pt x="5130" y="4924"/>
                    <a:pt x="5086" y="4880"/>
                    <a:pt x="5056" y="4843"/>
                  </a:cubicBezTo>
                  <a:cubicBezTo>
                    <a:pt x="5049" y="4836"/>
                    <a:pt x="5034" y="4822"/>
                    <a:pt x="5020" y="4800"/>
                  </a:cubicBezTo>
                  <a:cubicBezTo>
                    <a:pt x="4998" y="4763"/>
                    <a:pt x="5005" y="4653"/>
                    <a:pt x="5012" y="4580"/>
                  </a:cubicBezTo>
                  <a:cubicBezTo>
                    <a:pt x="5034" y="4580"/>
                    <a:pt x="5034" y="4580"/>
                    <a:pt x="5034" y="4580"/>
                  </a:cubicBezTo>
                  <a:cubicBezTo>
                    <a:pt x="5012" y="4543"/>
                    <a:pt x="5012" y="4543"/>
                    <a:pt x="5012" y="4543"/>
                  </a:cubicBezTo>
                  <a:cubicBezTo>
                    <a:pt x="5005" y="4521"/>
                    <a:pt x="4998" y="4507"/>
                    <a:pt x="4991" y="4492"/>
                  </a:cubicBezTo>
                  <a:cubicBezTo>
                    <a:pt x="4983" y="4441"/>
                    <a:pt x="4954" y="4375"/>
                    <a:pt x="4910" y="4338"/>
                  </a:cubicBezTo>
                  <a:cubicBezTo>
                    <a:pt x="4873" y="4309"/>
                    <a:pt x="4866" y="4279"/>
                    <a:pt x="4873" y="4235"/>
                  </a:cubicBezTo>
                  <a:cubicBezTo>
                    <a:pt x="4881" y="4206"/>
                    <a:pt x="4888" y="4191"/>
                    <a:pt x="4961" y="4177"/>
                  </a:cubicBezTo>
                  <a:cubicBezTo>
                    <a:pt x="5020" y="4162"/>
                    <a:pt x="5034" y="4133"/>
                    <a:pt x="5049" y="4103"/>
                  </a:cubicBezTo>
                  <a:cubicBezTo>
                    <a:pt x="5056" y="4081"/>
                    <a:pt x="5071" y="4060"/>
                    <a:pt x="5086" y="4038"/>
                  </a:cubicBezTo>
                  <a:cubicBezTo>
                    <a:pt x="5130" y="3993"/>
                    <a:pt x="5144" y="3979"/>
                    <a:pt x="5137" y="3950"/>
                  </a:cubicBezTo>
                  <a:cubicBezTo>
                    <a:pt x="5130" y="3928"/>
                    <a:pt x="5108" y="3928"/>
                    <a:pt x="5086" y="3920"/>
                  </a:cubicBezTo>
                  <a:cubicBezTo>
                    <a:pt x="5079" y="3920"/>
                    <a:pt x="5079" y="3920"/>
                    <a:pt x="5071" y="3920"/>
                  </a:cubicBezTo>
                  <a:cubicBezTo>
                    <a:pt x="5049" y="3920"/>
                    <a:pt x="5034" y="3906"/>
                    <a:pt x="5020" y="3898"/>
                  </a:cubicBezTo>
                  <a:cubicBezTo>
                    <a:pt x="5005" y="3891"/>
                    <a:pt x="4991" y="3876"/>
                    <a:pt x="4961" y="3869"/>
                  </a:cubicBezTo>
                  <a:cubicBezTo>
                    <a:pt x="4946" y="3869"/>
                    <a:pt x="4939" y="3818"/>
                    <a:pt x="4939" y="3796"/>
                  </a:cubicBezTo>
                  <a:cubicBezTo>
                    <a:pt x="4939" y="3788"/>
                    <a:pt x="4939" y="3774"/>
                    <a:pt x="4932" y="3767"/>
                  </a:cubicBezTo>
                  <a:cubicBezTo>
                    <a:pt x="4932" y="3752"/>
                    <a:pt x="4932" y="3737"/>
                    <a:pt x="4932" y="3715"/>
                  </a:cubicBezTo>
                  <a:cubicBezTo>
                    <a:pt x="4932" y="3679"/>
                    <a:pt x="4932" y="3642"/>
                    <a:pt x="4910" y="3612"/>
                  </a:cubicBezTo>
                  <a:cubicBezTo>
                    <a:pt x="4895" y="3591"/>
                    <a:pt x="4881" y="3583"/>
                    <a:pt x="4873" y="3576"/>
                  </a:cubicBezTo>
                  <a:cubicBezTo>
                    <a:pt x="4866" y="3576"/>
                    <a:pt x="4859" y="3576"/>
                    <a:pt x="4859" y="3561"/>
                  </a:cubicBezTo>
                  <a:cubicBezTo>
                    <a:pt x="4837" y="3510"/>
                    <a:pt x="4851" y="3393"/>
                    <a:pt x="4859" y="3356"/>
                  </a:cubicBezTo>
                  <a:cubicBezTo>
                    <a:pt x="4866" y="3298"/>
                    <a:pt x="4829" y="3261"/>
                    <a:pt x="4793" y="3224"/>
                  </a:cubicBezTo>
                  <a:cubicBezTo>
                    <a:pt x="4778" y="3210"/>
                    <a:pt x="4771" y="3202"/>
                    <a:pt x="4756" y="3188"/>
                  </a:cubicBezTo>
                  <a:cubicBezTo>
                    <a:pt x="4734" y="3143"/>
                    <a:pt x="4705" y="3122"/>
                    <a:pt x="4675" y="3092"/>
                  </a:cubicBezTo>
                  <a:cubicBezTo>
                    <a:pt x="4668" y="3085"/>
                    <a:pt x="4653" y="3070"/>
                    <a:pt x="4646" y="3063"/>
                  </a:cubicBezTo>
                  <a:cubicBezTo>
                    <a:pt x="4624" y="3041"/>
                    <a:pt x="4588" y="3026"/>
                    <a:pt x="4551" y="3026"/>
                  </a:cubicBezTo>
                  <a:cubicBezTo>
                    <a:pt x="4522" y="3026"/>
                    <a:pt x="4492" y="3034"/>
                    <a:pt x="4470" y="3034"/>
                  </a:cubicBezTo>
                  <a:cubicBezTo>
                    <a:pt x="4463" y="3034"/>
                    <a:pt x="4463" y="3034"/>
                    <a:pt x="4463" y="3034"/>
                  </a:cubicBezTo>
                  <a:cubicBezTo>
                    <a:pt x="4426" y="3041"/>
                    <a:pt x="4368" y="3070"/>
                    <a:pt x="4302" y="3092"/>
                  </a:cubicBezTo>
                  <a:cubicBezTo>
                    <a:pt x="4265" y="3107"/>
                    <a:pt x="4265" y="3107"/>
                    <a:pt x="4265" y="3107"/>
                  </a:cubicBezTo>
                  <a:cubicBezTo>
                    <a:pt x="4236" y="3114"/>
                    <a:pt x="4236" y="3114"/>
                    <a:pt x="4236" y="3114"/>
                  </a:cubicBezTo>
                  <a:cubicBezTo>
                    <a:pt x="4184" y="3136"/>
                    <a:pt x="4148" y="3151"/>
                    <a:pt x="4111" y="3180"/>
                  </a:cubicBezTo>
                  <a:cubicBezTo>
                    <a:pt x="4097" y="3195"/>
                    <a:pt x="4082" y="3195"/>
                    <a:pt x="4060" y="3202"/>
                  </a:cubicBezTo>
                  <a:cubicBezTo>
                    <a:pt x="4038" y="3210"/>
                    <a:pt x="4009" y="3217"/>
                    <a:pt x="3979" y="3239"/>
                  </a:cubicBezTo>
                  <a:cubicBezTo>
                    <a:pt x="3965" y="3246"/>
                    <a:pt x="3935" y="3246"/>
                    <a:pt x="3899" y="3246"/>
                  </a:cubicBezTo>
                  <a:cubicBezTo>
                    <a:pt x="3869" y="3246"/>
                    <a:pt x="3855" y="3246"/>
                    <a:pt x="3855" y="3246"/>
                  </a:cubicBezTo>
                  <a:cubicBezTo>
                    <a:pt x="3825" y="3231"/>
                    <a:pt x="3811" y="3180"/>
                    <a:pt x="3796" y="3122"/>
                  </a:cubicBezTo>
                  <a:cubicBezTo>
                    <a:pt x="3774" y="3048"/>
                    <a:pt x="3738" y="3034"/>
                    <a:pt x="3701" y="3019"/>
                  </a:cubicBezTo>
                  <a:cubicBezTo>
                    <a:pt x="3686" y="3012"/>
                    <a:pt x="3679" y="3012"/>
                    <a:pt x="3672" y="3004"/>
                  </a:cubicBezTo>
                  <a:cubicBezTo>
                    <a:pt x="3664" y="3004"/>
                    <a:pt x="3664" y="2997"/>
                    <a:pt x="3664" y="2997"/>
                  </a:cubicBezTo>
                  <a:cubicBezTo>
                    <a:pt x="3657" y="2982"/>
                    <a:pt x="3679" y="2953"/>
                    <a:pt x="3701" y="2924"/>
                  </a:cubicBezTo>
                  <a:cubicBezTo>
                    <a:pt x="3708" y="2916"/>
                    <a:pt x="3715" y="2916"/>
                    <a:pt x="3730" y="2916"/>
                  </a:cubicBezTo>
                  <a:cubicBezTo>
                    <a:pt x="3738" y="2916"/>
                    <a:pt x="3767" y="2909"/>
                    <a:pt x="3774" y="2880"/>
                  </a:cubicBezTo>
                  <a:cubicBezTo>
                    <a:pt x="3781" y="2872"/>
                    <a:pt x="3781" y="2865"/>
                    <a:pt x="3789" y="2850"/>
                  </a:cubicBezTo>
                  <a:cubicBezTo>
                    <a:pt x="3789" y="2829"/>
                    <a:pt x="3796" y="2807"/>
                    <a:pt x="3803" y="2792"/>
                  </a:cubicBezTo>
                  <a:cubicBezTo>
                    <a:pt x="3818" y="2792"/>
                    <a:pt x="3833" y="2799"/>
                    <a:pt x="3847" y="2807"/>
                  </a:cubicBezTo>
                  <a:cubicBezTo>
                    <a:pt x="3862" y="2814"/>
                    <a:pt x="3877" y="2821"/>
                    <a:pt x="3891" y="2821"/>
                  </a:cubicBezTo>
                  <a:cubicBezTo>
                    <a:pt x="3913" y="2829"/>
                    <a:pt x="3928" y="2836"/>
                    <a:pt x="3935" y="2836"/>
                  </a:cubicBezTo>
                  <a:cubicBezTo>
                    <a:pt x="3979" y="2836"/>
                    <a:pt x="3987" y="2799"/>
                    <a:pt x="3987" y="2770"/>
                  </a:cubicBezTo>
                  <a:cubicBezTo>
                    <a:pt x="3994" y="2770"/>
                    <a:pt x="3994" y="2770"/>
                    <a:pt x="3994" y="2770"/>
                  </a:cubicBezTo>
                  <a:cubicBezTo>
                    <a:pt x="4001" y="2711"/>
                    <a:pt x="3979" y="2660"/>
                    <a:pt x="3935" y="2645"/>
                  </a:cubicBezTo>
                  <a:cubicBezTo>
                    <a:pt x="3928" y="2645"/>
                    <a:pt x="3928" y="2645"/>
                    <a:pt x="3928" y="2645"/>
                  </a:cubicBezTo>
                  <a:cubicBezTo>
                    <a:pt x="3906" y="2638"/>
                    <a:pt x="3884" y="2631"/>
                    <a:pt x="3855" y="2609"/>
                  </a:cubicBezTo>
                  <a:cubicBezTo>
                    <a:pt x="3862" y="2594"/>
                    <a:pt x="3891" y="2579"/>
                    <a:pt x="3899" y="2565"/>
                  </a:cubicBezTo>
                  <a:cubicBezTo>
                    <a:pt x="3913" y="2557"/>
                    <a:pt x="3928" y="2543"/>
                    <a:pt x="3943" y="2535"/>
                  </a:cubicBezTo>
                  <a:cubicBezTo>
                    <a:pt x="3950" y="2521"/>
                    <a:pt x="3965" y="2513"/>
                    <a:pt x="3979" y="2499"/>
                  </a:cubicBezTo>
                  <a:cubicBezTo>
                    <a:pt x="4001" y="2484"/>
                    <a:pt x="4031" y="2469"/>
                    <a:pt x="4053" y="2440"/>
                  </a:cubicBezTo>
                  <a:cubicBezTo>
                    <a:pt x="4060" y="2433"/>
                    <a:pt x="4060" y="2433"/>
                    <a:pt x="4060" y="2433"/>
                  </a:cubicBezTo>
                  <a:cubicBezTo>
                    <a:pt x="4060" y="2433"/>
                    <a:pt x="4074" y="2448"/>
                    <a:pt x="4089" y="2455"/>
                  </a:cubicBezTo>
                  <a:cubicBezTo>
                    <a:pt x="4104" y="2462"/>
                    <a:pt x="4119" y="2469"/>
                    <a:pt x="4133" y="2484"/>
                  </a:cubicBezTo>
                  <a:cubicBezTo>
                    <a:pt x="4148" y="2491"/>
                    <a:pt x="4162" y="2491"/>
                    <a:pt x="4177" y="2491"/>
                  </a:cubicBezTo>
                  <a:cubicBezTo>
                    <a:pt x="4199" y="2491"/>
                    <a:pt x="4221" y="2484"/>
                    <a:pt x="4236" y="2469"/>
                  </a:cubicBezTo>
                  <a:cubicBezTo>
                    <a:pt x="4258" y="2440"/>
                    <a:pt x="4258" y="2396"/>
                    <a:pt x="4250" y="2374"/>
                  </a:cubicBezTo>
                  <a:cubicBezTo>
                    <a:pt x="4243" y="2330"/>
                    <a:pt x="4214" y="2323"/>
                    <a:pt x="4199" y="2323"/>
                  </a:cubicBezTo>
                  <a:cubicBezTo>
                    <a:pt x="4199" y="2316"/>
                    <a:pt x="4206" y="2316"/>
                    <a:pt x="4221" y="2316"/>
                  </a:cubicBezTo>
                  <a:cubicBezTo>
                    <a:pt x="4229" y="2316"/>
                    <a:pt x="4243" y="2316"/>
                    <a:pt x="4258" y="2330"/>
                  </a:cubicBezTo>
                  <a:cubicBezTo>
                    <a:pt x="4272" y="2338"/>
                    <a:pt x="4294" y="2345"/>
                    <a:pt x="4309" y="2345"/>
                  </a:cubicBezTo>
                  <a:cubicBezTo>
                    <a:pt x="4368" y="2345"/>
                    <a:pt x="4375" y="2272"/>
                    <a:pt x="4382" y="2250"/>
                  </a:cubicBezTo>
                  <a:cubicBezTo>
                    <a:pt x="4390" y="2191"/>
                    <a:pt x="4375" y="2132"/>
                    <a:pt x="4338" y="2088"/>
                  </a:cubicBezTo>
                  <a:cubicBezTo>
                    <a:pt x="4331" y="2074"/>
                    <a:pt x="4324" y="2066"/>
                    <a:pt x="4309" y="2059"/>
                  </a:cubicBezTo>
                  <a:cubicBezTo>
                    <a:pt x="4302" y="2044"/>
                    <a:pt x="4294" y="2037"/>
                    <a:pt x="4287" y="2015"/>
                  </a:cubicBezTo>
                  <a:cubicBezTo>
                    <a:pt x="4280" y="2008"/>
                    <a:pt x="4280" y="1993"/>
                    <a:pt x="4280" y="1986"/>
                  </a:cubicBezTo>
                  <a:cubicBezTo>
                    <a:pt x="4272" y="1964"/>
                    <a:pt x="4265" y="1934"/>
                    <a:pt x="4236" y="1905"/>
                  </a:cubicBezTo>
                  <a:cubicBezTo>
                    <a:pt x="4229" y="1898"/>
                    <a:pt x="4229" y="1898"/>
                    <a:pt x="4229" y="1898"/>
                  </a:cubicBezTo>
                  <a:cubicBezTo>
                    <a:pt x="4192" y="1861"/>
                    <a:pt x="4155" y="1825"/>
                    <a:pt x="4074" y="1810"/>
                  </a:cubicBezTo>
                  <a:lnTo>
                    <a:pt x="4067" y="1810"/>
                  </a:lnTo>
                  <a:lnTo>
                    <a:pt x="4074" y="1810"/>
                  </a:lnTo>
                  <a:cubicBezTo>
                    <a:pt x="4082" y="1795"/>
                    <a:pt x="4082" y="1795"/>
                    <a:pt x="4082" y="1795"/>
                  </a:cubicBezTo>
                  <a:cubicBezTo>
                    <a:pt x="4126" y="1759"/>
                    <a:pt x="4126" y="1729"/>
                    <a:pt x="4133" y="1693"/>
                  </a:cubicBezTo>
                  <a:cubicBezTo>
                    <a:pt x="4133" y="1685"/>
                    <a:pt x="4133" y="1678"/>
                    <a:pt x="4133" y="1671"/>
                  </a:cubicBezTo>
                  <a:cubicBezTo>
                    <a:pt x="4141" y="1627"/>
                    <a:pt x="4126" y="1598"/>
                    <a:pt x="4119" y="1568"/>
                  </a:cubicBezTo>
                  <a:cubicBezTo>
                    <a:pt x="4111" y="1546"/>
                    <a:pt x="4104" y="1531"/>
                    <a:pt x="4104" y="1517"/>
                  </a:cubicBezTo>
                  <a:cubicBezTo>
                    <a:pt x="4097" y="1495"/>
                    <a:pt x="4111" y="1473"/>
                    <a:pt x="4141" y="1451"/>
                  </a:cubicBezTo>
                  <a:cubicBezTo>
                    <a:pt x="4148" y="1436"/>
                    <a:pt x="4155" y="1429"/>
                    <a:pt x="4162" y="1422"/>
                  </a:cubicBezTo>
                  <a:cubicBezTo>
                    <a:pt x="4184" y="1385"/>
                    <a:pt x="4199" y="1370"/>
                    <a:pt x="4221" y="1370"/>
                  </a:cubicBezTo>
                  <a:cubicBezTo>
                    <a:pt x="4221" y="1370"/>
                    <a:pt x="4221" y="1370"/>
                    <a:pt x="4229" y="1370"/>
                  </a:cubicBezTo>
                  <a:cubicBezTo>
                    <a:pt x="4236" y="1370"/>
                    <a:pt x="4243" y="1378"/>
                    <a:pt x="4258" y="1392"/>
                  </a:cubicBezTo>
                  <a:cubicBezTo>
                    <a:pt x="4272" y="1414"/>
                    <a:pt x="4287" y="1429"/>
                    <a:pt x="4324" y="1436"/>
                  </a:cubicBezTo>
                  <a:lnTo>
                    <a:pt x="4331" y="1436"/>
                  </a:lnTo>
                  <a:cubicBezTo>
                    <a:pt x="4382" y="1436"/>
                    <a:pt x="4412" y="1385"/>
                    <a:pt x="4441" y="1319"/>
                  </a:cubicBezTo>
                  <a:cubicBezTo>
                    <a:pt x="4448" y="1304"/>
                    <a:pt x="4455" y="1290"/>
                    <a:pt x="4463" y="1282"/>
                  </a:cubicBezTo>
                  <a:cubicBezTo>
                    <a:pt x="4507" y="1202"/>
                    <a:pt x="4463" y="1084"/>
                    <a:pt x="4426" y="1026"/>
                  </a:cubicBezTo>
                  <a:cubicBezTo>
                    <a:pt x="4412" y="997"/>
                    <a:pt x="4404" y="960"/>
                    <a:pt x="4404" y="923"/>
                  </a:cubicBezTo>
                  <a:cubicBezTo>
                    <a:pt x="4404" y="916"/>
                    <a:pt x="4404" y="916"/>
                    <a:pt x="4404" y="916"/>
                  </a:cubicBezTo>
                  <a:lnTo>
                    <a:pt x="4404" y="916"/>
                  </a:lnTo>
                  <a:cubicBezTo>
                    <a:pt x="4404" y="909"/>
                    <a:pt x="4404" y="909"/>
                    <a:pt x="4404" y="909"/>
                  </a:cubicBezTo>
                  <a:cubicBezTo>
                    <a:pt x="4404" y="901"/>
                    <a:pt x="4404" y="901"/>
                    <a:pt x="4404" y="894"/>
                  </a:cubicBezTo>
                  <a:cubicBezTo>
                    <a:pt x="4404" y="887"/>
                    <a:pt x="4404" y="879"/>
                    <a:pt x="4404" y="872"/>
                  </a:cubicBezTo>
                  <a:cubicBezTo>
                    <a:pt x="4404" y="872"/>
                    <a:pt x="4404" y="872"/>
                    <a:pt x="4404" y="865"/>
                  </a:cubicBezTo>
                  <a:cubicBezTo>
                    <a:pt x="4412" y="806"/>
                    <a:pt x="4412" y="806"/>
                    <a:pt x="4412" y="806"/>
                  </a:cubicBezTo>
                  <a:cubicBezTo>
                    <a:pt x="4397" y="828"/>
                    <a:pt x="4397" y="828"/>
                    <a:pt x="4397" y="828"/>
                  </a:cubicBezTo>
                  <a:cubicBezTo>
                    <a:pt x="4382" y="821"/>
                    <a:pt x="4368" y="813"/>
                    <a:pt x="4353" y="813"/>
                  </a:cubicBezTo>
                  <a:cubicBezTo>
                    <a:pt x="4346" y="813"/>
                    <a:pt x="4331" y="821"/>
                    <a:pt x="4316" y="821"/>
                  </a:cubicBezTo>
                  <a:cubicBezTo>
                    <a:pt x="4309" y="821"/>
                    <a:pt x="4302" y="828"/>
                    <a:pt x="4294" y="828"/>
                  </a:cubicBezTo>
                  <a:cubicBezTo>
                    <a:pt x="4287" y="828"/>
                    <a:pt x="4280" y="828"/>
                    <a:pt x="4272" y="828"/>
                  </a:cubicBezTo>
                  <a:cubicBezTo>
                    <a:pt x="4265" y="828"/>
                    <a:pt x="4265" y="828"/>
                    <a:pt x="4265" y="828"/>
                  </a:cubicBezTo>
                  <a:lnTo>
                    <a:pt x="4265" y="821"/>
                  </a:lnTo>
                  <a:cubicBezTo>
                    <a:pt x="4272" y="777"/>
                    <a:pt x="4236" y="748"/>
                    <a:pt x="4214" y="725"/>
                  </a:cubicBezTo>
                  <a:cubicBezTo>
                    <a:pt x="4206" y="718"/>
                    <a:pt x="4199" y="711"/>
                    <a:pt x="4192" y="703"/>
                  </a:cubicBezTo>
                  <a:cubicBezTo>
                    <a:pt x="4170" y="681"/>
                    <a:pt x="4148" y="660"/>
                    <a:pt x="4126" y="645"/>
                  </a:cubicBezTo>
                  <a:cubicBezTo>
                    <a:pt x="4111" y="630"/>
                    <a:pt x="4104" y="623"/>
                    <a:pt x="4089" y="616"/>
                  </a:cubicBezTo>
                  <a:cubicBezTo>
                    <a:pt x="4082" y="601"/>
                    <a:pt x="4074" y="550"/>
                    <a:pt x="4082" y="528"/>
                  </a:cubicBezTo>
                  <a:cubicBezTo>
                    <a:pt x="4082" y="520"/>
                    <a:pt x="4089" y="513"/>
                    <a:pt x="4089" y="513"/>
                  </a:cubicBezTo>
                  <a:cubicBezTo>
                    <a:pt x="4104" y="476"/>
                    <a:pt x="4119" y="432"/>
                    <a:pt x="4111" y="396"/>
                  </a:cubicBezTo>
                  <a:cubicBezTo>
                    <a:pt x="4097" y="344"/>
                    <a:pt x="4023" y="337"/>
                    <a:pt x="4016" y="330"/>
                  </a:cubicBezTo>
                  <a:cubicBezTo>
                    <a:pt x="4009" y="330"/>
                    <a:pt x="4009" y="330"/>
                    <a:pt x="4009" y="330"/>
                  </a:cubicBezTo>
                  <a:lnTo>
                    <a:pt x="4009" y="330"/>
                  </a:lnTo>
                  <a:cubicBezTo>
                    <a:pt x="4009" y="330"/>
                    <a:pt x="4001" y="337"/>
                    <a:pt x="3994" y="337"/>
                  </a:cubicBezTo>
                  <a:cubicBezTo>
                    <a:pt x="3979" y="337"/>
                    <a:pt x="3965" y="330"/>
                    <a:pt x="3965" y="322"/>
                  </a:cubicBezTo>
                  <a:cubicBezTo>
                    <a:pt x="3943" y="286"/>
                    <a:pt x="3913" y="257"/>
                    <a:pt x="3869" y="234"/>
                  </a:cubicBezTo>
                  <a:cubicBezTo>
                    <a:pt x="3862" y="227"/>
                    <a:pt x="3862" y="227"/>
                    <a:pt x="3862" y="227"/>
                  </a:cubicBezTo>
                  <a:cubicBezTo>
                    <a:pt x="3855" y="227"/>
                    <a:pt x="3818" y="205"/>
                    <a:pt x="3818" y="198"/>
                  </a:cubicBezTo>
                  <a:cubicBezTo>
                    <a:pt x="3818" y="198"/>
                    <a:pt x="3818" y="198"/>
                    <a:pt x="3818" y="191"/>
                  </a:cubicBezTo>
                  <a:cubicBezTo>
                    <a:pt x="3847" y="139"/>
                    <a:pt x="3847" y="73"/>
                    <a:pt x="3818" y="29"/>
                  </a:cubicBezTo>
                  <a:cubicBezTo>
                    <a:pt x="3803" y="7"/>
                    <a:pt x="3781" y="0"/>
                    <a:pt x="3752" y="0"/>
                  </a:cubicBezTo>
                  <a:lnTo>
                    <a:pt x="3752" y="29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" name="Freeform 18"/>
            <p:cNvSpPr>
              <a:spLocks noChangeArrowheads="1"/>
            </p:cNvSpPr>
            <p:nvPr/>
          </p:nvSpPr>
          <p:spPr bwMode="auto">
            <a:xfrm>
              <a:off x="4884135" y="6902513"/>
              <a:ext cx="2000825" cy="2841645"/>
            </a:xfrm>
            <a:custGeom>
              <a:avLst/>
              <a:gdLst>
                <a:gd name="T0" fmla="*/ 2323 w 5203"/>
                <a:gd name="T1" fmla="*/ 7224 h 7481"/>
                <a:gd name="T2" fmla="*/ 1868 w 5203"/>
                <a:gd name="T3" fmla="*/ 6755 h 7481"/>
                <a:gd name="T4" fmla="*/ 1539 w 5203"/>
                <a:gd name="T5" fmla="*/ 6960 h 7481"/>
                <a:gd name="T6" fmla="*/ 1341 w 5203"/>
                <a:gd name="T7" fmla="*/ 6440 h 7481"/>
                <a:gd name="T8" fmla="*/ 1282 w 5203"/>
                <a:gd name="T9" fmla="*/ 6110 h 7481"/>
                <a:gd name="T10" fmla="*/ 1150 w 5203"/>
                <a:gd name="T11" fmla="*/ 5568 h 7481"/>
                <a:gd name="T12" fmla="*/ 711 w 5203"/>
                <a:gd name="T13" fmla="*/ 5443 h 7481"/>
                <a:gd name="T14" fmla="*/ 286 w 5203"/>
                <a:gd name="T15" fmla="*/ 5597 h 7481"/>
                <a:gd name="T16" fmla="*/ 110 w 5203"/>
                <a:gd name="T17" fmla="*/ 5179 h 7481"/>
                <a:gd name="T18" fmla="*/ 322 w 5203"/>
                <a:gd name="T19" fmla="*/ 5091 h 7481"/>
                <a:gd name="T20" fmla="*/ 293 w 5203"/>
                <a:gd name="T21" fmla="*/ 4813 h 7481"/>
                <a:gd name="T22" fmla="*/ 586 w 5203"/>
                <a:gd name="T23" fmla="*/ 4747 h 7481"/>
                <a:gd name="T24" fmla="*/ 696 w 5203"/>
                <a:gd name="T25" fmla="*/ 4608 h 7481"/>
                <a:gd name="T26" fmla="*/ 579 w 5203"/>
                <a:gd name="T27" fmla="*/ 4234 h 7481"/>
                <a:gd name="T28" fmla="*/ 461 w 5203"/>
                <a:gd name="T29" fmla="*/ 3890 h 7481"/>
                <a:gd name="T30" fmla="*/ 718 w 5203"/>
                <a:gd name="T31" fmla="*/ 3699 h 7481"/>
                <a:gd name="T32" fmla="*/ 747 w 5203"/>
                <a:gd name="T33" fmla="*/ 3216 h 7481"/>
                <a:gd name="T34" fmla="*/ 850 w 5203"/>
                <a:gd name="T35" fmla="*/ 2776 h 7481"/>
                <a:gd name="T36" fmla="*/ 1216 w 5203"/>
                <a:gd name="T37" fmla="*/ 2615 h 7481"/>
                <a:gd name="T38" fmla="*/ 1473 w 5203"/>
                <a:gd name="T39" fmla="*/ 2402 h 7481"/>
                <a:gd name="T40" fmla="*/ 1634 w 5203"/>
                <a:gd name="T41" fmla="*/ 2095 h 7481"/>
                <a:gd name="T42" fmla="*/ 1912 w 5203"/>
                <a:gd name="T43" fmla="*/ 1845 h 7481"/>
                <a:gd name="T44" fmla="*/ 2096 w 5203"/>
                <a:gd name="T45" fmla="*/ 1568 h 7481"/>
                <a:gd name="T46" fmla="*/ 1802 w 5203"/>
                <a:gd name="T47" fmla="*/ 1377 h 7481"/>
                <a:gd name="T48" fmla="*/ 1876 w 5203"/>
                <a:gd name="T49" fmla="*/ 989 h 7481"/>
                <a:gd name="T50" fmla="*/ 2271 w 5203"/>
                <a:gd name="T51" fmla="*/ 879 h 7481"/>
                <a:gd name="T52" fmla="*/ 2403 w 5203"/>
                <a:gd name="T53" fmla="*/ 674 h 7481"/>
                <a:gd name="T54" fmla="*/ 2777 w 5203"/>
                <a:gd name="T55" fmla="*/ 506 h 7481"/>
                <a:gd name="T56" fmla="*/ 3041 w 5203"/>
                <a:gd name="T57" fmla="*/ 608 h 7481"/>
                <a:gd name="T58" fmla="*/ 3459 w 5203"/>
                <a:gd name="T59" fmla="*/ 73 h 7481"/>
                <a:gd name="T60" fmla="*/ 3722 w 5203"/>
                <a:gd name="T61" fmla="*/ 88 h 7481"/>
                <a:gd name="T62" fmla="*/ 3979 w 5203"/>
                <a:gd name="T63" fmla="*/ 286 h 7481"/>
                <a:gd name="T64" fmla="*/ 3905 w 5203"/>
                <a:gd name="T65" fmla="*/ 366 h 7481"/>
                <a:gd name="T66" fmla="*/ 3949 w 5203"/>
                <a:gd name="T67" fmla="*/ 806 h 7481"/>
                <a:gd name="T68" fmla="*/ 4125 w 5203"/>
                <a:gd name="T69" fmla="*/ 1187 h 7481"/>
                <a:gd name="T70" fmla="*/ 4147 w 5203"/>
                <a:gd name="T71" fmla="*/ 930 h 7481"/>
                <a:gd name="T72" fmla="*/ 4514 w 5203"/>
                <a:gd name="T73" fmla="*/ 791 h 7481"/>
                <a:gd name="T74" fmla="*/ 4616 w 5203"/>
                <a:gd name="T75" fmla="*/ 1106 h 7481"/>
                <a:gd name="T76" fmla="*/ 5202 w 5203"/>
                <a:gd name="T77" fmla="*/ 1560 h 7481"/>
                <a:gd name="T78" fmla="*/ 4997 w 5203"/>
                <a:gd name="T79" fmla="*/ 1684 h 7481"/>
                <a:gd name="T80" fmla="*/ 5063 w 5203"/>
                <a:gd name="T81" fmla="*/ 1875 h 7481"/>
                <a:gd name="T82" fmla="*/ 5137 w 5203"/>
                <a:gd name="T83" fmla="*/ 2146 h 7481"/>
                <a:gd name="T84" fmla="*/ 4799 w 5203"/>
                <a:gd name="T85" fmla="*/ 2124 h 7481"/>
                <a:gd name="T86" fmla="*/ 4653 w 5203"/>
                <a:gd name="T87" fmla="*/ 2358 h 7481"/>
                <a:gd name="T88" fmla="*/ 4887 w 5203"/>
                <a:gd name="T89" fmla="*/ 2564 h 7481"/>
                <a:gd name="T90" fmla="*/ 4638 w 5203"/>
                <a:gd name="T91" fmla="*/ 2857 h 7481"/>
                <a:gd name="T92" fmla="*/ 4506 w 5203"/>
                <a:gd name="T93" fmla="*/ 3238 h 7481"/>
                <a:gd name="T94" fmla="*/ 4638 w 5203"/>
                <a:gd name="T95" fmla="*/ 3274 h 7481"/>
                <a:gd name="T96" fmla="*/ 4902 w 5203"/>
                <a:gd name="T97" fmla="*/ 3421 h 7481"/>
                <a:gd name="T98" fmla="*/ 4917 w 5203"/>
                <a:gd name="T99" fmla="*/ 3699 h 7481"/>
                <a:gd name="T100" fmla="*/ 4418 w 5203"/>
                <a:gd name="T101" fmla="*/ 4154 h 7481"/>
                <a:gd name="T102" fmla="*/ 4162 w 5203"/>
                <a:gd name="T103" fmla="*/ 4520 h 7481"/>
                <a:gd name="T104" fmla="*/ 4045 w 5203"/>
                <a:gd name="T105" fmla="*/ 4710 h 7481"/>
                <a:gd name="T106" fmla="*/ 3752 w 5203"/>
                <a:gd name="T107" fmla="*/ 5011 h 7481"/>
                <a:gd name="T108" fmla="*/ 3077 w 5203"/>
                <a:gd name="T109" fmla="*/ 5033 h 7481"/>
                <a:gd name="T110" fmla="*/ 2748 w 5203"/>
                <a:gd name="T111" fmla="*/ 5099 h 7481"/>
                <a:gd name="T112" fmla="*/ 2828 w 5203"/>
                <a:gd name="T113" fmla="*/ 6095 h 7481"/>
                <a:gd name="T114" fmla="*/ 2850 w 5203"/>
                <a:gd name="T115" fmla="*/ 6718 h 7481"/>
                <a:gd name="T116" fmla="*/ 2865 w 5203"/>
                <a:gd name="T117" fmla="*/ 6916 h 7481"/>
                <a:gd name="T118" fmla="*/ 2726 w 5203"/>
                <a:gd name="T119" fmla="*/ 7129 h 7481"/>
                <a:gd name="T120" fmla="*/ 2411 w 5203"/>
                <a:gd name="T121" fmla="*/ 7400 h 7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203" h="7481">
                  <a:moveTo>
                    <a:pt x="2286" y="7480"/>
                  </a:moveTo>
                  <a:lnTo>
                    <a:pt x="2286" y="7480"/>
                  </a:lnTo>
                  <a:cubicBezTo>
                    <a:pt x="2271" y="7480"/>
                    <a:pt x="2264" y="7473"/>
                    <a:pt x="2257" y="7466"/>
                  </a:cubicBezTo>
                  <a:cubicBezTo>
                    <a:pt x="2242" y="7458"/>
                    <a:pt x="2242" y="7429"/>
                    <a:pt x="2242" y="7400"/>
                  </a:cubicBezTo>
                  <a:cubicBezTo>
                    <a:pt x="2249" y="7341"/>
                    <a:pt x="2249" y="7341"/>
                    <a:pt x="2249" y="7341"/>
                  </a:cubicBezTo>
                  <a:cubicBezTo>
                    <a:pt x="2249" y="7246"/>
                    <a:pt x="2249" y="7231"/>
                    <a:pt x="2301" y="7224"/>
                  </a:cubicBezTo>
                  <a:cubicBezTo>
                    <a:pt x="2308" y="7224"/>
                    <a:pt x="2315" y="7224"/>
                    <a:pt x="2323" y="7224"/>
                  </a:cubicBezTo>
                  <a:cubicBezTo>
                    <a:pt x="2359" y="7217"/>
                    <a:pt x="2396" y="7180"/>
                    <a:pt x="2389" y="7158"/>
                  </a:cubicBezTo>
                  <a:cubicBezTo>
                    <a:pt x="2389" y="7143"/>
                    <a:pt x="2374" y="7143"/>
                    <a:pt x="2359" y="7143"/>
                  </a:cubicBezTo>
                  <a:cubicBezTo>
                    <a:pt x="2279" y="7143"/>
                    <a:pt x="2242" y="7129"/>
                    <a:pt x="2228" y="7077"/>
                  </a:cubicBezTo>
                  <a:cubicBezTo>
                    <a:pt x="2198" y="7092"/>
                    <a:pt x="2147" y="7107"/>
                    <a:pt x="2096" y="7107"/>
                  </a:cubicBezTo>
                  <a:cubicBezTo>
                    <a:pt x="2037" y="7107"/>
                    <a:pt x="1964" y="7085"/>
                    <a:pt x="1949" y="6982"/>
                  </a:cubicBezTo>
                  <a:cubicBezTo>
                    <a:pt x="1942" y="6945"/>
                    <a:pt x="1934" y="6916"/>
                    <a:pt x="1934" y="6894"/>
                  </a:cubicBezTo>
                  <a:cubicBezTo>
                    <a:pt x="1912" y="6769"/>
                    <a:pt x="1912" y="6755"/>
                    <a:pt x="1868" y="6755"/>
                  </a:cubicBezTo>
                  <a:cubicBezTo>
                    <a:pt x="1868" y="6755"/>
                    <a:pt x="1861" y="6755"/>
                    <a:pt x="1854" y="6755"/>
                  </a:cubicBezTo>
                  <a:cubicBezTo>
                    <a:pt x="1824" y="6762"/>
                    <a:pt x="1795" y="6769"/>
                    <a:pt x="1780" y="6791"/>
                  </a:cubicBezTo>
                  <a:cubicBezTo>
                    <a:pt x="1766" y="6821"/>
                    <a:pt x="1759" y="6865"/>
                    <a:pt x="1773" y="6916"/>
                  </a:cubicBezTo>
                  <a:cubicBezTo>
                    <a:pt x="1788" y="6975"/>
                    <a:pt x="1780" y="7033"/>
                    <a:pt x="1751" y="7063"/>
                  </a:cubicBezTo>
                  <a:cubicBezTo>
                    <a:pt x="1737" y="7085"/>
                    <a:pt x="1715" y="7092"/>
                    <a:pt x="1692" y="7092"/>
                  </a:cubicBezTo>
                  <a:cubicBezTo>
                    <a:pt x="1678" y="7092"/>
                    <a:pt x="1663" y="7092"/>
                    <a:pt x="1649" y="7085"/>
                  </a:cubicBezTo>
                  <a:cubicBezTo>
                    <a:pt x="1612" y="7063"/>
                    <a:pt x="1575" y="7011"/>
                    <a:pt x="1539" y="6960"/>
                  </a:cubicBezTo>
                  <a:cubicBezTo>
                    <a:pt x="1502" y="6909"/>
                    <a:pt x="1466" y="6857"/>
                    <a:pt x="1436" y="6857"/>
                  </a:cubicBezTo>
                  <a:cubicBezTo>
                    <a:pt x="1370" y="6879"/>
                    <a:pt x="1370" y="6879"/>
                    <a:pt x="1370" y="6879"/>
                  </a:cubicBezTo>
                  <a:cubicBezTo>
                    <a:pt x="1363" y="6872"/>
                    <a:pt x="1363" y="6872"/>
                    <a:pt x="1363" y="6872"/>
                  </a:cubicBezTo>
                  <a:cubicBezTo>
                    <a:pt x="1356" y="6857"/>
                    <a:pt x="1341" y="6828"/>
                    <a:pt x="1333" y="6806"/>
                  </a:cubicBezTo>
                  <a:cubicBezTo>
                    <a:pt x="1326" y="6762"/>
                    <a:pt x="1304" y="6711"/>
                    <a:pt x="1268" y="6674"/>
                  </a:cubicBezTo>
                  <a:cubicBezTo>
                    <a:pt x="1224" y="6645"/>
                    <a:pt x="1209" y="6601"/>
                    <a:pt x="1216" y="6535"/>
                  </a:cubicBezTo>
                  <a:cubicBezTo>
                    <a:pt x="1224" y="6476"/>
                    <a:pt x="1260" y="6455"/>
                    <a:pt x="1341" y="6440"/>
                  </a:cubicBezTo>
                  <a:cubicBezTo>
                    <a:pt x="1378" y="6432"/>
                    <a:pt x="1385" y="6418"/>
                    <a:pt x="1399" y="6388"/>
                  </a:cubicBezTo>
                  <a:cubicBezTo>
                    <a:pt x="1407" y="6367"/>
                    <a:pt x="1414" y="6345"/>
                    <a:pt x="1443" y="6315"/>
                  </a:cubicBezTo>
                  <a:cubicBezTo>
                    <a:pt x="1451" y="6300"/>
                    <a:pt x="1466" y="6286"/>
                    <a:pt x="1473" y="6279"/>
                  </a:cubicBezTo>
                  <a:lnTo>
                    <a:pt x="1451" y="6271"/>
                  </a:lnTo>
                  <a:cubicBezTo>
                    <a:pt x="1421" y="6271"/>
                    <a:pt x="1399" y="6257"/>
                    <a:pt x="1385" y="6242"/>
                  </a:cubicBezTo>
                  <a:cubicBezTo>
                    <a:pt x="1370" y="6235"/>
                    <a:pt x="1356" y="6227"/>
                    <a:pt x="1341" y="6220"/>
                  </a:cubicBezTo>
                  <a:cubicBezTo>
                    <a:pt x="1297" y="6213"/>
                    <a:pt x="1290" y="6154"/>
                    <a:pt x="1282" y="6110"/>
                  </a:cubicBezTo>
                  <a:cubicBezTo>
                    <a:pt x="1282" y="6103"/>
                    <a:pt x="1275" y="6088"/>
                    <a:pt x="1275" y="6081"/>
                  </a:cubicBezTo>
                  <a:cubicBezTo>
                    <a:pt x="1275" y="6066"/>
                    <a:pt x="1275" y="6044"/>
                    <a:pt x="1275" y="6022"/>
                  </a:cubicBezTo>
                  <a:cubicBezTo>
                    <a:pt x="1275" y="5993"/>
                    <a:pt x="1275" y="5964"/>
                    <a:pt x="1260" y="5941"/>
                  </a:cubicBezTo>
                  <a:cubicBezTo>
                    <a:pt x="1253" y="5934"/>
                    <a:pt x="1246" y="5934"/>
                    <a:pt x="1238" y="5927"/>
                  </a:cubicBezTo>
                  <a:cubicBezTo>
                    <a:pt x="1224" y="5919"/>
                    <a:pt x="1209" y="5912"/>
                    <a:pt x="1202" y="5883"/>
                  </a:cubicBezTo>
                  <a:cubicBezTo>
                    <a:pt x="1180" y="5824"/>
                    <a:pt x="1194" y="5729"/>
                    <a:pt x="1202" y="5663"/>
                  </a:cubicBezTo>
                  <a:cubicBezTo>
                    <a:pt x="1202" y="5619"/>
                    <a:pt x="1180" y="5597"/>
                    <a:pt x="1150" y="5568"/>
                  </a:cubicBezTo>
                  <a:cubicBezTo>
                    <a:pt x="1136" y="5553"/>
                    <a:pt x="1121" y="5538"/>
                    <a:pt x="1106" y="5517"/>
                  </a:cubicBezTo>
                  <a:cubicBezTo>
                    <a:pt x="1084" y="5480"/>
                    <a:pt x="1062" y="5458"/>
                    <a:pt x="1033" y="5436"/>
                  </a:cubicBezTo>
                  <a:cubicBezTo>
                    <a:pt x="1018" y="5421"/>
                    <a:pt x="1011" y="5414"/>
                    <a:pt x="997" y="5399"/>
                  </a:cubicBezTo>
                  <a:cubicBezTo>
                    <a:pt x="982" y="5385"/>
                    <a:pt x="960" y="5377"/>
                    <a:pt x="938" y="5377"/>
                  </a:cubicBezTo>
                  <a:cubicBezTo>
                    <a:pt x="909" y="5377"/>
                    <a:pt x="887" y="5385"/>
                    <a:pt x="865" y="5385"/>
                  </a:cubicBezTo>
                  <a:cubicBezTo>
                    <a:pt x="857" y="5392"/>
                    <a:pt x="857" y="5392"/>
                    <a:pt x="857" y="5392"/>
                  </a:cubicBezTo>
                  <a:cubicBezTo>
                    <a:pt x="828" y="5392"/>
                    <a:pt x="762" y="5421"/>
                    <a:pt x="711" y="5443"/>
                  </a:cubicBezTo>
                  <a:cubicBezTo>
                    <a:pt x="637" y="5465"/>
                    <a:pt x="637" y="5465"/>
                    <a:pt x="637" y="5465"/>
                  </a:cubicBezTo>
                  <a:cubicBezTo>
                    <a:pt x="586" y="5487"/>
                    <a:pt x="564" y="5495"/>
                    <a:pt x="528" y="5524"/>
                  </a:cubicBezTo>
                  <a:cubicBezTo>
                    <a:pt x="506" y="5538"/>
                    <a:pt x="484" y="5546"/>
                    <a:pt x="461" y="5553"/>
                  </a:cubicBezTo>
                  <a:cubicBezTo>
                    <a:pt x="440" y="5560"/>
                    <a:pt x="418" y="5568"/>
                    <a:pt x="388" y="5590"/>
                  </a:cubicBezTo>
                  <a:lnTo>
                    <a:pt x="388" y="5590"/>
                  </a:lnTo>
                  <a:cubicBezTo>
                    <a:pt x="381" y="5590"/>
                    <a:pt x="381" y="5590"/>
                    <a:pt x="381" y="5590"/>
                  </a:cubicBezTo>
                  <a:cubicBezTo>
                    <a:pt x="381" y="5590"/>
                    <a:pt x="330" y="5597"/>
                    <a:pt x="286" y="5597"/>
                  </a:cubicBezTo>
                  <a:cubicBezTo>
                    <a:pt x="256" y="5597"/>
                    <a:pt x="234" y="5597"/>
                    <a:pt x="220" y="5590"/>
                  </a:cubicBezTo>
                  <a:cubicBezTo>
                    <a:pt x="168" y="5568"/>
                    <a:pt x="154" y="5502"/>
                    <a:pt x="139" y="5436"/>
                  </a:cubicBezTo>
                  <a:cubicBezTo>
                    <a:pt x="125" y="5392"/>
                    <a:pt x="102" y="5385"/>
                    <a:pt x="66" y="5370"/>
                  </a:cubicBezTo>
                  <a:cubicBezTo>
                    <a:pt x="59" y="5363"/>
                    <a:pt x="44" y="5363"/>
                    <a:pt x="37" y="5355"/>
                  </a:cubicBezTo>
                  <a:cubicBezTo>
                    <a:pt x="15" y="5348"/>
                    <a:pt x="7" y="5333"/>
                    <a:pt x="0" y="5311"/>
                  </a:cubicBezTo>
                  <a:cubicBezTo>
                    <a:pt x="0" y="5275"/>
                    <a:pt x="29" y="5231"/>
                    <a:pt x="59" y="5201"/>
                  </a:cubicBezTo>
                  <a:cubicBezTo>
                    <a:pt x="80" y="5179"/>
                    <a:pt x="95" y="5179"/>
                    <a:pt x="110" y="5179"/>
                  </a:cubicBezTo>
                  <a:cubicBezTo>
                    <a:pt x="117" y="5179"/>
                    <a:pt x="117" y="5179"/>
                    <a:pt x="117" y="5172"/>
                  </a:cubicBezTo>
                  <a:cubicBezTo>
                    <a:pt x="125" y="5165"/>
                    <a:pt x="125" y="5157"/>
                    <a:pt x="132" y="5143"/>
                  </a:cubicBezTo>
                  <a:cubicBezTo>
                    <a:pt x="132" y="5121"/>
                    <a:pt x="147" y="5084"/>
                    <a:pt x="154" y="5069"/>
                  </a:cubicBezTo>
                  <a:cubicBezTo>
                    <a:pt x="161" y="5062"/>
                    <a:pt x="168" y="5055"/>
                    <a:pt x="190" y="5055"/>
                  </a:cubicBezTo>
                  <a:cubicBezTo>
                    <a:pt x="205" y="5055"/>
                    <a:pt x="227" y="5062"/>
                    <a:pt x="249" y="5069"/>
                  </a:cubicBezTo>
                  <a:cubicBezTo>
                    <a:pt x="264" y="5077"/>
                    <a:pt x="278" y="5084"/>
                    <a:pt x="293" y="5084"/>
                  </a:cubicBezTo>
                  <a:cubicBezTo>
                    <a:pt x="300" y="5091"/>
                    <a:pt x="315" y="5091"/>
                    <a:pt x="322" y="5091"/>
                  </a:cubicBezTo>
                  <a:cubicBezTo>
                    <a:pt x="330" y="5091"/>
                    <a:pt x="330" y="5077"/>
                    <a:pt x="330" y="5069"/>
                  </a:cubicBezTo>
                  <a:cubicBezTo>
                    <a:pt x="337" y="5026"/>
                    <a:pt x="322" y="5004"/>
                    <a:pt x="308" y="4996"/>
                  </a:cubicBezTo>
                  <a:cubicBezTo>
                    <a:pt x="300" y="4996"/>
                    <a:pt x="300" y="4996"/>
                    <a:pt x="300" y="4996"/>
                  </a:cubicBezTo>
                  <a:cubicBezTo>
                    <a:pt x="278" y="4989"/>
                    <a:pt x="242" y="4974"/>
                    <a:pt x="212" y="4945"/>
                  </a:cubicBezTo>
                  <a:cubicBezTo>
                    <a:pt x="198" y="4930"/>
                    <a:pt x="198" y="4923"/>
                    <a:pt x="198" y="4916"/>
                  </a:cubicBezTo>
                  <a:cubicBezTo>
                    <a:pt x="198" y="4886"/>
                    <a:pt x="227" y="4864"/>
                    <a:pt x="264" y="4835"/>
                  </a:cubicBezTo>
                  <a:cubicBezTo>
                    <a:pt x="271" y="4828"/>
                    <a:pt x="286" y="4820"/>
                    <a:pt x="293" y="4813"/>
                  </a:cubicBezTo>
                  <a:cubicBezTo>
                    <a:pt x="308" y="4798"/>
                    <a:pt x="330" y="4784"/>
                    <a:pt x="344" y="4769"/>
                  </a:cubicBezTo>
                  <a:cubicBezTo>
                    <a:pt x="366" y="4755"/>
                    <a:pt x="388" y="4740"/>
                    <a:pt x="403" y="4718"/>
                  </a:cubicBezTo>
                  <a:cubicBezTo>
                    <a:pt x="418" y="4703"/>
                    <a:pt x="432" y="4696"/>
                    <a:pt x="447" y="4696"/>
                  </a:cubicBezTo>
                  <a:cubicBezTo>
                    <a:pt x="461" y="4696"/>
                    <a:pt x="484" y="4710"/>
                    <a:pt x="506" y="4725"/>
                  </a:cubicBezTo>
                  <a:cubicBezTo>
                    <a:pt x="513" y="4732"/>
                    <a:pt x="528" y="4740"/>
                    <a:pt x="542" y="4747"/>
                  </a:cubicBezTo>
                  <a:cubicBezTo>
                    <a:pt x="549" y="4755"/>
                    <a:pt x="557" y="4755"/>
                    <a:pt x="564" y="4755"/>
                  </a:cubicBezTo>
                  <a:cubicBezTo>
                    <a:pt x="571" y="4755"/>
                    <a:pt x="579" y="4755"/>
                    <a:pt x="586" y="4747"/>
                  </a:cubicBezTo>
                  <a:cubicBezTo>
                    <a:pt x="593" y="4732"/>
                    <a:pt x="601" y="4710"/>
                    <a:pt x="593" y="4688"/>
                  </a:cubicBezTo>
                  <a:cubicBezTo>
                    <a:pt x="593" y="4674"/>
                    <a:pt x="586" y="4674"/>
                    <a:pt x="571" y="4674"/>
                  </a:cubicBezTo>
                  <a:cubicBezTo>
                    <a:pt x="557" y="4667"/>
                    <a:pt x="535" y="4667"/>
                    <a:pt x="528" y="4637"/>
                  </a:cubicBezTo>
                  <a:cubicBezTo>
                    <a:pt x="528" y="4630"/>
                    <a:pt x="528" y="4615"/>
                    <a:pt x="535" y="4608"/>
                  </a:cubicBezTo>
                  <a:cubicBezTo>
                    <a:pt x="549" y="4586"/>
                    <a:pt x="579" y="4579"/>
                    <a:pt x="608" y="4579"/>
                  </a:cubicBezTo>
                  <a:cubicBezTo>
                    <a:pt x="623" y="4579"/>
                    <a:pt x="645" y="4579"/>
                    <a:pt x="674" y="4593"/>
                  </a:cubicBezTo>
                  <a:cubicBezTo>
                    <a:pt x="681" y="4600"/>
                    <a:pt x="689" y="4608"/>
                    <a:pt x="696" y="4608"/>
                  </a:cubicBezTo>
                  <a:cubicBezTo>
                    <a:pt x="711" y="4608"/>
                    <a:pt x="718" y="4586"/>
                    <a:pt x="725" y="4549"/>
                  </a:cubicBezTo>
                  <a:cubicBezTo>
                    <a:pt x="733" y="4498"/>
                    <a:pt x="711" y="4447"/>
                    <a:pt x="696" y="4425"/>
                  </a:cubicBezTo>
                  <a:cubicBezTo>
                    <a:pt x="681" y="4410"/>
                    <a:pt x="674" y="4403"/>
                    <a:pt x="667" y="4395"/>
                  </a:cubicBezTo>
                  <a:cubicBezTo>
                    <a:pt x="652" y="4381"/>
                    <a:pt x="645" y="4373"/>
                    <a:pt x="630" y="4344"/>
                  </a:cubicBezTo>
                  <a:cubicBezTo>
                    <a:pt x="623" y="4329"/>
                    <a:pt x="623" y="4315"/>
                    <a:pt x="616" y="4300"/>
                  </a:cubicBezTo>
                  <a:cubicBezTo>
                    <a:pt x="616" y="4278"/>
                    <a:pt x="608" y="4264"/>
                    <a:pt x="593" y="4249"/>
                  </a:cubicBezTo>
                  <a:cubicBezTo>
                    <a:pt x="579" y="4234"/>
                    <a:pt x="579" y="4234"/>
                    <a:pt x="579" y="4234"/>
                  </a:cubicBezTo>
                  <a:cubicBezTo>
                    <a:pt x="549" y="4205"/>
                    <a:pt x="520" y="4168"/>
                    <a:pt x="454" y="4168"/>
                  </a:cubicBezTo>
                  <a:cubicBezTo>
                    <a:pt x="425" y="4161"/>
                    <a:pt x="403" y="4154"/>
                    <a:pt x="396" y="4139"/>
                  </a:cubicBezTo>
                  <a:cubicBezTo>
                    <a:pt x="388" y="4117"/>
                    <a:pt x="403" y="4102"/>
                    <a:pt x="425" y="4080"/>
                  </a:cubicBezTo>
                  <a:cubicBezTo>
                    <a:pt x="440" y="4073"/>
                    <a:pt x="440" y="4073"/>
                    <a:pt x="440" y="4073"/>
                  </a:cubicBezTo>
                  <a:cubicBezTo>
                    <a:pt x="469" y="4044"/>
                    <a:pt x="469" y="4029"/>
                    <a:pt x="476" y="4000"/>
                  </a:cubicBezTo>
                  <a:cubicBezTo>
                    <a:pt x="476" y="3992"/>
                    <a:pt x="476" y="3978"/>
                    <a:pt x="476" y="3970"/>
                  </a:cubicBezTo>
                  <a:cubicBezTo>
                    <a:pt x="484" y="3941"/>
                    <a:pt x="469" y="3912"/>
                    <a:pt x="461" y="3890"/>
                  </a:cubicBezTo>
                  <a:cubicBezTo>
                    <a:pt x="454" y="3868"/>
                    <a:pt x="447" y="3853"/>
                    <a:pt x="440" y="3831"/>
                  </a:cubicBezTo>
                  <a:cubicBezTo>
                    <a:pt x="432" y="3780"/>
                    <a:pt x="469" y="3750"/>
                    <a:pt x="491" y="3721"/>
                  </a:cubicBezTo>
                  <a:cubicBezTo>
                    <a:pt x="498" y="3714"/>
                    <a:pt x="506" y="3707"/>
                    <a:pt x="513" y="3699"/>
                  </a:cubicBezTo>
                  <a:cubicBezTo>
                    <a:pt x="535" y="3670"/>
                    <a:pt x="564" y="3633"/>
                    <a:pt x="608" y="3633"/>
                  </a:cubicBezTo>
                  <a:cubicBezTo>
                    <a:pt x="616" y="3633"/>
                    <a:pt x="616" y="3633"/>
                    <a:pt x="623" y="3633"/>
                  </a:cubicBezTo>
                  <a:cubicBezTo>
                    <a:pt x="652" y="3641"/>
                    <a:pt x="667" y="3655"/>
                    <a:pt x="681" y="3670"/>
                  </a:cubicBezTo>
                  <a:cubicBezTo>
                    <a:pt x="689" y="3685"/>
                    <a:pt x="703" y="3699"/>
                    <a:pt x="718" y="3699"/>
                  </a:cubicBezTo>
                  <a:lnTo>
                    <a:pt x="718" y="3699"/>
                  </a:lnTo>
                  <a:cubicBezTo>
                    <a:pt x="740" y="3699"/>
                    <a:pt x="769" y="3648"/>
                    <a:pt x="784" y="3611"/>
                  </a:cubicBezTo>
                  <a:cubicBezTo>
                    <a:pt x="799" y="3589"/>
                    <a:pt x="806" y="3575"/>
                    <a:pt x="813" y="3567"/>
                  </a:cubicBezTo>
                  <a:cubicBezTo>
                    <a:pt x="842" y="3509"/>
                    <a:pt x="806" y="3414"/>
                    <a:pt x="777" y="3355"/>
                  </a:cubicBezTo>
                  <a:cubicBezTo>
                    <a:pt x="747" y="3311"/>
                    <a:pt x="747" y="3267"/>
                    <a:pt x="747" y="3223"/>
                  </a:cubicBezTo>
                  <a:cubicBezTo>
                    <a:pt x="747" y="3216"/>
                    <a:pt x="747" y="3216"/>
                    <a:pt x="747" y="3216"/>
                  </a:cubicBezTo>
                  <a:lnTo>
                    <a:pt x="747" y="3216"/>
                  </a:lnTo>
                  <a:cubicBezTo>
                    <a:pt x="769" y="3186"/>
                    <a:pt x="784" y="3164"/>
                    <a:pt x="806" y="3135"/>
                  </a:cubicBezTo>
                  <a:cubicBezTo>
                    <a:pt x="835" y="3091"/>
                    <a:pt x="835" y="3069"/>
                    <a:pt x="828" y="3025"/>
                  </a:cubicBezTo>
                  <a:cubicBezTo>
                    <a:pt x="821" y="3010"/>
                    <a:pt x="821" y="2996"/>
                    <a:pt x="821" y="2981"/>
                  </a:cubicBezTo>
                  <a:cubicBezTo>
                    <a:pt x="813" y="2945"/>
                    <a:pt x="806" y="2937"/>
                    <a:pt x="799" y="2930"/>
                  </a:cubicBezTo>
                  <a:cubicBezTo>
                    <a:pt x="791" y="2915"/>
                    <a:pt x="777" y="2908"/>
                    <a:pt x="777" y="2879"/>
                  </a:cubicBezTo>
                  <a:cubicBezTo>
                    <a:pt x="769" y="2835"/>
                    <a:pt x="791" y="2820"/>
                    <a:pt x="813" y="2805"/>
                  </a:cubicBezTo>
                  <a:cubicBezTo>
                    <a:pt x="828" y="2798"/>
                    <a:pt x="842" y="2791"/>
                    <a:pt x="850" y="2776"/>
                  </a:cubicBezTo>
                  <a:cubicBezTo>
                    <a:pt x="879" y="2725"/>
                    <a:pt x="909" y="2710"/>
                    <a:pt x="960" y="2681"/>
                  </a:cubicBezTo>
                  <a:cubicBezTo>
                    <a:pt x="982" y="2673"/>
                    <a:pt x="982" y="2673"/>
                    <a:pt x="982" y="2673"/>
                  </a:cubicBezTo>
                  <a:cubicBezTo>
                    <a:pt x="1026" y="2651"/>
                    <a:pt x="1033" y="2637"/>
                    <a:pt x="1040" y="2600"/>
                  </a:cubicBezTo>
                  <a:cubicBezTo>
                    <a:pt x="1048" y="2586"/>
                    <a:pt x="1048" y="2578"/>
                    <a:pt x="1055" y="2564"/>
                  </a:cubicBezTo>
                  <a:cubicBezTo>
                    <a:pt x="1062" y="2541"/>
                    <a:pt x="1077" y="2519"/>
                    <a:pt x="1099" y="2519"/>
                  </a:cubicBezTo>
                  <a:cubicBezTo>
                    <a:pt x="1121" y="2519"/>
                    <a:pt x="1136" y="2541"/>
                    <a:pt x="1150" y="2571"/>
                  </a:cubicBezTo>
                  <a:cubicBezTo>
                    <a:pt x="1172" y="2600"/>
                    <a:pt x="1180" y="2615"/>
                    <a:pt x="1216" y="2615"/>
                  </a:cubicBezTo>
                  <a:cubicBezTo>
                    <a:pt x="1231" y="2615"/>
                    <a:pt x="1246" y="2607"/>
                    <a:pt x="1268" y="2607"/>
                  </a:cubicBezTo>
                  <a:cubicBezTo>
                    <a:pt x="1333" y="2586"/>
                    <a:pt x="1333" y="2578"/>
                    <a:pt x="1348" y="2556"/>
                  </a:cubicBezTo>
                  <a:cubicBezTo>
                    <a:pt x="1348" y="2549"/>
                    <a:pt x="1356" y="2534"/>
                    <a:pt x="1363" y="2519"/>
                  </a:cubicBezTo>
                  <a:cubicBezTo>
                    <a:pt x="1392" y="2468"/>
                    <a:pt x="1399" y="2461"/>
                    <a:pt x="1429" y="2446"/>
                  </a:cubicBezTo>
                  <a:cubicBezTo>
                    <a:pt x="1436" y="2439"/>
                    <a:pt x="1443" y="2432"/>
                    <a:pt x="1451" y="2432"/>
                  </a:cubicBezTo>
                  <a:cubicBezTo>
                    <a:pt x="1473" y="2417"/>
                    <a:pt x="1473" y="2410"/>
                    <a:pt x="1473" y="2410"/>
                  </a:cubicBezTo>
                  <a:lnTo>
                    <a:pt x="1473" y="2402"/>
                  </a:lnTo>
                  <a:cubicBezTo>
                    <a:pt x="1466" y="2395"/>
                    <a:pt x="1466" y="2373"/>
                    <a:pt x="1466" y="2344"/>
                  </a:cubicBezTo>
                  <a:cubicBezTo>
                    <a:pt x="1466" y="2300"/>
                    <a:pt x="1480" y="2285"/>
                    <a:pt x="1502" y="2263"/>
                  </a:cubicBezTo>
                  <a:cubicBezTo>
                    <a:pt x="1509" y="2256"/>
                    <a:pt x="1524" y="2241"/>
                    <a:pt x="1531" y="2219"/>
                  </a:cubicBezTo>
                  <a:cubicBezTo>
                    <a:pt x="1553" y="2182"/>
                    <a:pt x="1575" y="2168"/>
                    <a:pt x="1590" y="2153"/>
                  </a:cubicBezTo>
                  <a:cubicBezTo>
                    <a:pt x="1605" y="2146"/>
                    <a:pt x="1612" y="2138"/>
                    <a:pt x="1627" y="2124"/>
                  </a:cubicBezTo>
                  <a:lnTo>
                    <a:pt x="1649" y="2102"/>
                  </a:lnTo>
                  <a:cubicBezTo>
                    <a:pt x="1649" y="2102"/>
                    <a:pt x="1641" y="2102"/>
                    <a:pt x="1634" y="2095"/>
                  </a:cubicBezTo>
                  <a:cubicBezTo>
                    <a:pt x="1605" y="2065"/>
                    <a:pt x="1590" y="2029"/>
                    <a:pt x="1575" y="1948"/>
                  </a:cubicBezTo>
                  <a:cubicBezTo>
                    <a:pt x="1561" y="1897"/>
                    <a:pt x="1575" y="1882"/>
                    <a:pt x="1612" y="1867"/>
                  </a:cubicBezTo>
                  <a:cubicBezTo>
                    <a:pt x="1619" y="1860"/>
                    <a:pt x="1634" y="1853"/>
                    <a:pt x="1656" y="1831"/>
                  </a:cubicBezTo>
                  <a:cubicBezTo>
                    <a:pt x="1678" y="1816"/>
                    <a:pt x="1700" y="1809"/>
                    <a:pt x="1729" y="1809"/>
                  </a:cubicBezTo>
                  <a:cubicBezTo>
                    <a:pt x="1759" y="1809"/>
                    <a:pt x="1788" y="1816"/>
                    <a:pt x="1810" y="1823"/>
                  </a:cubicBezTo>
                  <a:cubicBezTo>
                    <a:pt x="1832" y="1823"/>
                    <a:pt x="1854" y="1831"/>
                    <a:pt x="1868" y="1831"/>
                  </a:cubicBezTo>
                  <a:cubicBezTo>
                    <a:pt x="1890" y="1831"/>
                    <a:pt x="1905" y="1838"/>
                    <a:pt x="1912" y="1845"/>
                  </a:cubicBezTo>
                  <a:cubicBezTo>
                    <a:pt x="1927" y="1823"/>
                    <a:pt x="1949" y="1801"/>
                    <a:pt x="1986" y="1794"/>
                  </a:cubicBezTo>
                  <a:cubicBezTo>
                    <a:pt x="1993" y="1794"/>
                    <a:pt x="1993" y="1794"/>
                    <a:pt x="2000" y="1794"/>
                  </a:cubicBezTo>
                  <a:cubicBezTo>
                    <a:pt x="1993" y="1787"/>
                    <a:pt x="1993" y="1787"/>
                    <a:pt x="1986" y="1779"/>
                  </a:cubicBezTo>
                  <a:cubicBezTo>
                    <a:pt x="1942" y="1736"/>
                    <a:pt x="1971" y="1706"/>
                    <a:pt x="1993" y="1677"/>
                  </a:cubicBezTo>
                  <a:cubicBezTo>
                    <a:pt x="2000" y="1669"/>
                    <a:pt x="2008" y="1662"/>
                    <a:pt x="2008" y="1655"/>
                  </a:cubicBezTo>
                  <a:cubicBezTo>
                    <a:pt x="2022" y="1640"/>
                    <a:pt x="2037" y="1626"/>
                    <a:pt x="2052" y="1618"/>
                  </a:cubicBezTo>
                  <a:cubicBezTo>
                    <a:pt x="2066" y="1604"/>
                    <a:pt x="2081" y="1596"/>
                    <a:pt x="2096" y="1568"/>
                  </a:cubicBezTo>
                  <a:cubicBezTo>
                    <a:pt x="2118" y="1517"/>
                    <a:pt x="2118" y="1517"/>
                    <a:pt x="2103" y="1487"/>
                  </a:cubicBezTo>
                  <a:cubicBezTo>
                    <a:pt x="2088" y="1451"/>
                    <a:pt x="2074" y="1429"/>
                    <a:pt x="2059" y="1356"/>
                  </a:cubicBezTo>
                  <a:cubicBezTo>
                    <a:pt x="2052" y="1341"/>
                    <a:pt x="2052" y="1326"/>
                    <a:pt x="2052" y="1311"/>
                  </a:cubicBezTo>
                  <a:cubicBezTo>
                    <a:pt x="2044" y="1282"/>
                    <a:pt x="2044" y="1282"/>
                    <a:pt x="2030" y="1282"/>
                  </a:cubicBezTo>
                  <a:cubicBezTo>
                    <a:pt x="2030" y="1282"/>
                    <a:pt x="2022" y="1282"/>
                    <a:pt x="2015" y="1282"/>
                  </a:cubicBezTo>
                  <a:cubicBezTo>
                    <a:pt x="1956" y="1289"/>
                    <a:pt x="1927" y="1311"/>
                    <a:pt x="1890" y="1341"/>
                  </a:cubicBezTo>
                  <a:cubicBezTo>
                    <a:pt x="1861" y="1363"/>
                    <a:pt x="1832" y="1377"/>
                    <a:pt x="1802" y="1377"/>
                  </a:cubicBezTo>
                  <a:cubicBezTo>
                    <a:pt x="1788" y="1377"/>
                    <a:pt x="1773" y="1377"/>
                    <a:pt x="1759" y="1363"/>
                  </a:cubicBezTo>
                  <a:cubicBezTo>
                    <a:pt x="1737" y="1348"/>
                    <a:pt x="1729" y="1333"/>
                    <a:pt x="1729" y="1319"/>
                  </a:cubicBezTo>
                  <a:cubicBezTo>
                    <a:pt x="1722" y="1311"/>
                    <a:pt x="1722" y="1297"/>
                    <a:pt x="1707" y="1275"/>
                  </a:cubicBezTo>
                  <a:cubicBezTo>
                    <a:pt x="1670" y="1238"/>
                    <a:pt x="1692" y="1209"/>
                    <a:pt x="1722" y="1172"/>
                  </a:cubicBezTo>
                  <a:cubicBezTo>
                    <a:pt x="1729" y="1158"/>
                    <a:pt x="1744" y="1136"/>
                    <a:pt x="1751" y="1114"/>
                  </a:cubicBezTo>
                  <a:cubicBezTo>
                    <a:pt x="1788" y="1055"/>
                    <a:pt x="1802" y="1048"/>
                    <a:pt x="1839" y="1018"/>
                  </a:cubicBezTo>
                  <a:cubicBezTo>
                    <a:pt x="1847" y="1011"/>
                    <a:pt x="1861" y="1004"/>
                    <a:pt x="1876" y="989"/>
                  </a:cubicBezTo>
                  <a:cubicBezTo>
                    <a:pt x="1905" y="974"/>
                    <a:pt x="1920" y="952"/>
                    <a:pt x="1927" y="945"/>
                  </a:cubicBezTo>
                  <a:cubicBezTo>
                    <a:pt x="1934" y="923"/>
                    <a:pt x="1949" y="916"/>
                    <a:pt x="1978" y="916"/>
                  </a:cubicBezTo>
                  <a:cubicBezTo>
                    <a:pt x="1993" y="916"/>
                    <a:pt x="2000" y="916"/>
                    <a:pt x="2015" y="916"/>
                  </a:cubicBezTo>
                  <a:cubicBezTo>
                    <a:pt x="2030" y="916"/>
                    <a:pt x="2037" y="916"/>
                    <a:pt x="2044" y="916"/>
                  </a:cubicBezTo>
                  <a:cubicBezTo>
                    <a:pt x="2074" y="916"/>
                    <a:pt x="2096" y="908"/>
                    <a:pt x="2110" y="894"/>
                  </a:cubicBezTo>
                  <a:cubicBezTo>
                    <a:pt x="2140" y="865"/>
                    <a:pt x="2161" y="857"/>
                    <a:pt x="2191" y="857"/>
                  </a:cubicBezTo>
                  <a:cubicBezTo>
                    <a:pt x="2220" y="857"/>
                    <a:pt x="2242" y="865"/>
                    <a:pt x="2271" y="879"/>
                  </a:cubicBezTo>
                  <a:cubicBezTo>
                    <a:pt x="2279" y="887"/>
                    <a:pt x="2293" y="894"/>
                    <a:pt x="2308" y="894"/>
                  </a:cubicBezTo>
                  <a:cubicBezTo>
                    <a:pt x="2345" y="894"/>
                    <a:pt x="2381" y="879"/>
                    <a:pt x="2418" y="872"/>
                  </a:cubicBezTo>
                  <a:cubicBezTo>
                    <a:pt x="2440" y="865"/>
                    <a:pt x="2462" y="857"/>
                    <a:pt x="2477" y="857"/>
                  </a:cubicBezTo>
                  <a:cubicBezTo>
                    <a:pt x="2499" y="850"/>
                    <a:pt x="2513" y="842"/>
                    <a:pt x="2521" y="828"/>
                  </a:cubicBezTo>
                  <a:cubicBezTo>
                    <a:pt x="2528" y="813"/>
                    <a:pt x="2521" y="791"/>
                    <a:pt x="2513" y="777"/>
                  </a:cubicBezTo>
                  <a:cubicBezTo>
                    <a:pt x="2506" y="762"/>
                    <a:pt x="2491" y="747"/>
                    <a:pt x="2469" y="732"/>
                  </a:cubicBezTo>
                  <a:cubicBezTo>
                    <a:pt x="2447" y="718"/>
                    <a:pt x="2425" y="703"/>
                    <a:pt x="2403" y="674"/>
                  </a:cubicBezTo>
                  <a:cubicBezTo>
                    <a:pt x="2374" y="637"/>
                    <a:pt x="2359" y="623"/>
                    <a:pt x="2359" y="601"/>
                  </a:cubicBezTo>
                  <a:cubicBezTo>
                    <a:pt x="2359" y="579"/>
                    <a:pt x="2374" y="564"/>
                    <a:pt x="2403" y="542"/>
                  </a:cubicBezTo>
                  <a:cubicBezTo>
                    <a:pt x="2447" y="513"/>
                    <a:pt x="2506" y="491"/>
                    <a:pt x="2557" y="469"/>
                  </a:cubicBezTo>
                  <a:cubicBezTo>
                    <a:pt x="2579" y="461"/>
                    <a:pt x="2601" y="454"/>
                    <a:pt x="2623" y="447"/>
                  </a:cubicBezTo>
                  <a:cubicBezTo>
                    <a:pt x="2630" y="439"/>
                    <a:pt x="2638" y="439"/>
                    <a:pt x="2652" y="439"/>
                  </a:cubicBezTo>
                  <a:cubicBezTo>
                    <a:pt x="2682" y="439"/>
                    <a:pt x="2704" y="461"/>
                    <a:pt x="2726" y="476"/>
                  </a:cubicBezTo>
                  <a:cubicBezTo>
                    <a:pt x="2748" y="491"/>
                    <a:pt x="2762" y="498"/>
                    <a:pt x="2777" y="506"/>
                  </a:cubicBezTo>
                  <a:cubicBezTo>
                    <a:pt x="2806" y="520"/>
                    <a:pt x="2836" y="527"/>
                    <a:pt x="2843" y="549"/>
                  </a:cubicBezTo>
                  <a:cubicBezTo>
                    <a:pt x="2850" y="564"/>
                    <a:pt x="2843" y="586"/>
                    <a:pt x="2836" y="601"/>
                  </a:cubicBezTo>
                  <a:cubicBezTo>
                    <a:pt x="2828" y="623"/>
                    <a:pt x="2828" y="645"/>
                    <a:pt x="2836" y="659"/>
                  </a:cubicBezTo>
                  <a:cubicBezTo>
                    <a:pt x="2850" y="681"/>
                    <a:pt x="2872" y="696"/>
                    <a:pt x="2909" y="703"/>
                  </a:cubicBezTo>
                  <a:lnTo>
                    <a:pt x="2916" y="703"/>
                  </a:lnTo>
                  <a:cubicBezTo>
                    <a:pt x="2960" y="703"/>
                    <a:pt x="2982" y="674"/>
                    <a:pt x="3004" y="645"/>
                  </a:cubicBezTo>
                  <a:cubicBezTo>
                    <a:pt x="3019" y="637"/>
                    <a:pt x="3026" y="623"/>
                    <a:pt x="3041" y="608"/>
                  </a:cubicBezTo>
                  <a:cubicBezTo>
                    <a:pt x="3070" y="586"/>
                    <a:pt x="3136" y="520"/>
                    <a:pt x="3246" y="418"/>
                  </a:cubicBezTo>
                  <a:cubicBezTo>
                    <a:pt x="3290" y="373"/>
                    <a:pt x="3334" y="286"/>
                    <a:pt x="3349" y="242"/>
                  </a:cubicBezTo>
                  <a:cubicBezTo>
                    <a:pt x="3356" y="227"/>
                    <a:pt x="3356" y="227"/>
                    <a:pt x="3341" y="220"/>
                  </a:cubicBezTo>
                  <a:cubicBezTo>
                    <a:pt x="3327" y="212"/>
                    <a:pt x="3305" y="198"/>
                    <a:pt x="3305" y="168"/>
                  </a:cubicBezTo>
                  <a:cubicBezTo>
                    <a:pt x="3305" y="124"/>
                    <a:pt x="3356" y="95"/>
                    <a:pt x="3437" y="95"/>
                  </a:cubicBezTo>
                  <a:cubicBezTo>
                    <a:pt x="3459" y="95"/>
                    <a:pt x="3480" y="88"/>
                    <a:pt x="3495" y="73"/>
                  </a:cubicBezTo>
                  <a:cubicBezTo>
                    <a:pt x="3459" y="73"/>
                    <a:pt x="3459" y="73"/>
                    <a:pt x="3459" y="73"/>
                  </a:cubicBezTo>
                  <a:cubicBezTo>
                    <a:pt x="3495" y="44"/>
                    <a:pt x="3495" y="44"/>
                    <a:pt x="3495" y="44"/>
                  </a:cubicBezTo>
                  <a:cubicBezTo>
                    <a:pt x="3532" y="15"/>
                    <a:pt x="3561" y="0"/>
                    <a:pt x="3583" y="0"/>
                  </a:cubicBezTo>
                  <a:cubicBezTo>
                    <a:pt x="3583" y="0"/>
                    <a:pt x="3590" y="0"/>
                    <a:pt x="3590" y="7"/>
                  </a:cubicBezTo>
                  <a:cubicBezTo>
                    <a:pt x="3620" y="7"/>
                    <a:pt x="3634" y="37"/>
                    <a:pt x="3642" y="58"/>
                  </a:cubicBezTo>
                  <a:cubicBezTo>
                    <a:pt x="3656" y="80"/>
                    <a:pt x="3664" y="88"/>
                    <a:pt x="3671" y="88"/>
                  </a:cubicBezTo>
                  <a:cubicBezTo>
                    <a:pt x="3678" y="88"/>
                    <a:pt x="3686" y="88"/>
                    <a:pt x="3700" y="88"/>
                  </a:cubicBezTo>
                  <a:cubicBezTo>
                    <a:pt x="3708" y="88"/>
                    <a:pt x="3715" y="88"/>
                    <a:pt x="3722" y="88"/>
                  </a:cubicBezTo>
                  <a:cubicBezTo>
                    <a:pt x="3737" y="88"/>
                    <a:pt x="3766" y="88"/>
                    <a:pt x="3796" y="73"/>
                  </a:cubicBezTo>
                  <a:cubicBezTo>
                    <a:pt x="3825" y="58"/>
                    <a:pt x="3854" y="51"/>
                    <a:pt x="3876" y="51"/>
                  </a:cubicBezTo>
                  <a:cubicBezTo>
                    <a:pt x="3913" y="51"/>
                    <a:pt x="3935" y="66"/>
                    <a:pt x="3942" y="95"/>
                  </a:cubicBezTo>
                  <a:cubicBezTo>
                    <a:pt x="3949" y="124"/>
                    <a:pt x="3993" y="168"/>
                    <a:pt x="4037" y="190"/>
                  </a:cubicBezTo>
                  <a:cubicBezTo>
                    <a:pt x="4059" y="205"/>
                    <a:pt x="4059" y="234"/>
                    <a:pt x="4052" y="256"/>
                  </a:cubicBezTo>
                  <a:cubicBezTo>
                    <a:pt x="4045" y="278"/>
                    <a:pt x="4030" y="293"/>
                    <a:pt x="4008" y="293"/>
                  </a:cubicBezTo>
                  <a:cubicBezTo>
                    <a:pt x="4001" y="293"/>
                    <a:pt x="3993" y="293"/>
                    <a:pt x="3979" y="286"/>
                  </a:cubicBezTo>
                  <a:cubicBezTo>
                    <a:pt x="3957" y="278"/>
                    <a:pt x="3942" y="271"/>
                    <a:pt x="3928" y="271"/>
                  </a:cubicBezTo>
                  <a:cubicBezTo>
                    <a:pt x="3920" y="271"/>
                    <a:pt x="3920" y="278"/>
                    <a:pt x="3920" y="278"/>
                  </a:cubicBezTo>
                  <a:lnTo>
                    <a:pt x="3920" y="278"/>
                  </a:lnTo>
                  <a:cubicBezTo>
                    <a:pt x="3942" y="308"/>
                    <a:pt x="3964" y="337"/>
                    <a:pt x="3949" y="351"/>
                  </a:cubicBezTo>
                  <a:cubicBezTo>
                    <a:pt x="3949" y="359"/>
                    <a:pt x="3942" y="366"/>
                    <a:pt x="3920" y="366"/>
                  </a:cubicBezTo>
                  <a:cubicBezTo>
                    <a:pt x="3920" y="366"/>
                    <a:pt x="3913" y="366"/>
                    <a:pt x="3905" y="366"/>
                  </a:cubicBezTo>
                  <a:lnTo>
                    <a:pt x="3905" y="366"/>
                  </a:lnTo>
                  <a:cubicBezTo>
                    <a:pt x="3913" y="381"/>
                    <a:pt x="3928" y="418"/>
                    <a:pt x="3891" y="439"/>
                  </a:cubicBezTo>
                  <a:cubicBezTo>
                    <a:pt x="3876" y="454"/>
                    <a:pt x="3869" y="461"/>
                    <a:pt x="3869" y="476"/>
                  </a:cubicBezTo>
                  <a:cubicBezTo>
                    <a:pt x="3869" y="491"/>
                    <a:pt x="3876" y="506"/>
                    <a:pt x="3883" y="520"/>
                  </a:cubicBezTo>
                  <a:cubicBezTo>
                    <a:pt x="3913" y="542"/>
                    <a:pt x="3949" y="637"/>
                    <a:pt x="3942" y="674"/>
                  </a:cubicBezTo>
                  <a:cubicBezTo>
                    <a:pt x="3942" y="681"/>
                    <a:pt x="3942" y="689"/>
                    <a:pt x="3949" y="703"/>
                  </a:cubicBezTo>
                  <a:cubicBezTo>
                    <a:pt x="3964" y="718"/>
                    <a:pt x="3979" y="747"/>
                    <a:pt x="3957" y="784"/>
                  </a:cubicBezTo>
                  <a:cubicBezTo>
                    <a:pt x="3949" y="791"/>
                    <a:pt x="3949" y="798"/>
                    <a:pt x="3949" y="806"/>
                  </a:cubicBezTo>
                  <a:cubicBezTo>
                    <a:pt x="3928" y="842"/>
                    <a:pt x="3928" y="850"/>
                    <a:pt x="3869" y="857"/>
                  </a:cubicBezTo>
                  <a:cubicBezTo>
                    <a:pt x="3818" y="865"/>
                    <a:pt x="3810" y="887"/>
                    <a:pt x="3803" y="923"/>
                  </a:cubicBezTo>
                  <a:cubicBezTo>
                    <a:pt x="3803" y="938"/>
                    <a:pt x="3803" y="938"/>
                    <a:pt x="3803" y="938"/>
                  </a:cubicBezTo>
                  <a:cubicBezTo>
                    <a:pt x="3796" y="974"/>
                    <a:pt x="3788" y="1004"/>
                    <a:pt x="3832" y="1026"/>
                  </a:cubicBezTo>
                  <a:cubicBezTo>
                    <a:pt x="3854" y="1040"/>
                    <a:pt x="3891" y="1055"/>
                    <a:pt x="3928" y="1070"/>
                  </a:cubicBezTo>
                  <a:cubicBezTo>
                    <a:pt x="3993" y="1091"/>
                    <a:pt x="4052" y="1114"/>
                    <a:pt x="4067" y="1143"/>
                  </a:cubicBezTo>
                  <a:cubicBezTo>
                    <a:pt x="4096" y="1180"/>
                    <a:pt x="4118" y="1187"/>
                    <a:pt x="4125" y="1187"/>
                  </a:cubicBezTo>
                  <a:cubicBezTo>
                    <a:pt x="4132" y="1187"/>
                    <a:pt x="4147" y="1180"/>
                    <a:pt x="4155" y="1172"/>
                  </a:cubicBezTo>
                  <a:cubicBezTo>
                    <a:pt x="4162" y="1165"/>
                    <a:pt x="4162" y="1165"/>
                    <a:pt x="4162" y="1165"/>
                  </a:cubicBezTo>
                  <a:cubicBezTo>
                    <a:pt x="4184" y="1150"/>
                    <a:pt x="4199" y="1128"/>
                    <a:pt x="4199" y="1121"/>
                  </a:cubicBezTo>
                  <a:cubicBezTo>
                    <a:pt x="4199" y="1121"/>
                    <a:pt x="4199" y="1114"/>
                    <a:pt x="4177" y="1106"/>
                  </a:cubicBezTo>
                  <a:cubicBezTo>
                    <a:pt x="4111" y="1077"/>
                    <a:pt x="4081" y="1018"/>
                    <a:pt x="4081" y="989"/>
                  </a:cubicBezTo>
                  <a:cubicBezTo>
                    <a:pt x="4081" y="967"/>
                    <a:pt x="4089" y="960"/>
                    <a:pt x="4103" y="952"/>
                  </a:cubicBezTo>
                  <a:cubicBezTo>
                    <a:pt x="4111" y="952"/>
                    <a:pt x="4125" y="945"/>
                    <a:pt x="4147" y="930"/>
                  </a:cubicBezTo>
                  <a:cubicBezTo>
                    <a:pt x="4162" y="923"/>
                    <a:pt x="4177" y="916"/>
                    <a:pt x="4191" y="908"/>
                  </a:cubicBezTo>
                  <a:cubicBezTo>
                    <a:pt x="4228" y="887"/>
                    <a:pt x="4250" y="872"/>
                    <a:pt x="4264" y="842"/>
                  </a:cubicBezTo>
                  <a:cubicBezTo>
                    <a:pt x="4272" y="813"/>
                    <a:pt x="4309" y="784"/>
                    <a:pt x="4338" y="784"/>
                  </a:cubicBezTo>
                  <a:cubicBezTo>
                    <a:pt x="4352" y="784"/>
                    <a:pt x="4367" y="791"/>
                    <a:pt x="4374" y="806"/>
                  </a:cubicBezTo>
                  <a:cubicBezTo>
                    <a:pt x="4382" y="791"/>
                    <a:pt x="4389" y="777"/>
                    <a:pt x="4404" y="769"/>
                  </a:cubicBezTo>
                  <a:cubicBezTo>
                    <a:pt x="4426" y="762"/>
                    <a:pt x="4433" y="762"/>
                    <a:pt x="4448" y="762"/>
                  </a:cubicBezTo>
                  <a:cubicBezTo>
                    <a:pt x="4477" y="762"/>
                    <a:pt x="4492" y="769"/>
                    <a:pt x="4514" y="791"/>
                  </a:cubicBezTo>
                  <a:cubicBezTo>
                    <a:pt x="4543" y="806"/>
                    <a:pt x="4558" y="835"/>
                    <a:pt x="4565" y="872"/>
                  </a:cubicBezTo>
                  <a:lnTo>
                    <a:pt x="4565" y="872"/>
                  </a:lnTo>
                  <a:lnTo>
                    <a:pt x="4572" y="894"/>
                  </a:lnTo>
                  <a:lnTo>
                    <a:pt x="4572" y="901"/>
                  </a:lnTo>
                  <a:cubicBezTo>
                    <a:pt x="4572" y="908"/>
                    <a:pt x="4572" y="923"/>
                    <a:pt x="4572" y="930"/>
                  </a:cubicBezTo>
                  <a:cubicBezTo>
                    <a:pt x="4565" y="967"/>
                    <a:pt x="4565" y="1026"/>
                    <a:pt x="4580" y="1040"/>
                  </a:cubicBezTo>
                  <a:cubicBezTo>
                    <a:pt x="4609" y="1062"/>
                    <a:pt x="4609" y="1084"/>
                    <a:pt x="4616" y="1106"/>
                  </a:cubicBezTo>
                  <a:cubicBezTo>
                    <a:pt x="4616" y="1121"/>
                    <a:pt x="4616" y="1136"/>
                    <a:pt x="4631" y="1150"/>
                  </a:cubicBezTo>
                  <a:cubicBezTo>
                    <a:pt x="4653" y="1187"/>
                    <a:pt x="4675" y="1209"/>
                    <a:pt x="4726" y="1209"/>
                  </a:cubicBezTo>
                  <a:cubicBezTo>
                    <a:pt x="4785" y="1209"/>
                    <a:pt x="4799" y="1246"/>
                    <a:pt x="4814" y="1282"/>
                  </a:cubicBezTo>
                  <a:cubicBezTo>
                    <a:pt x="4814" y="1289"/>
                    <a:pt x="4814" y="1297"/>
                    <a:pt x="4814" y="1304"/>
                  </a:cubicBezTo>
                  <a:cubicBezTo>
                    <a:pt x="4829" y="1348"/>
                    <a:pt x="4909" y="1407"/>
                    <a:pt x="4968" y="1414"/>
                  </a:cubicBezTo>
                  <a:cubicBezTo>
                    <a:pt x="5027" y="1421"/>
                    <a:pt x="5151" y="1495"/>
                    <a:pt x="5173" y="1509"/>
                  </a:cubicBezTo>
                  <a:cubicBezTo>
                    <a:pt x="5195" y="1524"/>
                    <a:pt x="5202" y="1539"/>
                    <a:pt x="5202" y="1560"/>
                  </a:cubicBezTo>
                  <a:cubicBezTo>
                    <a:pt x="5202" y="1582"/>
                    <a:pt x="5188" y="1604"/>
                    <a:pt x="5159" y="1618"/>
                  </a:cubicBezTo>
                  <a:cubicBezTo>
                    <a:pt x="5144" y="1633"/>
                    <a:pt x="5144" y="1640"/>
                    <a:pt x="5144" y="1669"/>
                  </a:cubicBezTo>
                  <a:cubicBezTo>
                    <a:pt x="5151" y="1691"/>
                    <a:pt x="5151" y="1706"/>
                    <a:pt x="5151" y="1728"/>
                  </a:cubicBezTo>
                  <a:cubicBezTo>
                    <a:pt x="5144" y="1743"/>
                    <a:pt x="5144" y="1772"/>
                    <a:pt x="5114" y="1772"/>
                  </a:cubicBezTo>
                  <a:cubicBezTo>
                    <a:pt x="5100" y="1772"/>
                    <a:pt x="5085" y="1757"/>
                    <a:pt x="5071" y="1714"/>
                  </a:cubicBezTo>
                  <a:cubicBezTo>
                    <a:pt x="5049" y="1669"/>
                    <a:pt x="5034" y="1669"/>
                    <a:pt x="5034" y="1669"/>
                  </a:cubicBezTo>
                  <a:cubicBezTo>
                    <a:pt x="5027" y="1669"/>
                    <a:pt x="5012" y="1677"/>
                    <a:pt x="4997" y="1684"/>
                  </a:cubicBezTo>
                  <a:cubicBezTo>
                    <a:pt x="4983" y="1699"/>
                    <a:pt x="4975" y="1706"/>
                    <a:pt x="4975" y="1714"/>
                  </a:cubicBezTo>
                  <a:cubicBezTo>
                    <a:pt x="4975" y="1721"/>
                    <a:pt x="4983" y="1736"/>
                    <a:pt x="5012" y="1750"/>
                  </a:cubicBezTo>
                  <a:cubicBezTo>
                    <a:pt x="5063" y="1772"/>
                    <a:pt x="5114" y="1787"/>
                    <a:pt x="5114" y="1787"/>
                  </a:cubicBezTo>
                  <a:cubicBezTo>
                    <a:pt x="5129" y="1794"/>
                    <a:pt x="5129" y="1794"/>
                    <a:pt x="5129" y="1794"/>
                  </a:cubicBezTo>
                  <a:cubicBezTo>
                    <a:pt x="5122" y="1809"/>
                    <a:pt x="5122" y="1809"/>
                    <a:pt x="5122" y="1809"/>
                  </a:cubicBezTo>
                  <a:cubicBezTo>
                    <a:pt x="5122" y="1809"/>
                    <a:pt x="5114" y="1831"/>
                    <a:pt x="5078" y="1867"/>
                  </a:cubicBezTo>
                  <a:cubicBezTo>
                    <a:pt x="5063" y="1875"/>
                    <a:pt x="5063" y="1875"/>
                    <a:pt x="5063" y="1875"/>
                  </a:cubicBezTo>
                  <a:cubicBezTo>
                    <a:pt x="5056" y="1882"/>
                    <a:pt x="5049" y="1897"/>
                    <a:pt x="5049" y="1897"/>
                  </a:cubicBezTo>
                  <a:cubicBezTo>
                    <a:pt x="5049" y="1904"/>
                    <a:pt x="5049" y="1904"/>
                    <a:pt x="5063" y="1919"/>
                  </a:cubicBezTo>
                  <a:cubicBezTo>
                    <a:pt x="5078" y="1933"/>
                    <a:pt x="5085" y="1941"/>
                    <a:pt x="5100" y="1948"/>
                  </a:cubicBezTo>
                  <a:cubicBezTo>
                    <a:pt x="5114" y="1955"/>
                    <a:pt x="5129" y="1963"/>
                    <a:pt x="5137" y="1985"/>
                  </a:cubicBezTo>
                  <a:cubicBezTo>
                    <a:pt x="5144" y="1985"/>
                    <a:pt x="5144" y="1992"/>
                    <a:pt x="5151" y="1992"/>
                  </a:cubicBezTo>
                  <a:cubicBezTo>
                    <a:pt x="5166" y="2014"/>
                    <a:pt x="5188" y="2043"/>
                    <a:pt x="5159" y="2102"/>
                  </a:cubicBezTo>
                  <a:cubicBezTo>
                    <a:pt x="5144" y="2117"/>
                    <a:pt x="5144" y="2131"/>
                    <a:pt x="5137" y="2146"/>
                  </a:cubicBezTo>
                  <a:cubicBezTo>
                    <a:pt x="5122" y="2168"/>
                    <a:pt x="5114" y="2197"/>
                    <a:pt x="5078" y="2197"/>
                  </a:cubicBezTo>
                  <a:cubicBezTo>
                    <a:pt x="5071" y="2197"/>
                    <a:pt x="5063" y="2197"/>
                    <a:pt x="5056" y="2190"/>
                  </a:cubicBezTo>
                  <a:cubicBezTo>
                    <a:pt x="5019" y="2182"/>
                    <a:pt x="5004" y="2160"/>
                    <a:pt x="4990" y="2146"/>
                  </a:cubicBezTo>
                  <a:cubicBezTo>
                    <a:pt x="4983" y="2138"/>
                    <a:pt x="4975" y="2124"/>
                    <a:pt x="4968" y="2124"/>
                  </a:cubicBezTo>
                  <a:cubicBezTo>
                    <a:pt x="4939" y="2146"/>
                    <a:pt x="4909" y="2168"/>
                    <a:pt x="4887" y="2168"/>
                  </a:cubicBezTo>
                  <a:cubicBezTo>
                    <a:pt x="4865" y="2168"/>
                    <a:pt x="4851" y="2160"/>
                    <a:pt x="4843" y="2146"/>
                  </a:cubicBezTo>
                  <a:cubicBezTo>
                    <a:pt x="4836" y="2131"/>
                    <a:pt x="4814" y="2124"/>
                    <a:pt x="4799" y="2124"/>
                  </a:cubicBezTo>
                  <a:cubicBezTo>
                    <a:pt x="4799" y="2124"/>
                    <a:pt x="4792" y="2124"/>
                    <a:pt x="4785" y="2131"/>
                  </a:cubicBezTo>
                  <a:cubicBezTo>
                    <a:pt x="4785" y="2131"/>
                    <a:pt x="4785" y="2146"/>
                    <a:pt x="4785" y="2153"/>
                  </a:cubicBezTo>
                  <a:cubicBezTo>
                    <a:pt x="4799" y="2248"/>
                    <a:pt x="4821" y="2278"/>
                    <a:pt x="4836" y="2292"/>
                  </a:cubicBezTo>
                  <a:cubicBezTo>
                    <a:pt x="4858" y="2307"/>
                    <a:pt x="4887" y="2329"/>
                    <a:pt x="4880" y="2358"/>
                  </a:cubicBezTo>
                  <a:cubicBezTo>
                    <a:pt x="4873" y="2373"/>
                    <a:pt x="4843" y="2380"/>
                    <a:pt x="4814" y="2380"/>
                  </a:cubicBezTo>
                  <a:cubicBezTo>
                    <a:pt x="4719" y="2380"/>
                    <a:pt x="4690" y="2373"/>
                    <a:pt x="4660" y="2358"/>
                  </a:cubicBezTo>
                  <a:cubicBezTo>
                    <a:pt x="4660" y="2358"/>
                    <a:pt x="4660" y="2358"/>
                    <a:pt x="4653" y="2358"/>
                  </a:cubicBezTo>
                  <a:cubicBezTo>
                    <a:pt x="4646" y="2358"/>
                    <a:pt x="4638" y="2366"/>
                    <a:pt x="4638" y="2373"/>
                  </a:cubicBezTo>
                  <a:cubicBezTo>
                    <a:pt x="4638" y="2373"/>
                    <a:pt x="4638" y="2373"/>
                    <a:pt x="4638" y="2380"/>
                  </a:cubicBezTo>
                  <a:cubicBezTo>
                    <a:pt x="4660" y="2388"/>
                    <a:pt x="4675" y="2395"/>
                    <a:pt x="4690" y="2395"/>
                  </a:cubicBezTo>
                  <a:cubicBezTo>
                    <a:pt x="4704" y="2402"/>
                    <a:pt x="4719" y="2402"/>
                    <a:pt x="4733" y="2410"/>
                  </a:cubicBezTo>
                  <a:cubicBezTo>
                    <a:pt x="4763" y="2424"/>
                    <a:pt x="4792" y="2446"/>
                    <a:pt x="4829" y="2483"/>
                  </a:cubicBezTo>
                  <a:cubicBezTo>
                    <a:pt x="4843" y="2498"/>
                    <a:pt x="4843" y="2498"/>
                    <a:pt x="4843" y="2498"/>
                  </a:cubicBezTo>
                  <a:cubicBezTo>
                    <a:pt x="4873" y="2519"/>
                    <a:pt x="4895" y="2541"/>
                    <a:pt x="4887" y="2564"/>
                  </a:cubicBezTo>
                  <a:cubicBezTo>
                    <a:pt x="4880" y="2586"/>
                    <a:pt x="4851" y="2593"/>
                    <a:pt x="4829" y="2593"/>
                  </a:cubicBezTo>
                  <a:cubicBezTo>
                    <a:pt x="4785" y="2593"/>
                    <a:pt x="4778" y="2607"/>
                    <a:pt x="4778" y="2607"/>
                  </a:cubicBezTo>
                  <a:cubicBezTo>
                    <a:pt x="4778" y="2615"/>
                    <a:pt x="4785" y="2629"/>
                    <a:pt x="4792" y="2637"/>
                  </a:cubicBezTo>
                  <a:cubicBezTo>
                    <a:pt x="4807" y="2659"/>
                    <a:pt x="4821" y="2688"/>
                    <a:pt x="4807" y="2717"/>
                  </a:cubicBezTo>
                  <a:cubicBezTo>
                    <a:pt x="4799" y="2732"/>
                    <a:pt x="4785" y="2739"/>
                    <a:pt x="4763" y="2739"/>
                  </a:cubicBezTo>
                  <a:cubicBezTo>
                    <a:pt x="4711" y="2739"/>
                    <a:pt x="4653" y="2754"/>
                    <a:pt x="4638" y="2805"/>
                  </a:cubicBezTo>
                  <a:cubicBezTo>
                    <a:pt x="4631" y="2820"/>
                    <a:pt x="4638" y="2835"/>
                    <a:pt x="4638" y="2857"/>
                  </a:cubicBezTo>
                  <a:cubicBezTo>
                    <a:pt x="4646" y="2879"/>
                    <a:pt x="4660" y="2915"/>
                    <a:pt x="4623" y="2937"/>
                  </a:cubicBezTo>
                  <a:cubicBezTo>
                    <a:pt x="4609" y="2952"/>
                    <a:pt x="4594" y="2959"/>
                    <a:pt x="4587" y="2959"/>
                  </a:cubicBezTo>
                  <a:lnTo>
                    <a:pt x="4580" y="2967"/>
                  </a:lnTo>
                  <a:cubicBezTo>
                    <a:pt x="4580" y="2967"/>
                    <a:pt x="4587" y="2967"/>
                    <a:pt x="4594" y="2974"/>
                  </a:cubicBezTo>
                  <a:cubicBezTo>
                    <a:pt x="4631" y="3010"/>
                    <a:pt x="4638" y="3055"/>
                    <a:pt x="4602" y="3106"/>
                  </a:cubicBezTo>
                  <a:cubicBezTo>
                    <a:pt x="4594" y="3113"/>
                    <a:pt x="4587" y="3135"/>
                    <a:pt x="4580" y="3150"/>
                  </a:cubicBezTo>
                  <a:cubicBezTo>
                    <a:pt x="4565" y="3194"/>
                    <a:pt x="4543" y="3238"/>
                    <a:pt x="4506" y="3238"/>
                  </a:cubicBezTo>
                  <a:cubicBezTo>
                    <a:pt x="4499" y="3238"/>
                    <a:pt x="4499" y="3238"/>
                    <a:pt x="4492" y="3238"/>
                  </a:cubicBezTo>
                  <a:cubicBezTo>
                    <a:pt x="4492" y="3245"/>
                    <a:pt x="4492" y="3267"/>
                    <a:pt x="4499" y="3289"/>
                  </a:cubicBezTo>
                  <a:cubicBezTo>
                    <a:pt x="4506" y="3304"/>
                    <a:pt x="4506" y="3304"/>
                    <a:pt x="4506" y="3304"/>
                  </a:cubicBezTo>
                  <a:cubicBezTo>
                    <a:pt x="4514" y="3355"/>
                    <a:pt x="4528" y="3369"/>
                    <a:pt x="4565" y="3369"/>
                  </a:cubicBezTo>
                  <a:cubicBezTo>
                    <a:pt x="4594" y="3369"/>
                    <a:pt x="4646" y="3369"/>
                    <a:pt x="4653" y="3355"/>
                  </a:cubicBezTo>
                  <a:cubicBezTo>
                    <a:pt x="4660" y="3355"/>
                    <a:pt x="4653" y="3348"/>
                    <a:pt x="4653" y="3340"/>
                  </a:cubicBezTo>
                  <a:cubicBezTo>
                    <a:pt x="4646" y="3318"/>
                    <a:pt x="4631" y="3296"/>
                    <a:pt x="4638" y="3274"/>
                  </a:cubicBezTo>
                  <a:cubicBezTo>
                    <a:pt x="4646" y="3252"/>
                    <a:pt x="4668" y="3238"/>
                    <a:pt x="4697" y="3223"/>
                  </a:cubicBezTo>
                  <a:cubicBezTo>
                    <a:pt x="4704" y="3223"/>
                    <a:pt x="4711" y="3216"/>
                    <a:pt x="4719" y="3216"/>
                  </a:cubicBezTo>
                  <a:cubicBezTo>
                    <a:pt x="4748" y="3201"/>
                    <a:pt x="4763" y="3186"/>
                    <a:pt x="4792" y="3186"/>
                  </a:cubicBezTo>
                  <a:cubicBezTo>
                    <a:pt x="4799" y="3186"/>
                    <a:pt x="4807" y="3186"/>
                    <a:pt x="4814" y="3194"/>
                  </a:cubicBezTo>
                  <a:cubicBezTo>
                    <a:pt x="4851" y="3201"/>
                    <a:pt x="4858" y="3223"/>
                    <a:pt x="4865" y="3245"/>
                  </a:cubicBezTo>
                  <a:cubicBezTo>
                    <a:pt x="4873" y="3260"/>
                    <a:pt x="4880" y="3274"/>
                    <a:pt x="4887" y="3289"/>
                  </a:cubicBezTo>
                  <a:cubicBezTo>
                    <a:pt x="4931" y="3340"/>
                    <a:pt x="4909" y="3399"/>
                    <a:pt x="4902" y="3421"/>
                  </a:cubicBezTo>
                  <a:cubicBezTo>
                    <a:pt x="4902" y="3436"/>
                    <a:pt x="4895" y="3443"/>
                    <a:pt x="4887" y="3443"/>
                  </a:cubicBezTo>
                  <a:cubicBezTo>
                    <a:pt x="4873" y="3443"/>
                    <a:pt x="4873" y="3436"/>
                    <a:pt x="4865" y="3428"/>
                  </a:cubicBezTo>
                  <a:lnTo>
                    <a:pt x="4865" y="3436"/>
                  </a:lnTo>
                  <a:cubicBezTo>
                    <a:pt x="4851" y="3465"/>
                    <a:pt x="4851" y="3479"/>
                    <a:pt x="4858" y="3509"/>
                  </a:cubicBezTo>
                  <a:cubicBezTo>
                    <a:pt x="4865" y="3523"/>
                    <a:pt x="4865" y="3538"/>
                    <a:pt x="4865" y="3553"/>
                  </a:cubicBezTo>
                  <a:cubicBezTo>
                    <a:pt x="4873" y="3604"/>
                    <a:pt x="4887" y="3663"/>
                    <a:pt x="4895" y="3677"/>
                  </a:cubicBezTo>
                  <a:cubicBezTo>
                    <a:pt x="4917" y="3699"/>
                    <a:pt x="4917" y="3699"/>
                    <a:pt x="4917" y="3699"/>
                  </a:cubicBezTo>
                  <a:cubicBezTo>
                    <a:pt x="4902" y="3707"/>
                    <a:pt x="4902" y="3707"/>
                    <a:pt x="4902" y="3707"/>
                  </a:cubicBezTo>
                  <a:cubicBezTo>
                    <a:pt x="4880" y="3729"/>
                    <a:pt x="4858" y="3750"/>
                    <a:pt x="4843" y="3765"/>
                  </a:cubicBezTo>
                  <a:cubicBezTo>
                    <a:pt x="4821" y="3795"/>
                    <a:pt x="4821" y="3817"/>
                    <a:pt x="4821" y="3846"/>
                  </a:cubicBezTo>
                  <a:cubicBezTo>
                    <a:pt x="4814" y="3868"/>
                    <a:pt x="4814" y="3897"/>
                    <a:pt x="4799" y="3926"/>
                  </a:cubicBezTo>
                  <a:cubicBezTo>
                    <a:pt x="4778" y="3963"/>
                    <a:pt x="4741" y="3985"/>
                    <a:pt x="4704" y="4014"/>
                  </a:cubicBezTo>
                  <a:cubicBezTo>
                    <a:pt x="4675" y="4036"/>
                    <a:pt x="4646" y="4058"/>
                    <a:pt x="4616" y="4088"/>
                  </a:cubicBezTo>
                  <a:cubicBezTo>
                    <a:pt x="4565" y="4139"/>
                    <a:pt x="4484" y="4154"/>
                    <a:pt x="4418" y="4154"/>
                  </a:cubicBezTo>
                  <a:cubicBezTo>
                    <a:pt x="4382" y="4154"/>
                    <a:pt x="4345" y="4146"/>
                    <a:pt x="4323" y="4132"/>
                  </a:cubicBezTo>
                  <a:cubicBezTo>
                    <a:pt x="4309" y="4124"/>
                    <a:pt x="4309" y="4124"/>
                    <a:pt x="4309" y="4124"/>
                  </a:cubicBezTo>
                  <a:cubicBezTo>
                    <a:pt x="4294" y="4117"/>
                    <a:pt x="4279" y="4110"/>
                    <a:pt x="4272" y="4110"/>
                  </a:cubicBezTo>
                  <a:cubicBezTo>
                    <a:pt x="4257" y="4110"/>
                    <a:pt x="4235" y="4124"/>
                    <a:pt x="4206" y="4161"/>
                  </a:cubicBezTo>
                  <a:cubicBezTo>
                    <a:pt x="4169" y="4219"/>
                    <a:pt x="4184" y="4256"/>
                    <a:pt x="4199" y="4300"/>
                  </a:cubicBezTo>
                  <a:cubicBezTo>
                    <a:pt x="4213" y="4322"/>
                    <a:pt x="4221" y="4351"/>
                    <a:pt x="4221" y="4381"/>
                  </a:cubicBezTo>
                  <a:cubicBezTo>
                    <a:pt x="4221" y="4454"/>
                    <a:pt x="4199" y="4483"/>
                    <a:pt x="4162" y="4520"/>
                  </a:cubicBezTo>
                  <a:cubicBezTo>
                    <a:pt x="4155" y="4535"/>
                    <a:pt x="4147" y="4542"/>
                    <a:pt x="4140" y="4549"/>
                  </a:cubicBezTo>
                  <a:cubicBezTo>
                    <a:pt x="4111" y="4586"/>
                    <a:pt x="4089" y="4586"/>
                    <a:pt x="4059" y="4593"/>
                  </a:cubicBezTo>
                  <a:cubicBezTo>
                    <a:pt x="4037" y="4600"/>
                    <a:pt x="4015" y="4608"/>
                    <a:pt x="3993" y="4630"/>
                  </a:cubicBezTo>
                  <a:cubicBezTo>
                    <a:pt x="3986" y="4637"/>
                    <a:pt x="3979" y="4645"/>
                    <a:pt x="3979" y="4652"/>
                  </a:cubicBezTo>
                  <a:cubicBezTo>
                    <a:pt x="3986" y="4667"/>
                    <a:pt x="4015" y="4681"/>
                    <a:pt x="4037" y="4681"/>
                  </a:cubicBezTo>
                  <a:cubicBezTo>
                    <a:pt x="4096" y="4696"/>
                    <a:pt x="4096" y="4696"/>
                    <a:pt x="4096" y="4696"/>
                  </a:cubicBezTo>
                  <a:cubicBezTo>
                    <a:pt x="4045" y="4710"/>
                    <a:pt x="4045" y="4710"/>
                    <a:pt x="4045" y="4710"/>
                  </a:cubicBezTo>
                  <a:cubicBezTo>
                    <a:pt x="4037" y="4718"/>
                    <a:pt x="3942" y="4747"/>
                    <a:pt x="3876" y="4747"/>
                  </a:cubicBezTo>
                  <a:cubicBezTo>
                    <a:pt x="3847" y="4747"/>
                    <a:pt x="3832" y="4740"/>
                    <a:pt x="3825" y="4732"/>
                  </a:cubicBezTo>
                  <a:cubicBezTo>
                    <a:pt x="3803" y="4710"/>
                    <a:pt x="3744" y="4703"/>
                    <a:pt x="3700" y="4703"/>
                  </a:cubicBezTo>
                  <a:cubicBezTo>
                    <a:pt x="3708" y="4740"/>
                    <a:pt x="3715" y="4813"/>
                    <a:pt x="3715" y="4857"/>
                  </a:cubicBezTo>
                  <a:cubicBezTo>
                    <a:pt x="3715" y="4879"/>
                    <a:pt x="3722" y="4886"/>
                    <a:pt x="3744" y="4894"/>
                  </a:cubicBezTo>
                  <a:cubicBezTo>
                    <a:pt x="3759" y="4908"/>
                    <a:pt x="3781" y="4916"/>
                    <a:pt x="3781" y="4952"/>
                  </a:cubicBezTo>
                  <a:cubicBezTo>
                    <a:pt x="3781" y="4974"/>
                    <a:pt x="3766" y="4996"/>
                    <a:pt x="3752" y="5011"/>
                  </a:cubicBezTo>
                  <a:cubicBezTo>
                    <a:pt x="3737" y="5033"/>
                    <a:pt x="3722" y="5048"/>
                    <a:pt x="3722" y="5077"/>
                  </a:cubicBezTo>
                  <a:cubicBezTo>
                    <a:pt x="3722" y="5136"/>
                    <a:pt x="3686" y="5172"/>
                    <a:pt x="3612" y="5201"/>
                  </a:cubicBezTo>
                  <a:cubicBezTo>
                    <a:pt x="3598" y="5209"/>
                    <a:pt x="3583" y="5209"/>
                    <a:pt x="3568" y="5209"/>
                  </a:cubicBezTo>
                  <a:cubicBezTo>
                    <a:pt x="3502" y="5209"/>
                    <a:pt x="3444" y="5165"/>
                    <a:pt x="3414" y="5128"/>
                  </a:cubicBezTo>
                  <a:cubicBezTo>
                    <a:pt x="3378" y="5077"/>
                    <a:pt x="3327" y="5048"/>
                    <a:pt x="3297" y="5033"/>
                  </a:cubicBezTo>
                  <a:cubicBezTo>
                    <a:pt x="3283" y="5026"/>
                    <a:pt x="3253" y="5018"/>
                    <a:pt x="3209" y="5018"/>
                  </a:cubicBezTo>
                  <a:cubicBezTo>
                    <a:pt x="3165" y="5018"/>
                    <a:pt x="3107" y="5026"/>
                    <a:pt x="3077" y="5033"/>
                  </a:cubicBezTo>
                  <a:cubicBezTo>
                    <a:pt x="3041" y="5040"/>
                    <a:pt x="2975" y="5121"/>
                    <a:pt x="2938" y="5172"/>
                  </a:cubicBezTo>
                  <a:cubicBezTo>
                    <a:pt x="2916" y="5157"/>
                    <a:pt x="2916" y="5157"/>
                    <a:pt x="2916" y="5157"/>
                  </a:cubicBezTo>
                  <a:cubicBezTo>
                    <a:pt x="2923" y="5136"/>
                    <a:pt x="2931" y="5114"/>
                    <a:pt x="2931" y="5106"/>
                  </a:cubicBezTo>
                  <a:cubicBezTo>
                    <a:pt x="2923" y="5114"/>
                    <a:pt x="2916" y="5114"/>
                    <a:pt x="2916" y="5114"/>
                  </a:cubicBezTo>
                  <a:cubicBezTo>
                    <a:pt x="2894" y="5114"/>
                    <a:pt x="2880" y="5106"/>
                    <a:pt x="2865" y="5099"/>
                  </a:cubicBezTo>
                  <a:cubicBezTo>
                    <a:pt x="2850" y="5099"/>
                    <a:pt x="2828" y="5091"/>
                    <a:pt x="2799" y="5091"/>
                  </a:cubicBezTo>
                  <a:cubicBezTo>
                    <a:pt x="2784" y="5091"/>
                    <a:pt x="2770" y="5091"/>
                    <a:pt x="2748" y="5099"/>
                  </a:cubicBezTo>
                  <a:cubicBezTo>
                    <a:pt x="2667" y="5128"/>
                    <a:pt x="2660" y="5157"/>
                    <a:pt x="2623" y="5231"/>
                  </a:cubicBezTo>
                  <a:cubicBezTo>
                    <a:pt x="2623" y="5238"/>
                    <a:pt x="2623" y="5238"/>
                    <a:pt x="2623" y="5238"/>
                  </a:cubicBezTo>
                  <a:cubicBezTo>
                    <a:pt x="2594" y="5304"/>
                    <a:pt x="2630" y="5333"/>
                    <a:pt x="2682" y="5370"/>
                  </a:cubicBezTo>
                  <a:cubicBezTo>
                    <a:pt x="2755" y="5407"/>
                    <a:pt x="2711" y="5517"/>
                    <a:pt x="2689" y="5553"/>
                  </a:cubicBezTo>
                  <a:cubicBezTo>
                    <a:pt x="2667" y="5597"/>
                    <a:pt x="2667" y="5722"/>
                    <a:pt x="2689" y="5817"/>
                  </a:cubicBezTo>
                  <a:cubicBezTo>
                    <a:pt x="2711" y="5905"/>
                    <a:pt x="2762" y="5993"/>
                    <a:pt x="2799" y="6051"/>
                  </a:cubicBezTo>
                  <a:cubicBezTo>
                    <a:pt x="2828" y="6095"/>
                    <a:pt x="2828" y="6095"/>
                    <a:pt x="2828" y="6095"/>
                  </a:cubicBezTo>
                  <a:cubicBezTo>
                    <a:pt x="2858" y="6147"/>
                    <a:pt x="2887" y="6191"/>
                    <a:pt x="2894" y="6264"/>
                  </a:cubicBezTo>
                  <a:cubicBezTo>
                    <a:pt x="2902" y="6286"/>
                    <a:pt x="2902" y="6300"/>
                    <a:pt x="2909" y="6323"/>
                  </a:cubicBezTo>
                  <a:cubicBezTo>
                    <a:pt x="2916" y="6359"/>
                    <a:pt x="2923" y="6388"/>
                    <a:pt x="2909" y="6447"/>
                  </a:cubicBezTo>
                  <a:cubicBezTo>
                    <a:pt x="2894" y="6491"/>
                    <a:pt x="2880" y="6506"/>
                    <a:pt x="2865" y="6513"/>
                  </a:cubicBezTo>
                  <a:cubicBezTo>
                    <a:pt x="2858" y="6528"/>
                    <a:pt x="2850" y="6528"/>
                    <a:pt x="2850" y="6557"/>
                  </a:cubicBezTo>
                  <a:cubicBezTo>
                    <a:pt x="2850" y="6579"/>
                    <a:pt x="2850" y="6601"/>
                    <a:pt x="2858" y="6616"/>
                  </a:cubicBezTo>
                  <a:cubicBezTo>
                    <a:pt x="2865" y="6645"/>
                    <a:pt x="2865" y="6674"/>
                    <a:pt x="2850" y="6718"/>
                  </a:cubicBezTo>
                  <a:cubicBezTo>
                    <a:pt x="2836" y="6755"/>
                    <a:pt x="2821" y="6769"/>
                    <a:pt x="2806" y="6769"/>
                  </a:cubicBezTo>
                  <a:cubicBezTo>
                    <a:pt x="2792" y="6777"/>
                    <a:pt x="2784" y="6777"/>
                    <a:pt x="2784" y="6814"/>
                  </a:cubicBezTo>
                  <a:cubicBezTo>
                    <a:pt x="2777" y="6836"/>
                    <a:pt x="2784" y="6836"/>
                    <a:pt x="2784" y="6836"/>
                  </a:cubicBezTo>
                  <a:cubicBezTo>
                    <a:pt x="2799" y="6836"/>
                    <a:pt x="2799" y="6836"/>
                    <a:pt x="2799" y="6836"/>
                  </a:cubicBezTo>
                  <a:lnTo>
                    <a:pt x="2806" y="6836"/>
                  </a:lnTo>
                  <a:cubicBezTo>
                    <a:pt x="2814" y="6836"/>
                    <a:pt x="2836" y="6836"/>
                    <a:pt x="2850" y="6857"/>
                  </a:cubicBezTo>
                  <a:cubicBezTo>
                    <a:pt x="2858" y="6872"/>
                    <a:pt x="2865" y="6894"/>
                    <a:pt x="2865" y="6916"/>
                  </a:cubicBezTo>
                  <a:cubicBezTo>
                    <a:pt x="2865" y="6924"/>
                    <a:pt x="2865" y="6924"/>
                    <a:pt x="2865" y="6924"/>
                  </a:cubicBezTo>
                  <a:cubicBezTo>
                    <a:pt x="2814" y="6967"/>
                    <a:pt x="2814" y="6967"/>
                    <a:pt x="2814" y="6967"/>
                  </a:cubicBezTo>
                  <a:cubicBezTo>
                    <a:pt x="2894" y="7092"/>
                    <a:pt x="2894" y="7092"/>
                    <a:pt x="2894" y="7092"/>
                  </a:cubicBezTo>
                  <a:cubicBezTo>
                    <a:pt x="2872" y="7114"/>
                    <a:pt x="2872" y="7114"/>
                    <a:pt x="2872" y="7114"/>
                  </a:cubicBezTo>
                  <a:cubicBezTo>
                    <a:pt x="2858" y="7107"/>
                    <a:pt x="2806" y="7077"/>
                    <a:pt x="2777" y="7077"/>
                  </a:cubicBezTo>
                  <a:cubicBezTo>
                    <a:pt x="2755" y="7077"/>
                    <a:pt x="2748" y="7085"/>
                    <a:pt x="2748" y="7085"/>
                  </a:cubicBezTo>
                  <a:cubicBezTo>
                    <a:pt x="2740" y="7099"/>
                    <a:pt x="2733" y="7114"/>
                    <a:pt x="2726" y="7129"/>
                  </a:cubicBezTo>
                  <a:cubicBezTo>
                    <a:pt x="2711" y="7158"/>
                    <a:pt x="2704" y="7195"/>
                    <a:pt x="2667" y="7195"/>
                  </a:cubicBezTo>
                  <a:cubicBezTo>
                    <a:pt x="2652" y="7195"/>
                    <a:pt x="2630" y="7187"/>
                    <a:pt x="2609" y="7173"/>
                  </a:cubicBezTo>
                  <a:cubicBezTo>
                    <a:pt x="2587" y="7158"/>
                    <a:pt x="2572" y="7143"/>
                    <a:pt x="2557" y="7143"/>
                  </a:cubicBezTo>
                  <a:cubicBezTo>
                    <a:pt x="2535" y="7143"/>
                    <a:pt x="2528" y="7165"/>
                    <a:pt x="2513" y="7224"/>
                  </a:cubicBezTo>
                  <a:cubicBezTo>
                    <a:pt x="2506" y="7246"/>
                    <a:pt x="2499" y="7268"/>
                    <a:pt x="2499" y="7283"/>
                  </a:cubicBezTo>
                  <a:cubicBezTo>
                    <a:pt x="2499" y="7312"/>
                    <a:pt x="2491" y="7334"/>
                    <a:pt x="2455" y="7356"/>
                  </a:cubicBezTo>
                  <a:cubicBezTo>
                    <a:pt x="2447" y="7356"/>
                    <a:pt x="2425" y="7378"/>
                    <a:pt x="2411" y="7400"/>
                  </a:cubicBezTo>
                  <a:cubicBezTo>
                    <a:pt x="2352" y="7444"/>
                    <a:pt x="2315" y="7480"/>
                    <a:pt x="2286" y="748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" name="Freeform 19"/>
            <p:cNvSpPr>
              <a:spLocks noChangeArrowheads="1"/>
            </p:cNvSpPr>
            <p:nvPr/>
          </p:nvSpPr>
          <p:spPr bwMode="auto">
            <a:xfrm>
              <a:off x="4876839" y="6897041"/>
              <a:ext cx="2011769" cy="2854413"/>
            </a:xfrm>
            <a:custGeom>
              <a:avLst/>
              <a:gdLst>
                <a:gd name="T0" fmla="*/ 3950 w 5240"/>
                <a:gd name="T1" fmla="*/ 271 h 7511"/>
                <a:gd name="T2" fmla="*/ 4074 w 5240"/>
                <a:gd name="T3" fmla="*/ 1165 h 7511"/>
                <a:gd name="T4" fmla="*/ 4528 w 5240"/>
                <a:gd name="T5" fmla="*/ 813 h 7511"/>
                <a:gd name="T6" fmla="*/ 5159 w 5240"/>
                <a:gd name="T7" fmla="*/ 1743 h 7511"/>
                <a:gd name="T8" fmla="*/ 5078 w 5240"/>
                <a:gd name="T9" fmla="*/ 2190 h 7511"/>
                <a:gd name="T10" fmla="*/ 4748 w 5240"/>
                <a:gd name="T11" fmla="*/ 2439 h 7511"/>
                <a:gd name="T12" fmla="*/ 4690 w 5240"/>
                <a:gd name="T13" fmla="*/ 3348 h 7511"/>
                <a:gd name="T14" fmla="*/ 4851 w 5240"/>
                <a:gd name="T15" fmla="*/ 3773 h 7511"/>
                <a:gd name="T16" fmla="*/ 3854 w 5240"/>
                <a:gd name="T17" fmla="*/ 4740 h 7511"/>
                <a:gd name="T18" fmla="*/ 2953 w 5240"/>
                <a:gd name="T19" fmla="*/ 5106 h 7511"/>
                <a:gd name="T20" fmla="*/ 2858 w 5240"/>
                <a:gd name="T21" fmla="*/ 6572 h 7511"/>
                <a:gd name="T22" fmla="*/ 2689 w 5240"/>
                <a:gd name="T23" fmla="*/ 7195 h 7511"/>
                <a:gd name="T24" fmla="*/ 1890 w 5240"/>
                <a:gd name="T25" fmla="*/ 6755 h 7511"/>
                <a:gd name="T26" fmla="*/ 1473 w 5240"/>
                <a:gd name="T27" fmla="*/ 6338 h 7511"/>
                <a:gd name="T28" fmla="*/ 542 w 5240"/>
                <a:gd name="T29" fmla="*/ 5524 h 7511"/>
                <a:gd name="T30" fmla="*/ 366 w 5240"/>
                <a:gd name="T31" fmla="*/ 5084 h 7511"/>
                <a:gd name="T32" fmla="*/ 718 w 5240"/>
                <a:gd name="T33" fmla="*/ 4638 h 7511"/>
                <a:gd name="T34" fmla="*/ 733 w 5240"/>
                <a:gd name="T35" fmla="*/ 3729 h 7511"/>
                <a:gd name="T36" fmla="*/ 1158 w 5240"/>
                <a:gd name="T37" fmla="*/ 2593 h 7511"/>
                <a:gd name="T38" fmla="*/ 1890 w 5240"/>
                <a:gd name="T39" fmla="*/ 1860 h 7511"/>
                <a:gd name="T40" fmla="*/ 1824 w 5240"/>
                <a:gd name="T41" fmla="*/ 1378 h 7511"/>
                <a:gd name="T42" fmla="*/ 2543 w 5240"/>
                <a:gd name="T43" fmla="*/ 784 h 7511"/>
                <a:gd name="T44" fmla="*/ 3349 w 5240"/>
                <a:gd name="T45" fmla="*/ 183 h 7511"/>
                <a:gd name="T46" fmla="*/ 3363 w 5240"/>
                <a:gd name="T47" fmla="*/ 249 h 7511"/>
                <a:gd name="T48" fmla="*/ 2674 w 5240"/>
                <a:gd name="T49" fmla="*/ 440 h 7511"/>
                <a:gd name="T50" fmla="*/ 2330 w 5240"/>
                <a:gd name="T51" fmla="*/ 894 h 7511"/>
                <a:gd name="T52" fmla="*/ 1714 w 5240"/>
                <a:gd name="T53" fmla="*/ 1304 h 7511"/>
                <a:gd name="T54" fmla="*/ 2022 w 5240"/>
                <a:gd name="T55" fmla="*/ 1663 h 7511"/>
                <a:gd name="T56" fmla="*/ 1605 w 5240"/>
                <a:gd name="T57" fmla="*/ 2153 h 7511"/>
                <a:gd name="T58" fmla="*/ 1121 w 5240"/>
                <a:gd name="T59" fmla="*/ 2520 h 7511"/>
                <a:gd name="T60" fmla="*/ 762 w 5240"/>
                <a:gd name="T61" fmla="*/ 3223 h 7511"/>
                <a:gd name="T62" fmla="*/ 447 w 5240"/>
                <a:gd name="T63" fmla="*/ 3846 h 7511"/>
                <a:gd name="T64" fmla="*/ 681 w 5240"/>
                <a:gd name="T65" fmla="*/ 4425 h 7511"/>
                <a:gd name="T66" fmla="*/ 571 w 5240"/>
                <a:gd name="T67" fmla="*/ 4747 h 7511"/>
                <a:gd name="T68" fmla="*/ 337 w 5240"/>
                <a:gd name="T69" fmla="*/ 5077 h 7511"/>
                <a:gd name="T70" fmla="*/ 147 w 5240"/>
                <a:gd name="T71" fmla="*/ 5458 h 7511"/>
                <a:gd name="T72" fmla="*/ 894 w 5240"/>
                <a:gd name="T73" fmla="*/ 5414 h 7511"/>
                <a:gd name="T74" fmla="*/ 1290 w 5240"/>
                <a:gd name="T75" fmla="*/ 6125 h 7511"/>
                <a:gd name="T76" fmla="*/ 1407 w 5240"/>
                <a:gd name="T77" fmla="*/ 6909 h 7511"/>
                <a:gd name="T78" fmla="*/ 2118 w 5240"/>
                <a:gd name="T79" fmla="*/ 7144 h 7511"/>
                <a:gd name="T80" fmla="*/ 2440 w 5240"/>
                <a:gd name="T81" fmla="*/ 7422 h 7511"/>
                <a:gd name="T82" fmla="*/ 2850 w 5240"/>
                <a:gd name="T83" fmla="*/ 6990 h 7511"/>
                <a:gd name="T84" fmla="*/ 2828 w 5240"/>
                <a:gd name="T85" fmla="*/ 6799 h 7511"/>
                <a:gd name="T86" fmla="*/ 2726 w 5240"/>
                <a:gd name="T87" fmla="*/ 5575 h 7511"/>
                <a:gd name="T88" fmla="*/ 3312 w 5240"/>
                <a:gd name="T89" fmla="*/ 5063 h 7511"/>
                <a:gd name="T90" fmla="*/ 4067 w 5240"/>
                <a:gd name="T91" fmla="*/ 4740 h 7511"/>
                <a:gd name="T92" fmla="*/ 4323 w 5240"/>
                <a:gd name="T93" fmla="*/ 4154 h 7511"/>
                <a:gd name="T94" fmla="*/ 4902 w 5240"/>
                <a:gd name="T95" fmla="*/ 3568 h 7511"/>
                <a:gd name="T96" fmla="*/ 4660 w 5240"/>
                <a:gd name="T97" fmla="*/ 3363 h 7511"/>
                <a:gd name="T98" fmla="*/ 4785 w 5240"/>
                <a:gd name="T99" fmla="*/ 2769 h 7511"/>
                <a:gd name="T100" fmla="*/ 4865 w 5240"/>
                <a:gd name="T101" fmla="*/ 2293 h 7511"/>
                <a:gd name="T102" fmla="*/ 5188 w 5240"/>
                <a:gd name="T103" fmla="*/ 2124 h 7511"/>
                <a:gd name="T104" fmla="*/ 5188 w 5240"/>
                <a:gd name="T105" fmla="*/ 1684 h 7511"/>
                <a:gd name="T106" fmla="*/ 4609 w 5240"/>
                <a:gd name="T107" fmla="*/ 931 h 7511"/>
                <a:gd name="T108" fmla="*/ 4272 w 5240"/>
                <a:gd name="T109" fmla="*/ 857 h 7511"/>
                <a:gd name="T110" fmla="*/ 3862 w 5240"/>
                <a:gd name="T111" fmla="*/ 1026 h 7511"/>
                <a:gd name="T112" fmla="*/ 3986 w 5240"/>
                <a:gd name="T113" fmla="*/ 374 h 7511"/>
                <a:gd name="T114" fmla="*/ 3678 w 5240"/>
                <a:gd name="T115" fmla="*/ 66 h 7511"/>
                <a:gd name="T116" fmla="*/ 5012 w 5240"/>
                <a:gd name="T117" fmla="*/ 1729 h 7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40" h="7511">
                  <a:moveTo>
                    <a:pt x="3605" y="30"/>
                  </a:moveTo>
                  <a:lnTo>
                    <a:pt x="3605" y="30"/>
                  </a:lnTo>
                  <a:cubicBezTo>
                    <a:pt x="3605" y="30"/>
                    <a:pt x="3612" y="30"/>
                    <a:pt x="3612" y="37"/>
                  </a:cubicBezTo>
                  <a:cubicBezTo>
                    <a:pt x="3656" y="44"/>
                    <a:pt x="3649" y="117"/>
                    <a:pt x="3693" y="117"/>
                  </a:cubicBezTo>
                  <a:cubicBezTo>
                    <a:pt x="3708" y="117"/>
                    <a:pt x="3730" y="117"/>
                    <a:pt x="3744" y="117"/>
                  </a:cubicBezTo>
                  <a:cubicBezTo>
                    <a:pt x="3766" y="117"/>
                    <a:pt x="3788" y="117"/>
                    <a:pt x="3825" y="103"/>
                  </a:cubicBezTo>
                  <a:cubicBezTo>
                    <a:pt x="3847" y="88"/>
                    <a:pt x="3876" y="81"/>
                    <a:pt x="3898" y="81"/>
                  </a:cubicBezTo>
                  <a:cubicBezTo>
                    <a:pt x="3927" y="81"/>
                    <a:pt x="3942" y="88"/>
                    <a:pt x="3950" y="110"/>
                  </a:cubicBezTo>
                  <a:cubicBezTo>
                    <a:pt x="3957" y="154"/>
                    <a:pt x="4023" y="205"/>
                    <a:pt x="4052" y="220"/>
                  </a:cubicBezTo>
                  <a:cubicBezTo>
                    <a:pt x="4074" y="235"/>
                    <a:pt x="4067" y="293"/>
                    <a:pt x="4030" y="293"/>
                  </a:cubicBezTo>
                  <a:cubicBezTo>
                    <a:pt x="4023" y="293"/>
                    <a:pt x="4015" y="293"/>
                    <a:pt x="4008" y="286"/>
                  </a:cubicBezTo>
                  <a:cubicBezTo>
                    <a:pt x="3986" y="279"/>
                    <a:pt x="3964" y="271"/>
                    <a:pt x="3950" y="271"/>
                  </a:cubicBezTo>
                  <a:cubicBezTo>
                    <a:pt x="3927" y="271"/>
                    <a:pt x="3913" y="286"/>
                    <a:pt x="3935" y="308"/>
                  </a:cubicBezTo>
                  <a:cubicBezTo>
                    <a:pt x="3957" y="337"/>
                    <a:pt x="3979" y="366"/>
                    <a:pt x="3942" y="366"/>
                  </a:cubicBezTo>
                  <a:lnTo>
                    <a:pt x="3935" y="366"/>
                  </a:lnTo>
                  <a:cubicBezTo>
                    <a:pt x="3927" y="366"/>
                    <a:pt x="3927" y="366"/>
                    <a:pt x="3920" y="366"/>
                  </a:cubicBezTo>
                  <a:cubicBezTo>
                    <a:pt x="3891" y="366"/>
                    <a:pt x="3942" y="411"/>
                    <a:pt x="3905" y="440"/>
                  </a:cubicBezTo>
                  <a:cubicBezTo>
                    <a:pt x="3862" y="476"/>
                    <a:pt x="3869" y="521"/>
                    <a:pt x="3898" y="542"/>
                  </a:cubicBezTo>
                  <a:cubicBezTo>
                    <a:pt x="3920" y="572"/>
                    <a:pt x="3957" y="652"/>
                    <a:pt x="3950" y="689"/>
                  </a:cubicBezTo>
                  <a:cubicBezTo>
                    <a:pt x="3942" y="726"/>
                    <a:pt x="3993" y="740"/>
                    <a:pt x="3964" y="792"/>
                  </a:cubicBezTo>
                  <a:cubicBezTo>
                    <a:pt x="3942" y="843"/>
                    <a:pt x="3950" y="850"/>
                    <a:pt x="3891" y="857"/>
                  </a:cubicBezTo>
                  <a:cubicBezTo>
                    <a:pt x="3832" y="865"/>
                    <a:pt x="3825" y="894"/>
                    <a:pt x="3810" y="938"/>
                  </a:cubicBezTo>
                  <a:cubicBezTo>
                    <a:pt x="3803" y="975"/>
                    <a:pt x="3788" y="1019"/>
                    <a:pt x="3847" y="1055"/>
                  </a:cubicBezTo>
                  <a:cubicBezTo>
                    <a:pt x="3905" y="1085"/>
                    <a:pt x="4052" y="1129"/>
                    <a:pt x="4074" y="1165"/>
                  </a:cubicBezTo>
                  <a:cubicBezTo>
                    <a:pt x="4096" y="1187"/>
                    <a:pt x="4118" y="1216"/>
                    <a:pt x="4147" y="1216"/>
                  </a:cubicBezTo>
                  <a:cubicBezTo>
                    <a:pt x="4162" y="1216"/>
                    <a:pt x="4177" y="1209"/>
                    <a:pt x="4184" y="1202"/>
                  </a:cubicBezTo>
                  <a:cubicBezTo>
                    <a:pt x="4228" y="1158"/>
                    <a:pt x="4264" y="1129"/>
                    <a:pt x="4206" y="1106"/>
                  </a:cubicBezTo>
                  <a:cubicBezTo>
                    <a:pt x="4147" y="1077"/>
                    <a:pt x="4118" y="1026"/>
                    <a:pt x="4118" y="1004"/>
                  </a:cubicBezTo>
                  <a:cubicBezTo>
                    <a:pt x="4118" y="975"/>
                    <a:pt x="4125" y="997"/>
                    <a:pt x="4177" y="960"/>
                  </a:cubicBezTo>
                  <a:cubicBezTo>
                    <a:pt x="4228" y="923"/>
                    <a:pt x="4279" y="909"/>
                    <a:pt x="4294" y="865"/>
                  </a:cubicBezTo>
                  <a:cubicBezTo>
                    <a:pt x="4309" y="835"/>
                    <a:pt x="4338" y="813"/>
                    <a:pt x="4360" y="813"/>
                  </a:cubicBezTo>
                  <a:cubicBezTo>
                    <a:pt x="4374" y="813"/>
                    <a:pt x="4382" y="821"/>
                    <a:pt x="4382" y="835"/>
                  </a:cubicBezTo>
                  <a:cubicBezTo>
                    <a:pt x="4389" y="865"/>
                    <a:pt x="4411" y="902"/>
                    <a:pt x="4411" y="902"/>
                  </a:cubicBezTo>
                  <a:cubicBezTo>
                    <a:pt x="4411" y="902"/>
                    <a:pt x="4389" y="813"/>
                    <a:pt x="4433" y="799"/>
                  </a:cubicBezTo>
                  <a:cubicBezTo>
                    <a:pt x="4448" y="792"/>
                    <a:pt x="4462" y="792"/>
                    <a:pt x="4470" y="792"/>
                  </a:cubicBezTo>
                  <a:cubicBezTo>
                    <a:pt x="4492" y="792"/>
                    <a:pt x="4506" y="799"/>
                    <a:pt x="4528" y="813"/>
                  </a:cubicBezTo>
                  <a:cubicBezTo>
                    <a:pt x="4558" y="835"/>
                    <a:pt x="4572" y="872"/>
                    <a:pt x="4580" y="909"/>
                  </a:cubicBezTo>
                  <a:cubicBezTo>
                    <a:pt x="4558" y="916"/>
                    <a:pt x="4550" y="916"/>
                    <a:pt x="4550" y="916"/>
                  </a:cubicBezTo>
                  <a:cubicBezTo>
                    <a:pt x="4550" y="916"/>
                    <a:pt x="4558" y="916"/>
                    <a:pt x="4580" y="909"/>
                  </a:cubicBezTo>
                  <a:lnTo>
                    <a:pt x="4580" y="916"/>
                  </a:lnTo>
                  <a:cubicBezTo>
                    <a:pt x="4580" y="953"/>
                    <a:pt x="4558" y="1048"/>
                    <a:pt x="4594" y="1070"/>
                  </a:cubicBezTo>
                  <a:cubicBezTo>
                    <a:pt x="4631" y="1099"/>
                    <a:pt x="4609" y="1129"/>
                    <a:pt x="4638" y="1173"/>
                  </a:cubicBezTo>
                  <a:cubicBezTo>
                    <a:pt x="4660" y="1216"/>
                    <a:pt x="4690" y="1239"/>
                    <a:pt x="4748" y="1239"/>
                  </a:cubicBezTo>
                  <a:cubicBezTo>
                    <a:pt x="4807" y="1239"/>
                    <a:pt x="4807" y="1275"/>
                    <a:pt x="4821" y="1326"/>
                  </a:cubicBezTo>
                  <a:cubicBezTo>
                    <a:pt x="4843" y="1378"/>
                    <a:pt x="4924" y="1436"/>
                    <a:pt x="4983" y="1444"/>
                  </a:cubicBezTo>
                  <a:cubicBezTo>
                    <a:pt x="5049" y="1451"/>
                    <a:pt x="5166" y="1524"/>
                    <a:pt x="5188" y="1539"/>
                  </a:cubicBezTo>
                  <a:cubicBezTo>
                    <a:pt x="5217" y="1554"/>
                    <a:pt x="5217" y="1597"/>
                    <a:pt x="5173" y="1626"/>
                  </a:cubicBezTo>
                  <a:cubicBezTo>
                    <a:pt x="5129" y="1648"/>
                    <a:pt x="5166" y="1692"/>
                    <a:pt x="5159" y="1743"/>
                  </a:cubicBezTo>
                  <a:cubicBezTo>
                    <a:pt x="5151" y="1765"/>
                    <a:pt x="5144" y="1772"/>
                    <a:pt x="5136" y="1772"/>
                  </a:cubicBezTo>
                  <a:cubicBezTo>
                    <a:pt x="5129" y="1772"/>
                    <a:pt x="5122" y="1758"/>
                    <a:pt x="5107" y="1721"/>
                  </a:cubicBezTo>
                  <a:cubicBezTo>
                    <a:pt x="5093" y="1684"/>
                    <a:pt x="5071" y="1670"/>
                    <a:pt x="5056" y="1670"/>
                  </a:cubicBezTo>
                  <a:cubicBezTo>
                    <a:pt x="5041" y="1670"/>
                    <a:pt x="5026" y="1677"/>
                    <a:pt x="5012" y="1692"/>
                  </a:cubicBezTo>
                  <a:cubicBezTo>
                    <a:pt x="4968" y="1721"/>
                    <a:pt x="4975" y="1751"/>
                    <a:pt x="5026" y="1772"/>
                  </a:cubicBezTo>
                  <a:cubicBezTo>
                    <a:pt x="5078" y="1802"/>
                    <a:pt x="5129" y="1816"/>
                    <a:pt x="5129" y="1816"/>
                  </a:cubicBezTo>
                  <a:cubicBezTo>
                    <a:pt x="5129" y="1816"/>
                    <a:pt x="5122" y="1838"/>
                    <a:pt x="5085" y="1868"/>
                  </a:cubicBezTo>
                  <a:cubicBezTo>
                    <a:pt x="5056" y="1904"/>
                    <a:pt x="5034" y="1912"/>
                    <a:pt x="5071" y="1948"/>
                  </a:cubicBezTo>
                  <a:cubicBezTo>
                    <a:pt x="5107" y="1978"/>
                    <a:pt x="5129" y="1978"/>
                    <a:pt x="5151" y="2007"/>
                  </a:cubicBezTo>
                  <a:cubicBezTo>
                    <a:pt x="5166" y="2029"/>
                    <a:pt x="5195" y="2051"/>
                    <a:pt x="5166" y="2110"/>
                  </a:cubicBezTo>
                  <a:cubicBezTo>
                    <a:pt x="5136" y="2161"/>
                    <a:pt x="5136" y="2197"/>
                    <a:pt x="5100" y="2197"/>
                  </a:cubicBezTo>
                  <a:cubicBezTo>
                    <a:pt x="5093" y="2197"/>
                    <a:pt x="5085" y="2197"/>
                    <a:pt x="5078" y="2190"/>
                  </a:cubicBezTo>
                  <a:cubicBezTo>
                    <a:pt x="5026" y="2175"/>
                    <a:pt x="5012" y="2124"/>
                    <a:pt x="4990" y="2124"/>
                  </a:cubicBezTo>
                  <a:cubicBezTo>
                    <a:pt x="4990" y="2124"/>
                    <a:pt x="4983" y="2132"/>
                    <a:pt x="4975" y="2132"/>
                  </a:cubicBezTo>
                  <a:cubicBezTo>
                    <a:pt x="4953" y="2146"/>
                    <a:pt x="4931" y="2168"/>
                    <a:pt x="4909" y="2168"/>
                  </a:cubicBezTo>
                  <a:cubicBezTo>
                    <a:pt x="4895" y="2168"/>
                    <a:pt x="4887" y="2161"/>
                    <a:pt x="4873" y="2146"/>
                  </a:cubicBezTo>
                  <a:cubicBezTo>
                    <a:pt x="4865" y="2132"/>
                    <a:pt x="4843" y="2124"/>
                    <a:pt x="4821" y="2124"/>
                  </a:cubicBezTo>
                  <a:cubicBezTo>
                    <a:pt x="4800" y="2124"/>
                    <a:pt x="4785" y="2139"/>
                    <a:pt x="4792" y="2168"/>
                  </a:cubicBezTo>
                  <a:cubicBezTo>
                    <a:pt x="4800" y="2227"/>
                    <a:pt x="4814" y="2293"/>
                    <a:pt x="4851" y="2322"/>
                  </a:cubicBezTo>
                  <a:cubicBezTo>
                    <a:pt x="4887" y="2344"/>
                    <a:pt x="4924" y="2381"/>
                    <a:pt x="4836" y="2381"/>
                  </a:cubicBezTo>
                  <a:cubicBezTo>
                    <a:pt x="4741" y="2381"/>
                    <a:pt x="4712" y="2373"/>
                    <a:pt x="4690" y="2359"/>
                  </a:cubicBezTo>
                  <a:cubicBezTo>
                    <a:pt x="4682" y="2359"/>
                    <a:pt x="4682" y="2359"/>
                    <a:pt x="4675" y="2359"/>
                  </a:cubicBezTo>
                  <a:cubicBezTo>
                    <a:pt x="4653" y="2359"/>
                    <a:pt x="4624" y="2381"/>
                    <a:pt x="4653" y="2403"/>
                  </a:cubicBezTo>
                  <a:cubicBezTo>
                    <a:pt x="4690" y="2432"/>
                    <a:pt x="4712" y="2425"/>
                    <a:pt x="4748" y="2439"/>
                  </a:cubicBezTo>
                  <a:cubicBezTo>
                    <a:pt x="4785" y="2454"/>
                    <a:pt x="4807" y="2476"/>
                    <a:pt x="4843" y="2505"/>
                  </a:cubicBezTo>
                  <a:cubicBezTo>
                    <a:pt x="4873" y="2542"/>
                    <a:pt x="4931" y="2586"/>
                    <a:pt x="4851" y="2593"/>
                  </a:cubicBezTo>
                  <a:cubicBezTo>
                    <a:pt x="4763" y="2601"/>
                    <a:pt x="4785" y="2637"/>
                    <a:pt x="4800" y="2659"/>
                  </a:cubicBezTo>
                  <a:cubicBezTo>
                    <a:pt x="4814" y="2688"/>
                    <a:pt x="4843" y="2740"/>
                    <a:pt x="4785" y="2740"/>
                  </a:cubicBezTo>
                  <a:cubicBezTo>
                    <a:pt x="4719" y="2740"/>
                    <a:pt x="4660" y="2762"/>
                    <a:pt x="4645" y="2813"/>
                  </a:cubicBezTo>
                  <a:cubicBezTo>
                    <a:pt x="4631" y="2864"/>
                    <a:pt x="4682" y="2908"/>
                    <a:pt x="4638" y="2938"/>
                  </a:cubicBezTo>
                  <a:cubicBezTo>
                    <a:pt x="4594" y="2974"/>
                    <a:pt x="4558" y="2967"/>
                    <a:pt x="4602" y="3003"/>
                  </a:cubicBezTo>
                  <a:cubicBezTo>
                    <a:pt x="4645" y="3033"/>
                    <a:pt x="4638" y="3077"/>
                    <a:pt x="4609" y="3113"/>
                  </a:cubicBezTo>
                  <a:cubicBezTo>
                    <a:pt x="4587" y="3143"/>
                    <a:pt x="4572" y="3238"/>
                    <a:pt x="4528" y="3238"/>
                  </a:cubicBezTo>
                  <a:cubicBezTo>
                    <a:pt x="4484" y="3238"/>
                    <a:pt x="4499" y="3282"/>
                    <a:pt x="4506" y="3326"/>
                  </a:cubicBezTo>
                  <a:cubicBezTo>
                    <a:pt x="4521" y="3363"/>
                    <a:pt x="4536" y="3399"/>
                    <a:pt x="4587" y="3399"/>
                  </a:cubicBezTo>
                  <a:cubicBezTo>
                    <a:pt x="4638" y="3399"/>
                    <a:pt x="4712" y="3399"/>
                    <a:pt x="4690" y="3348"/>
                  </a:cubicBezTo>
                  <a:cubicBezTo>
                    <a:pt x="4660" y="3297"/>
                    <a:pt x="4675" y="3282"/>
                    <a:pt x="4719" y="3253"/>
                  </a:cubicBezTo>
                  <a:cubicBezTo>
                    <a:pt x="4763" y="3231"/>
                    <a:pt x="4785" y="3216"/>
                    <a:pt x="4814" y="3216"/>
                  </a:cubicBezTo>
                  <a:cubicBezTo>
                    <a:pt x="4821" y="3216"/>
                    <a:pt x="4829" y="3216"/>
                    <a:pt x="4836" y="3223"/>
                  </a:cubicBezTo>
                  <a:cubicBezTo>
                    <a:pt x="4873" y="3231"/>
                    <a:pt x="4865" y="3275"/>
                    <a:pt x="4902" y="3311"/>
                  </a:cubicBezTo>
                  <a:cubicBezTo>
                    <a:pt x="4931" y="3355"/>
                    <a:pt x="4917" y="3406"/>
                    <a:pt x="4909" y="3436"/>
                  </a:cubicBezTo>
                  <a:lnTo>
                    <a:pt x="4909" y="3436"/>
                  </a:lnTo>
                  <a:cubicBezTo>
                    <a:pt x="4902" y="3436"/>
                    <a:pt x="4902" y="3421"/>
                    <a:pt x="4895" y="3421"/>
                  </a:cubicBezTo>
                  <a:cubicBezTo>
                    <a:pt x="4887" y="3421"/>
                    <a:pt x="4880" y="3429"/>
                    <a:pt x="4873" y="3443"/>
                  </a:cubicBezTo>
                  <a:cubicBezTo>
                    <a:pt x="4851" y="3494"/>
                    <a:pt x="4865" y="3509"/>
                    <a:pt x="4873" y="3568"/>
                  </a:cubicBezTo>
                  <a:cubicBezTo>
                    <a:pt x="4887" y="3626"/>
                    <a:pt x="4902" y="3700"/>
                    <a:pt x="4902" y="3700"/>
                  </a:cubicBezTo>
                  <a:cubicBezTo>
                    <a:pt x="4917" y="3714"/>
                    <a:pt x="4917" y="3714"/>
                    <a:pt x="4917" y="3714"/>
                  </a:cubicBezTo>
                  <a:cubicBezTo>
                    <a:pt x="4895" y="3729"/>
                    <a:pt x="4873" y="3751"/>
                    <a:pt x="4851" y="3773"/>
                  </a:cubicBezTo>
                  <a:cubicBezTo>
                    <a:pt x="4807" y="3832"/>
                    <a:pt x="4843" y="3875"/>
                    <a:pt x="4807" y="3934"/>
                  </a:cubicBezTo>
                  <a:cubicBezTo>
                    <a:pt x="4770" y="3985"/>
                    <a:pt x="4697" y="4022"/>
                    <a:pt x="4624" y="4088"/>
                  </a:cubicBezTo>
                  <a:cubicBezTo>
                    <a:pt x="4580" y="4132"/>
                    <a:pt x="4506" y="4154"/>
                    <a:pt x="4440" y="4154"/>
                  </a:cubicBezTo>
                  <a:cubicBezTo>
                    <a:pt x="4404" y="4154"/>
                    <a:pt x="4374" y="4147"/>
                    <a:pt x="4352" y="4139"/>
                  </a:cubicBezTo>
                  <a:cubicBezTo>
                    <a:pt x="4331" y="4117"/>
                    <a:pt x="4309" y="4103"/>
                    <a:pt x="4294" y="4103"/>
                  </a:cubicBezTo>
                  <a:cubicBezTo>
                    <a:pt x="4272" y="4103"/>
                    <a:pt x="4257" y="4125"/>
                    <a:pt x="4221" y="4169"/>
                  </a:cubicBezTo>
                  <a:cubicBezTo>
                    <a:pt x="4147" y="4264"/>
                    <a:pt x="4228" y="4315"/>
                    <a:pt x="4228" y="4396"/>
                  </a:cubicBezTo>
                  <a:cubicBezTo>
                    <a:pt x="4228" y="4476"/>
                    <a:pt x="4199" y="4498"/>
                    <a:pt x="4147" y="4557"/>
                  </a:cubicBezTo>
                  <a:cubicBezTo>
                    <a:pt x="4103" y="4615"/>
                    <a:pt x="4059" y="4579"/>
                    <a:pt x="4001" y="4638"/>
                  </a:cubicBezTo>
                  <a:cubicBezTo>
                    <a:pt x="3950" y="4689"/>
                    <a:pt x="4059" y="4711"/>
                    <a:pt x="4059" y="4711"/>
                  </a:cubicBezTo>
                  <a:cubicBezTo>
                    <a:pt x="4059" y="4711"/>
                    <a:pt x="3957" y="4747"/>
                    <a:pt x="3898" y="4747"/>
                  </a:cubicBezTo>
                  <a:cubicBezTo>
                    <a:pt x="3876" y="4747"/>
                    <a:pt x="3862" y="4747"/>
                    <a:pt x="3854" y="4740"/>
                  </a:cubicBezTo>
                  <a:cubicBezTo>
                    <a:pt x="3825" y="4703"/>
                    <a:pt x="3708" y="4703"/>
                    <a:pt x="3708" y="4703"/>
                  </a:cubicBezTo>
                  <a:cubicBezTo>
                    <a:pt x="3708" y="4703"/>
                    <a:pt x="3722" y="4813"/>
                    <a:pt x="3722" y="4872"/>
                  </a:cubicBezTo>
                  <a:cubicBezTo>
                    <a:pt x="3722" y="4931"/>
                    <a:pt x="3788" y="4916"/>
                    <a:pt x="3788" y="4967"/>
                  </a:cubicBezTo>
                  <a:cubicBezTo>
                    <a:pt x="3788" y="5011"/>
                    <a:pt x="3730" y="5033"/>
                    <a:pt x="3730" y="5092"/>
                  </a:cubicBezTo>
                  <a:cubicBezTo>
                    <a:pt x="3730" y="5143"/>
                    <a:pt x="3700" y="5180"/>
                    <a:pt x="3627" y="5202"/>
                  </a:cubicBezTo>
                  <a:cubicBezTo>
                    <a:pt x="3620" y="5209"/>
                    <a:pt x="3605" y="5209"/>
                    <a:pt x="3590" y="5209"/>
                  </a:cubicBezTo>
                  <a:cubicBezTo>
                    <a:pt x="3532" y="5209"/>
                    <a:pt x="3473" y="5172"/>
                    <a:pt x="3444" y="5136"/>
                  </a:cubicBezTo>
                  <a:cubicBezTo>
                    <a:pt x="3414" y="5092"/>
                    <a:pt x="3371" y="5055"/>
                    <a:pt x="3319" y="5033"/>
                  </a:cubicBezTo>
                  <a:cubicBezTo>
                    <a:pt x="3305" y="5019"/>
                    <a:pt x="3268" y="5019"/>
                    <a:pt x="3231" y="5019"/>
                  </a:cubicBezTo>
                  <a:cubicBezTo>
                    <a:pt x="3187" y="5019"/>
                    <a:pt x="3129" y="5026"/>
                    <a:pt x="3099" y="5033"/>
                  </a:cubicBezTo>
                  <a:cubicBezTo>
                    <a:pt x="3041" y="5041"/>
                    <a:pt x="2945" y="5180"/>
                    <a:pt x="2945" y="5180"/>
                  </a:cubicBezTo>
                  <a:cubicBezTo>
                    <a:pt x="2945" y="5180"/>
                    <a:pt x="2990" y="5106"/>
                    <a:pt x="2953" y="5106"/>
                  </a:cubicBezTo>
                  <a:cubicBezTo>
                    <a:pt x="2953" y="5106"/>
                    <a:pt x="2953" y="5114"/>
                    <a:pt x="2945" y="5114"/>
                  </a:cubicBezTo>
                  <a:lnTo>
                    <a:pt x="2938" y="5114"/>
                  </a:lnTo>
                  <a:cubicBezTo>
                    <a:pt x="2902" y="5114"/>
                    <a:pt x="2872" y="5092"/>
                    <a:pt x="2821" y="5092"/>
                  </a:cubicBezTo>
                  <a:cubicBezTo>
                    <a:pt x="2806" y="5092"/>
                    <a:pt x="2792" y="5092"/>
                    <a:pt x="2770" y="5099"/>
                  </a:cubicBezTo>
                  <a:cubicBezTo>
                    <a:pt x="2674" y="5136"/>
                    <a:pt x="2667" y="5165"/>
                    <a:pt x="2631" y="5246"/>
                  </a:cubicBezTo>
                  <a:cubicBezTo>
                    <a:pt x="2594" y="5326"/>
                    <a:pt x="2645" y="5363"/>
                    <a:pt x="2696" y="5392"/>
                  </a:cubicBezTo>
                  <a:cubicBezTo>
                    <a:pt x="2755" y="5429"/>
                    <a:pt x="2719" y="5517"/>
                    <a:pt x="2696" y="5568"/>
                  </a:cubicBezTo>
                  <a:cubicBezTo>
                    <a:pt x="2674" y="5612"/>
                    <a:pt x="2674" y="5737"/>
                    <a:pt x="2696" y="5839"/>
                  </a:cubicBezTo>
                  <a:cubicBezTo>
                    <a:pt x="2719" y="5942"/>
                    <a:pt x="2792" y="6037"/>
                    <a:pt x="2821" y="6096"/>
                  </a:cubicBezTo>
                  <a:cubicBezTo>
                    <a:pt x="2858" y="6154"/>
                    <a:pt x="2894" y="6198"/>
                    <a:pt x="2902" y="6279"/>
                  </a:cubicBezTo>
                  <a:cubicBezTo>
                    <a:pt x="2916" y="6360"/>
                    <a:pt x="2938" y="6382"/>
                    <a:pt x="2916" y="6462"/>
                  </a:cubicBezTo>
                  <a:cubicBezTo>
                    <a:pt x="2894" y="6543"/>
                    <a:pt x="2858" y="6506"/>
                    <a:pt x="2858" y="6572"/>
                  </a:cubicBezTo>
                  <a:cubicBezTo>
                    <a:pt x="2858" y="6638"/>
                    <a:pt x="2880" y="6667"/>
                    <a:pt x="2858" y="6733"/>
                  </a:cubicBezTo>
                  <a:cubicBezTo>
                    <a:pt x="2836" y="6799"/>
                    <a:pt x="2799" y="6741"/>
                    <a:pt x="2792" y="6821"/>
                  </a:cubicBezTo>
                  <a:cubicBezTo>
                    <a:pt x="2784" y="6865"/>
                    <a:pt x="2799" y="6865"/>
                    <a:pt x="2814" y="6865"/>
                  </a:cubicBezTo>
                  <a:cubicBezTo>
                    <a:pt x="2821" y="6865"/>
                    <a:pt x="2821" y="6865"/>
                    <a:pt x="2828" y="6865"/>
                  </a:cubicBezTo>
                  <a:cubicBezTo>
                    <a:pt x="2843" y="6865"/>
                    <a:pt x="2850" y="6872"/>
                    <a:pt x="2858" y="6880"/>
                  </a:cubicBezTo>
                  <a:cubicBezTo>
                    <a:pt x="2865" y="6894"/>
                    <a:pt x="2872" y="6916"/>
                    <a:pt x="2872" y="6931"/>
                  </a:cubicBezTo>
                  <a:cubicBezTo>
                    <a:pt x="2872" y="6939"/>
                    <a:pt x="2872" y="6939"/>
                    <a:pt x="2872" y="6939"/>
                  </a:cubicBezTo>
                  <a:cubicBezTo>
                    <a:pt x="2814" y="6982"/>
                    <a:pt x="2814" y="6982"/>
                    <a:pt x="2814" y="6982"/>
                  </a:cubicBezTo>
                  <a:cubicBezTo>
                    <a:pt x="2902" y="7114"/>
                    <a:pt x="2902" y="7114"/>
                    <a:pt x="2902" y="7114"/>
                  </a:cubicBezTo>
                  <a:cubicBezTo>
                    <a:pt x="2902" y="7114"/>
                    <a:pt x="2843" y="7078"/>
                    <a:pt x="2799" y="7078"/>
                  </a:cubicBezTo>
                  <a:cubicBezTo>
                    <a:pt x="2777" y="7078"/>
                    <a:pt x="2762" y="7078"/>
                    <a:pt x="2755" y="7092"/>
                  </a:cubicBezTo>
                  <a:cubicBezTo>
                    <a:pt x="2733" y="7136"/>
                    <a:pt x="2726" y="7195"/>
                    <a:pt x="2689" y="7195"/>
                  </a:cubicBezTo>
                  <a:cubicBezTo>
                    <a:pt x="2674" y="7195"/>
                    <a:pt x="2660" y="7188"/>
                    <a:pt x="2645" y="7173"/>
                  </a:cubicBezTo>
                  <a:cubicBezTo>
                    <a:pt x="2616" y="7158"/>
                    <a:pt x="2594" y="7144"/>
                    <a:pt x="2579" y="7144"/>
                  </a:cubicBezTo>
                  <a:cubicBezTo>
                    <a:pt x="2550" y="7144"/>
                    <a:pt x="2535" y="7180"/>
                    <a:pt x="2521" y="7232"/>
                  </a:cubicBezTo>
                  <a:cubicBezTo>
                    <a:pt x="2499" y="7312"/>
                    <a:pt x="2521" y="7334"/>
                    <a:pt x="2469" y="7356"/>
                  </a:cubicBezTo>
                  <a:cubicBezTo>
                    <a:pt x="2440" y="7371"/>
                    <a:pt x="2352" y="7481"/>
                    <a:pt x="2308" y="7481"/>
                  </a:cubicBezTo>
                  <a:cubicBezTo>
                    <a:pt x="2286" y="7481"/>
                    <a:pt x="2279" y="7459"/>
                    <a:pt x="2279" y="7415"/>
                  </a:cubicBezTo>
                  <a:cubicBezTo>
                    <a:pt x="2293" y="7239"/>
                    <a:pt x="2279" y="7268"/>
                    <a:pt x="2345" y="7253"/>
                  </a:cubicBezTo>
                  <a:cubicBezTo>
                    <a:pt x="2418" y="7239"/>
                    <a:pt x="2469" y="7144"/>
                    <a:pt x="2381" y="7144"/>
                  </a:cubicBezTo>
                  <a:cubicBezTo>
                    <a:pt x="2293" y="7144"/>
                    <a:pt x="2271" y="7129"/>
                    <a:pt x="2257" y="7070"/>
                  </a:cubicBezTo>
                  <a:cubicBezTo>
                    <a:pt x="2257" y="7070"/>
                    <a:pt x="2183" y="7107"/>
                    <a:pt x="2118" y="7107"/>
                  </a:cubicBezTo>
                  <a:cubicBezTo>
                    <a:pt x="2059" y="7107"/>
                    <a:pt x="2000" y="7085"/>
                    <a:pt x="1986" y="6990"/>
                  </a:cubicBezTo>
                  <a:cubicBezTo>
                    <a:pt x="1956" y="6806"/>
                    <a:pt x="1964" y="6755"/>
                    <a:pt x="1890" y="6755"/>
                  </a:cubicBezTo>
                  <a:cubicBezTo>
                    <a:pt x="1890" y="6755"/>
                    <a:pt x="1883" y="6755"/>
                    <a:pt x="1869" y="6755"/>
                  </a:cubicBezTo>
                  <a:cubicBezTo>
                    <a:pt x="1781" y="6763"/>
                    <a:pt x="1759" y="6843"/>
                    <a:pt x="1781" y="6939"/>
                  </a:cubicBezTo>
                  <a:cubicBezTo>
                    <a:pt x="1802" y="7012"/>
                    <a:pt x="1773" y="7092"/>
                    <a:pt x="1714" y="7092"/>
                  </a:cubicBezTo>
                  <a:cubicBezTo>
                    <a:pt x="1707" y="7092"/>
                    <a:pt x="1692" y="7092"/>
                    <a:pt x="1678" y="7085"/>
                  </a:cubicBezTo>
                  <a:cubicBezTo>
                    <a:pt x="1605" y="7041"/>
                    <a:pt x="1517" y="6858"/>
                    <a:pt x="1458" y="6858"/>
                  </a:cubicBezTo>
                  <a:cubicBezTo>
                    <a:pt x="1458" y="6858"/>
                    <a:pt x="1458" y="6858"/>
                    <a:pt x="1451" y="6858"/>
                  </a:cubicBezTo>
                  <a:cubicBezTo>
                    <a:pt x="1414" y="6872"/>
                    <a:pt x="1400" y="6880"/>
                    <a:pt x="1400" y="6880"/>
                  </a:cubicBezTo>
                  <a:cubicBezTo>
                    <a:pt x="1385" y="6858"/>
                    <a:pt x="1378" y="6836"/>
                    <a:pt x="1370" y="6814"/>
                  </a:cubicBezTo>
                  <a:cubicBezTo>
                    <a:pt x="1363" y="6777"/>
                    <a:pt x="1341" y="6719"/>
                    <a:pt x="1297" y="6682"/>
                  </a:cubicBezTo>
                  <a:cubicBezTo>
                    <a:pt x="1253" y="6645"/>
                    <a:pt x="1246" y="6601"/>
                    <a:pt x="1253" y="6557"/>
                  </a:cubicBezTo>
                  <a:cubicBezTo>
                    <a:pt x="1260" y="6506"/>
                    <a:pt x="1290" y="6484"/>
                    <a:pt x="1363" y="6470"/>
                  </a:cubicBezTo>
                  <a:cubicBezTo>
                    <a:pt x="1443" y="6455"/>
                    <a:pt x="1414" y="6411"/>
                    <a:pt x="1473" y="6338"/>
                  </a:cubicBezTo>
                  <a:cubicBezTo>
                    <a:pt x="1531" y="6272"/>
                    <a:pt x="1524" y="6279"/>
                    <a:pt x="1473" y="6272"/>
                  </a:cubicBezTo>
                  <a:cubicBezTo>
                    <a:pt x="1421" y="6264"/>
                    <a:pt x="1407" y="6228"/>
                    <a:pt x="1363" y="6220"/>
                  </a:cubicBezTo>
                  <a:cubicBezTo>
                    <a:pt x="1319" y="6213"/>
                    <a:pt x="1319" y="6140"/>
                    <a:pt x="1312" y="6096"/>
                  </a:cubicBezTo>
                  <a:cubicBezTo>
                    <a:pt x="1304" y="6052"/>
                    <a:pt x="1319" y="5986"/>
                    <a:pt x="1297" y="5949"/>
                  </a:cubicBezTo>
                  <a:cubicBezTo>
                    <a:pt x="1268" y="5913"/>
                    <a:pt x="1253" y="5942"/>
                    <a:pt x="1238" y="5891"/>
                  </a:cubicBezTo>
                  <a:cubicBezTo>
                    <a:pt x="1216" y="5839"/>
                    <a:pt x="1231" y="5744"/>
                    <a:pt x="1238" y="5678"/>
                  </a:cubicBezTo>
                  <a:cubicBezTo>
                    <a:pt x="1246" y="5612"/>
                    <a:pt x="1180" y="5575"/>
                    <a:pt x="1143" y="5524"/>
                  </a:cubicBezTo>
                  <a:cubicBezTo>
                    <a:pt x="1106" y="5473"/>
                    <a:pt x="1077" y="5451"/>
                    <a:pt x="1033" y="5407"/>
                  </a:cubicBezTo>
                  <a:cubicBezTo>
                    <a:pt x="1011" y="5385"/>
                    <a:pt x="982" y="5378"/>
                    <a:pt x="960" y="5378"/>
                  </a:cubicBezTo>
                  <a:cubicBezTo>
                    <a:pt x="931" y="5378"/>
                    <a:pt x="901" y="5385"/>
                    <a:pt x="879" y="5392"/>
                  </a:cubicBezTo>
                  <a:cubicBezTo>
                    <a:pt x="835" y="5400"/>
                    <a:pt x="755" y="5429"/>
                    <a:pt x="681" y="5458"/>
                  </a:cubicBezTo>
                  <a:cubicBezTo>
                    <a:pt x="615" y="5480"/>
                    <a:pt x="579" y="5488"/>
                    <a:pt x="542" y="5524"/>
                  </a:cubicBezTo>
                  <a:cubicBezTo>
                    <a:pt x="498" y="5561"/>
                    <a:pt x="454" y="5553"/>
                    <a:pt x="403" y="5590"/>
                  </a:cubicBezTo>
                  <a:cubicBezTo>
                    <a:pt x="403" y="5590"/>
                    <a:pt x="352" y="5597"/>
                    <a:pt x="308" y="5597"/>
                  </a:cubicBezTo>
                  <a:cubicBezTo>
                    <a:pt x="286" y="5597"/>
                    <a:pt x="264" y="5597"/>
                    <a:pt x="249" y="5590"/>
                  </a:cubicBezTo>
                  <a:cubicBezTo>
                    <a:pt x="205" y="5575"/>
                    <a:pt x="190" y="5517"/>
                    <a:pt x="176" y="5451"/>
                  </a:cubicBezTo>
                  <a:cubicBezTo>
                    <a:pt x="154" y="5378"/>
                    <a:pt x="117" y="5378"/>
                    <a:pt x="66" y="5356"/>
                  </a:cubicBezTo>
                  <a:cubicBezTo>
                    <a:pt x="15" y="5326"/>
                    <a:pt x="59" y="5260"/>
                    <a:pt x="88" y="5224"/>
                  </a:cubicBezTo>
                  <a:cubicBezTo>
                    <a:pt x="124" y="5194"/>
                    <a:pt x="147" y="5216"/>
                    <a:pt x="154" y="5194"/>
                  </a:cubicBezTo>
                  <a:cubicBezTo>
                    <a:pt x="169" y="5165"/>
                    <a:pt x="176" y="5114"/>
                    <a:pt x="190" y="5092"/>
                  </a:cubicBezTo>
                  <a:cubicBezTo>
                    <a:pt x="198" y="5084"/>
                    <a:pt x="205" y="5084"/>
                    <a:pt x="212" y="5084"/>
                  </a:cubicBezTo>
                  <a:cubicBezTo>
                    <a:pt x="234" y="5084"/>
                    <a:pt x="271" y="5106"/>
                    <a:pt x="308" y="5114"/>
                  </a:cubicBezTo>
                  <a:cubicBezTo>
                    <a:pt x="330" y="5121"/>
                    <a:pt x="337" y="5129"/>
                    <a:pt x="344" y="5129"/>
                  </a:cubicBezTo>
                  <a:cubicBezTo>
                    <a:pt x="359" y="5129"/>
                    <a:pt x="366" y="5114"/>
                    <a:pt x="366" y="5084"/>
                  </a:cubicBezTo>
                  <a:cubicBezTo>
                    <a:pt x="381" y="5041"/>
                    <a:pt x="359" y="5004"/>
                    <a:pt x="337" y="4997"/>
                  </a:cubicBezTo>
                  <a:cubicBezTo>
                    <a:pt x="308" y="4989"/>
                    <a:pt x="278" y="4982"/>
                    <a:pt x="242" y="4945"/>
                  </a:cubicBezTo>
                  <a:cubicBezTo>
                    <a:pt x="205" y="4916"/>
                    <a:pt x="293" y="4872"/>
                    <a:pt x="330" y="4835"/>
                  </a:cubicBezTo>
                  <a:cubicBezTo>
                    <a:pt x="359" y="4799"/>
                    <a:pt x="403" y="4784"/>
                    <a:pt x="440" y="4740"/>
                  </a:cubicBezTo>
                  <a:cubicBezTo>
                    <a:pt x="447" y="4733"/>
                    <a:pt x="454" y="4725"/>
                    <a:pt x="469" y="4725"/>
                  </a:cubicBezTo>
                  <a:cubicBezTo>
                    <a:pt x="491" y="4725"/>
                    <a:pt x="513" y="4755"/>
                    <a:pt x="557" y="4777"/>
                  </a:cubicBezTo>
                  <a:cubicBezTo>
                    <a:pt x="571" y="4784"/>
                    <a:pt x="579" y="4784"/>
                    <a:pt x="586" y="4784"/>
                  </a:cubicBezTo>
                  <a:cubicBezTo>
                    <a:pt x="623" y="4784"/>
                    <a:pt x="638" y="4733"/>
                    <a:pt x="630" y="4703"/>
                  </a:cubicBezTo>
                  <a:cubicBezTo>
                    <a:pt x="623" y="4660"/>
                    <a:pt x="571" y="4682"/>
                    <a:pt x="564" y="4652"/>
                  </a:cubicBezTo>
                  <a:cubicBezTo>
                    <a:pt x="557" y="4623"/>
                    <a:pt x="593" y="4608"/>
                    <a:pt x="630" y="4608"/>
                  </a:cubicBezTo>
                  <a:cubicBezTo>
                    <a:pt x="645" y="4608"/>
                    <a:pt x="667" y="4615"/>
                    <a:pt x="681" y="4623"/>
                  </a:cubicBezTo>
                  <a:cubicBezTo>
                    <a:pt x="696" y="4630"/>
                    <a:pt x="711" y="4638"/>
                    <a:pt x="718" y="4638"/>
                  </a:cubicBezTo>
                  <a:cubicBezTo>
                    <a:pt x="740" y="4638"/>
                    <a:pt x="755" y="4601"/>
                    <a:pt x="762" y="4564"/>
                  </a:cubicBezTo>
                  <a:cubicBezTo>
                    <a:pt x="769" y="4513"/>
                    <a:pt x="755" y="4462"/>
                    <a:pt x="725" y="4425"/>
                  </a:cubicBezTo>
                  <a:cubicBezTo>
                    <a:pt x="703" y="4396"/>
                    <a:pt x="681" y="4396"/>
                    <a:pt x="667" y="4352"/>
                  </a:cubicBezTo>
                  <a:cubicBezTo>
                    <a:pt x="652" y="4308"/>
                    <a:pt x="659" y="4286"/>
                    <a:pt x="623" y="4249"/>
                  </a:cubicBezTo>
                  <a:cubicBezTo>
                    <a:pt x="593" y="4213"/>
                    <a:pt x="557" y="4176"/>
                    <a:pt x="483" y="4161"/>
                  </a:cubicBezTo>
                  <a:cubicBezTo>
                    <a:pt x="403" y="4154"/>
                    <a:pt x="432" y="4139"/>
                    <a:pt x="469" y="4095"/>
                  </a:cubicBezTo>
                  <a:cubicBezTo>
                    <a:pt x="513" y="4051"/>
                    <a:pt x="506" y="4037"/>
                    <a:pt x="513" y="3985"/>
                  </a:cubicBezTo>
                  <a:cubicBezTo>
                    <a:pt x="520" y="3934"/>
                    <a:pt x="491" y="3890"/>
                    <a:pt x="483" y="3839"/>
                  </a:cubicBezTo>
                  <a:cubicBezTo>
                    <a:pt x="469" y="3788"/>
                    <a:pt x="520" y="3758"/>
                    <a:pt x="550" y="3722"/>
                  </a:cubicBezTo>
                  <a:cubicBezTo>
                    <a:pt x="571" y="3692"/>
                    <a:pt x="593" y="3663"/>
                    <a:pt x="630" y="3663"/>
                  </a:cubicBezTo>
                  <a:cubicBezTo>
                    <a:pt x="630" y="3663"/>
                    <a:pt x="638" y="3663"/>
                    <a:pt x="645" y="3663"/>
                  </a:cubicBezTo>
                  <a:cubicBezTo>
                    <a:pt x="681" y="3670"/>
                    <a:pt x="696" y="3722"/>
                    <a:pt x="733" y="3729"/>
                  </a:cubicBezTo>
                  <a:cubicBezTo>
                    <a:pt x="740" y="3729"/>
                    <a:pt x="740" y="3729"/>
                    <a:pt x="740" y="3729"/>
                  </a:cubicBezTo>
                  <a:cubicBezTo>
                    <a:pt x="784" y="3729"/>
                    <a:pt x="813" y="3641"/>
                    <a:pt x="843" y="3590"/>
                  </a:cubicBezTo>
                  <a:cubicBezTo>
                    <a:pt x="879" y="3524"/>
                    <a:pt x="843" y="3429"/>
                    <a:pt x="813" y="3363"/>
                  </a:cubicBezTo>
                  <a:cubicBezTo>
                    <a:pt x="784" y="3326"/>
                    <a:pt x="784" y="3275"/>
                    <a:pt x="784" y="3238"/>
                  </a:cubicBezTo>
                  <a:cubicBezTo>
                    <a:pt x="799" y="3216"/>
                    <a:pt x="821" y="3187"/>
                    <a:pt x="835" y="3165"/>
                  </a:cubicBezTo>
                  <a:cubicBezTo>
                    <a:pt x="887" y="3091"/>
                    <a:pt x="864" y="3070"/>
                    <a:pt x="857" y="2989"/>
                  </a:cubicBezTo>
                  <a:cubicBezTo>
                    <a:pt x="843" y="2915"/>
                    <a:pt x="821" y="2952"/>
                    <a:pt x="813" y="2886"/>
                  </a:cubicBezTo>
                  <a:cubicBezTo>
                    <a:pt x="806" y="2828"/>
                    <a:pt x="864" y="2850"/>
                    <a:pt x="887" y="2798"/>
                  </a:cubicBezTo>
                  <a:cubicBezTo>
                    <a:pt x="916" y="2747"/>
                    <a:pt x="938" y="2740"/>
                    <a:pt x="1004" y="2703"/>
                  </a:cubicBezTo>
                  <a:cubicBezTo>
                    <a:pt x="1077" y="2666"/>
                    <a:pt x="1070" y="2644"/>
                    <a:pt x="1092" y="2586"/>
                  </a:cubicBezTo>
                  <a:cubicBezTo>
                    <a:pt x="1106" y="2556"/>
                    <a:pt x="1114" y="2549"/>
                    <a:pt x="1121" y="2549"/>
                  </a:cubicBezTo>
                  <a:cubicBezTo>
                    <a:pt x="1136" y="2549"/>
                    <a:pt x="1143" y="2564"/>
                    <a:pt x="1158" y="2593"/>
                  </a:cubicBezTo>
                  <a:cubicBezTo>
                    <a:pt x="1180" y="2622"/>
                    <a:pt x="1194" y="2644"/>
                    <a:pt x="1238" y="2644"/>
                  </a:cubicBezTo>
                  <a:cubicBezTo>
                    <a:pt x="1253" y="2644"/>
                    <a:pt x="1268" y="2644"/>
                    <a:pt x="1297" y="2637"/>
                  </a:cubicBezTo>
                  <a:cubicBezTo>
                    <a:pt x="1392" y="2608"/>
                    <a:pt x="1363" y="2601"/>
                    <a:pt x="1400" y="2542"/>
                  </a:cubicBezTo>
                  <a:cubicBezTo>
                    <a:pt x="1429" y="2483"/>
                    <a:pt x="1429" y="2491"/>
                    <a:pt x="1480" y="2454"/>
                  </a:cubicBezTo>
                  <a:cubicBezTo>
                    <a:pt x="1531" y="2425"/>
                    <a:pt x="1502" y="2432"/>
                    <a:pt x="1502" y="2359"/>
                  </a:cubicBezTo>
                  <a:cubicBezTo>
                    <a:pt x="1502" y="2293"/>
                    <a:pt x="1531" y="2300"/>
                    <a:pt x="1568" y="2241"/>
                  </a:cubicBezTo>
                  <a:cubicBezTo>
                    <a:pt x="1605" y="2183"/>
                    <a:pt x="1619" y="2190"/>
                    <a:pt x="1663" y="2146"/>
                  </a:cubicBezTo>
                  <a:cubicBezTo>
                    <a:pt x="1707" y="2110"/>
                    <a:pt x="1692" y="2124"/>
                    <a:pt x="1671" y="2102"/>
                  </a:cubicBezTo>
                  <a:cubicBezTo>
                    <a:pt x="1641" y="2073"/>
                    <a:pt x="1627" y="2036"/>
                    <a:pt x="1612" y="1963"/>
                  </a:cubicBezTo>
                  <a:cubicBezTo>
                    <a:pt x="1597" y="1882"/>
                    <a:pt x="1627" y="1912"/>
                    <a:pt x="1685" y="1860"/>
                  </a:cubicBezTo>
                  <a:cubicBezTo>
                    <a:pt x="1707" y="1846"/>
                    <a:pt x="1729" y="1838"/>
                    <a:pt x="1751" y="1838"/>
                  </a:cubicBezTo>
                  <a:cubicBezTo>
                    <a:pt x="1802" y="1838"/>
                    <a:pt x="1854" y="1860"/>
                    <a:pt x="1890" y="1860"/>
                  </a:cubicBezTo>
                  <a:cubicBezTo>
                    <a:pt x="1942" y="1860"/>
                    <a:pt x="1920" y="1904"/>
                    <a:pt x="1920" y="1904"/>
                  </a:cubicBezTo>
                  <a:cubicBezTo>
                    <a:pt x="1920" y="1904"/>
                    <a:pt x="1920" y="1897"/>
                    <a:pt x="1927" y="1897"/>
                  </a:cubicBezTo>
                  <a:cubicBezTo>
                    <a:pt x="1942" y="1868"/>
                    <a:pt x="1971" y="1838"/>
                    <a:pt x="2008" y="1824"/>
                  </a:cubicBezTo>
                  <a:cubicBezTo>
                    <a:pt x="2052" y="1816"/>
                    <a:pt x="2059" y="1824"/>
                    <a:pt x="2022" y="1787"/>
                  </a:cubicBezTo>
                  <a:cubicBezTo>
                    <a:pt x="1978" y="1743"/>
                    <a:pt x="2008" y="1721"/>
                    <a:pt x="2044" y="1684"/>
                  </a:cubicBezTo>
                  <a:cubicBezTo>
                    <a:pt x="2081" y="1641"/>
                    <a:pt x="2103" y="1641"/>
                    <a:pt x="2132" y="1590"/>
                  </a:cubicBezTo>
                  <a:cubicBezTo>
                    <a:pt x="2154" y="1539"/>
                    <a:pt x="2154" y="1532"/>
                    <a:pt x="2140" y="1495"/>
                  </a:cubicBezTo>
                  <a:cubicBezTo>
                    <a:pt x="2118" y="1466"/>
                    <a:pt x="2110" y="1436"/>
                    <a:pt x="2096" y="1371"/>
                  </a:cubicBezTo>
                  <a:cubicBezTo>
                    <a:pt x="2081" y="1312"/>
                    <a:pt x="2088" y="1282"/>
                    <a:pt x="2052" y="1282"/>
                  </a:cubicBezTo>
                  <a:cubicBezTo>
                    <a:pt x="2052" y="1282"/>
                    <a:pt x="2044" y="1282"/>
                    <a:pt x="2037" y="1282"/>
                  </a:cubicBezTo>
                  <a:cubicBezTo>
                    <a:pt x="1978" y="1290"/>
                    <a:pt x="1942" y="1312"/>
                    <a:pt x="1898" y="1341"/>
                  </a:cubicBezTo>
                  <a:cubicBezTo>
                    <a:pt x="1869" y="1363"/>
                    <a:pt x="1846" y="1378"/>
                    <a:pt x="1824" y="1378"/>
                  </a:cubicBezTo>
                  <a:cubicBezTo>
                    <a:pt x="1810" y="1378"/>
                    <a:pt x="1802" y="1378"/>
                    <a:pt x="1788" y="1371"/>
                  </a:cubicBezTo>
                  <a:cubicBezTo>
                    <a:pt x="1759" y="1341"/>
                    <a:pt x="1773" y="1326"/>
                    <a:pt x="1737" y="1282"/>
                  </a:cubicBezTo>
                  <a:cubicBezTo>
                    <a:pt x="1707" y="1239"/>
                    <a:pt x="1744" y="1216"/>
                    <a:pt x="1788" y="1136"/>
                  </a:cubicBezTo>
                  <a:cubicBezTo>
                    <a:pt x="1832" y="1063"/>
                    <a:pt x="1839" y="1070"/>
                    <a:pt x="1905" y="1019"/>
                  </a:cubicBezTo>
                  <a:cubicBezTo>
                    <a:pt x="1978" y="967"/>
                    <a:pt x="1949" y="945"/>
                    <a:pt x="2000" y="945"/>
                  </a:cubicBezTo>
                  <a:cubicBezTo>
                    <a:pt x="2022" y="945"/>
                    <a:pt x="2044" y="945"/>
                    <a:pt x="2066" y="945"/>
                  </a:cubicBezTo>
                  <a:cubicBezTo>
                    <a:pt x="2096" y="945"/>
                    <a:pt x="2125" y="938"/>
                    <a:pt x="2147" y="916"/>
                  </a:cubicBezTo>
                  <a:cubicBezTo>
                    <a:pt x="2169" y="894"/>
                    <a:pt x="2191" y="887"/>
                    <a:pt x="2213" y="887"/>
                  </a:cubicBezTo>
                  <a:cubicBezTo>
                    <a:pt x="2235" y="887"/>
                    <a:pt x="2257" y="894"/>
                    <a:pt x="2286" y="909"/>
                  </a:cubicBezTo>
                  <a:cubicBezTo>
                    <a:pt x="2293" y="916"/>
                    <a:pt x="2315" y="923"/>
                    <a:pt x="2330" y="923"/>
                  </a:cubicBezTo>
                  <a:cubicBezTo>
                    <a:pt x="2381" y="923"/>
                    <a:pt x="2447" y="894"/>
                    <a:pt x="2506" y="887"/>
                  </a:cubicBezTo>
                  <a:cubicBezTo>
                    <a:pt x="2579" y="865"/>
                    <a:pt x="2564" y="813"/>
                    <a:pt x="2543" y="784"/>
                  </a:cubicBezTo>
                  <a:cubicBezTo>
                    <a:pt x="2528" y="747"/>
                    <a:pt x="2477" y="733"/>
                    <a:pt x="2433" y="682"/>
                  </a:cubicBezTo>
                  <a:cubicBezTo>
                    <a:pt x="2396" y="630"/>
                    <a:pt x="2374" y="608"/>
                    <a:pt x="2433" y="572"/>
                  </a:cubicBezTo>
                  <a:cubicBezTo>
                    <a:pt x="2499" y="528"/>
                    <a:pt x="2587" y="498"/>
                    <a:pt x="2645" y="476"/>
                  </a:cubicBezTo>
                  <a:cubicBezTo>
                    <a:pt x="2660" y="469"/>
                    <a:pt x="2667" y="469"/>
                    <a:pt x="2674" y="469"/>
                  </a:cubicBezTo>
                  <a:cubicBezTo>
                    <a:pt x="2719" y="469"/>
                    <a:pt x="2748" y="521"/>
                    <a:pt x="2792" y="535"/>
                  </a:cubicBezTo>
                  <a:cubicBezTo>
                    <a:pt x="2843" y="550"/>
                    <a:pt x="2872" y="564"/>
                    <a:pt x="2843" y="608"/>
                  </a:cubicBezTo>
                  <a:cubicBezTo>
                    <a:pt x="2821" y="660"/>
                    <a:pt x="2850" y="726"/>
                    <a:pt x="2931" y="733"/>
                  </a:cubicBezTo>
                  <a:lnTo>
                    <a:pt x="2938" y="733"/>
                  </a:lnTo>
                  <a:cubicBezTo>
                    <a:pt x="3012" y="733"/>
                    <a:pt x="3033" y="667"/>
                    <a:pt x="3070" y="638"/>
                  </a:cubicBezTo>
                  <a:cubicBezTo>
                    <a:pt x="3114" y="601"/>
                    <a:pt x="3231" y="484"/>
                    <a:pt x="3275" y="440"/>
                  </a:cubicBezTo>
                  <a:cubicBezTo>
                    <a:pt x="3319" y="396"/>
                    <a:pt x="3363" y="315"/>
                    <a:pt x="3385" y="264"/>
                  </a:cubicBezTo>
                  <a:cubicBezTo>
                    <a:pt x="3414" y="213"/>
                    <a:pt x="3349" y="227"/>
                    <a:pt x="3349" y="183"/>
                  </a:cubicBezTo>
                  <a:cubicBezTo>
                    <a:pt x="3349" y="147"/>
                    <a:pt x="3400" y="125"/>
                    <a:pt x="3459" y="125"/>
                  </a:cubicBezTo>
                  <a:cubicBezTo>
                    <a:pt x="3517" y="125"/>
                    <a:pt x="3546" y="66"/>
                    <a:pt x="3546" y="66"/>
                  </a:cubicBezTo>
                  <a:cubicBezTo>
                    <a:pt x="3546" y="66"/>
                    <a:pt x="3539" y="66"/>
                    <a:pt x="3524" y="73"/>
                  </a:cubicBezTo>
                  <a:cubicBezTo>
                    <a:pt x="3546" y="52"/>
                    <a:pt x="3583" y="30"/>
                    <a:pt x="3605" y="30"/>
                  </a:cubicBezTo>
                  <a:lnTo>
                    <a:pt x="3605" y="0"/>
                  </a:lnTo>
                  <a:lnTo>
                    <a:pt x="3605" y="0"/>
                  </a:lnTo>
                  <a:lnTo>
                    <a:pt x="3605" y="0"/>
                  </a:lnTo>
                  <a:cubicBezTo>
                    <a:pt x="3576" y="0"/>
                    <a:pt x="3546" y="15"/>
                    <a:pt x="3510" y="44"/>
                  </a:cubicBezTo>
                  <a:cubicBezTo>
                    <a:pt x="3444" y="95"/>
                    <a:pt x="3444" y="95"/>
                    <a:pt x="3444" y="95"/>
                  </a:cubicBezTo>
                  <a:cubicBezTo>
                    <a:pt x="3363" y="103"/>
                    <a:pt x="3312" y="132"/>
                    <a:pt x="3312" y="183"/>
                  </a:cubicBezTo>
                  <a:cubicBezTo>
                    <a:pt x="3312" y="227"/>
                    <a:pt x="3341" y="242"/>
                    <a:pt x="3356" y="249"/>
                  </a:cubicBezTo>
                  <a:lnTo>
                    <a:pt x="3363" y="249"/>
                  </a:lnTo>
                  <a:lnTo>
                    <a:pt x="3363" y="249"/>
                  </a:lnTo>
                  <a:cubicBezTo>
                    <a:pt x="3341" y="293"/>
                    <a:pt x="3297" y="381"/>
                    <a:pt x="3253" y="418"/>
                  </a:cubicBezTo>
                  <a:cubicBezTo>
                    <a:pt x="3151" y="528"/>
                    <a:pt x="3085" y="594"/>
                    <a:pt x="3055" y="616"/>
                  </a:cubicBezTo>
                  <a:cubicBezTo>
                    <a:pt x="3041" y="623"/>
                    <a:pt x="3026" y="638"/>
                    <a:pt x="3019" y="652"/>
                  </a:cubicBezTo>
                  <a:cubicBezTo>
                    <a:pt x="2990" y="682"/>
                    <a:pt x="2975" y="704"/>
                    <a:pt x="2938" y="704"/>
                  </a:cubicBezTo>
                  <a:cubicBezTo>
                    <a:pt x="2938" y="704"/>
                    <a:pt x="2938" y="704"/>
                    <a:pt x="2931" y="704"/>
                  </a:cubicBezTo>
                  <a:cubicBezTo>
                    <a:pt x="2902" y="696"/>
                    <a:pt x="2880" y="682"/>
                    <a:pt x="2872" y="667"/>
                  </a:cubicBezTo>
                  <a:cubicBezTo>
                    <a:pt x="2865" y="652"/>
                    <a:pt x="2865" y="638"/>
                    <a:pt x="2872" y="623"/>
                  </a:cubicBezTo>
                  <a:cubicBezTo>
                    <a:pt x="2880" y="608"/>
                    <a:pt x="2887" y="579"/>
                    <a:pt x="2880" y="557"/>
                  </a:cubicBezTo>
                  <a:cubicBezTo>
                    <a:pt x="2865" y="528"/>
                    <a:pt x="2836" y="521"/>
                    <a:pt x="2799" y="506"/>
                  </a:cubicBezTo>
                  <a:cubicBezTo>
                    <a:pt x="2792" y="506"/>
                    <a:pt x="2777" y="491"/>
                    <a:pt x="2762" y="476"/>
                  </a:cubicBezTo>
                  <a:cubicBezTo>
                    <a:pt x="2740" y="462"/>
                    <a:pt x="2711" y="440"/>
                    <a:pt x="2674" y="440"/>
                  </a:cubicBezTo>
                  <a:cubicBezTo>
                    <a:pt x="2660" y="440"/>
                    <a:pt x="2645" y="440"/>
                    <a:pt x="2638" y="447"/>
                  </a:cubicBezTo>
                  <a:cubicBezTo>
                    <a:pt x="2616" y="454"/>
                    <a:pt x="2601" y="462"/>
                    <a:pt x="2579" y="469"/>
                  </a:cubicBezTo>
                  <a:cubicBezTo>
                    <a:pt x="2521" y="491"/>
                    <a:pt x="2462" y="513"/>
                    <a:pt x="2418" y="542"/>
                  </a:cubicBezTo>
                  <a:cubicBezTo>
                    <a:pt x="2396" y="564"/>
                    <a:pt x="2374" y="579"/>
                    <a:pt x="2367" y="608"/>
                  </a:cubicBezTo>
                  <a:cubicBezTo>
                    <a:pt x="2367" y="638"/>
                    <a:pt x="2381" y="667"/>
                    <a:pt x="2411" y="696"/>
                  </a:cubicBezTo>
                  <a:lnTo>
                    <a:pt x="2411" y="696"/>
                  </a:lnTo>
                  <a:cubicBezTo>
                    <a:pt x="2433" y="726"/>
                    <a:pt x="2462" y="747"/>
                    <a:pt x="2484" y="762"/>
                  </a:cubicBezTo>
                  <a:cubicBezTo>
                    <a:pt x="2499" y="777"/>
                    <a:pt x="2513" y="784"/>
                    <a:pt x="2521" y="799"/>
                  </a:cubicBezTo>
                  <a:cubicBezTo>
                    <a:pt x="2535" y="821"/>
                    <a:pt x="2528" y="835"/>
                    <a:pt x="2528" y="835"/>
                  </a:cubicBezTo>
                  <a:cubicBezTo>
                    <a:pt x="2528" y="843"/>
                    <a:pt x="2513" y="850"/>
                    <a:pt x="2499" y="857"/>
                  </a:cubicBezTo>
                  <a:cubicBezTo>
                    <a:pt x="2477" y="857"/>
                    <a:pt x="2455" y="865"/>
                    <a:pt x="2440" y="872"/>
                  </a:cubicBezTo>
                  <a:cubicBezTo>
                    <a:pt x="2403" y="880"/>
                    <a:pt x="2359" y="894"/>
                    <a:pt x="2330" y="894"/>
                  </a:cubicBezTo>
                  <a:cubicBezTo>
                    <a:pt x="2315" y="894"/>
                    <a:pt x="2308" y="887"/>
                    <a:pt x="2301" y="887"/>
                  </a:cubicBezTo>
                  <a:cubicBezTo>
                    <a:pt x="2271" y="865"/>
                    <a:pt x="2242" y="857"/>
                    <a:pt x="2213" y="857"/>
                  </a:cubicBezTo>
                  <a:cubicBezTo>
                    <a:pt x="2183" y="857"/>
                    <a:pt x="2154" y="872"/>
                    <a:pt x="2125" y="894"/>
                  </a:cubicBezTo>
                  <a:cubicBezTo>
                    <a:pt x="2110" y="909"/>
                    <a:pt x="2096" y="916"/>
                    <a:pt x="2066" y="916"/>
                  </a:cubicBezTo>
                  <a:cubicBezTo>
                    <a:pt x="2059" y="916"/>
                    <a:pt x="2052" y="916"/>
                    <a:pt x="2037" y="916"/>
                  </a:cubicBezTo>
                  <a:cubicBezTo>
                    <a:pt x="2030" y="916"/>
                    <a:pt x="2015" y="916"/>
                    <a:pt x="2000" y="916"/>
                  </a:cubicBezTo>
                  <a:cubicBezTo>
                    <a:pt x="1964" y="916"/>
                    <a:pt x="1949" y="931"/>
                    <a:pt x="1934" y="953"/>
                  </a:cubicBezTo>
                  <a:cubicBezTo>
                    <a:pt x="1927" y="960"/>
                    <a:pt x="1920" y="975"/>
                    <a:pt x="1890" y="997"/>
                  </a:cubicBezTo>
                  <a:cubicBezTo>
                    <a:pt x="1876" y="1004"/>
                    <a:pt x="1861" y="1019"/>
                    <a:pt x="1854" y="1019"/>
                  </a:cubicBezTo>
                  <a:cubicBezTo>
                    <a:pt x="1810" y="1048"/>
                    <a:pt x="1795" y="1063"/>
                    <a:pt x="1766" y="1121"/>
                  </a:cubicBezTo>
                  <a:cubicBezTo>
                    <a:pt x="1751" y="1143"/>
                    <a:pt x="1744" y="1158"/>
                    <a:pt x="1729" y="1173"/>
                  </a:cubicBezTo>
                  <a:cubicBezTo>
                    <a:pt x="1707" y="1216"/>
                    <a:pt x="1678" y="1253"/>
                    <a:pt x="1714" y="1304"/>
                  </a:cubicBezTo>
                  <a:cubicBezTo>
                    <a:pt x="1729" y="1319"/>
                    <a:pt x="1729" y="1326"/>
                    <a:pt x="1737" y="1341"/>
                  </a:cubicBezTo>
                  <a:cubicBezTo>
                    <a:pt x="1737" y="1356"/>
                    <a:pt x="1744" y="1371"/>
                    <a:pt x="1773" y="1392"/>
                  </a:cubicBezTo>
                  <a:cubicBezTo>
                    <a:pt x="1788" y="1407"/>
                    <a:pt x="1802" y="1414"/>
                    <a:pt x="1824" y="1414"/>
                  </a:cubicBezTo>
                  <a:cubicBezTo>
                    <a:pt x="1861" y="1414"/>
                    <a:pt x="1890" y="1392"/>
                    <a:pt x="1920" y="1363"/>
                  </a:cubicBezTo>
                  <a:cubicBezTo>
                    <a:pt x="1964" y="1334"/>
                    <a:pt x="1993" y="1319"/>
                    <a:pt x="2037" y="1312"/>
                  </a:cubicBezTo>
                  <a:cubicBezTo>
                    <a:pt x="2044" y="1312"/>
                    <a:pt x="2052" y="1312"/>
                    <a:pt x="2052" y="1312"/>
                  </a:cubicBezTo>
                  <a:cubicBezTo>
                    <a:pt x="2059" y="1319"/>
                    <a:pt x="2059" y="1326"/>
                    <a:pt x="2059" y="1326"/>
                  </a:cubicBezTo>
                  <a:cubicBezTo>
                    <a:pt x="2059" y="1341"/>
                    <a:pt x="2059" y="1356"/>
                    <a:pt x="2066" y="1378"/>
                  </a:cubicBezTo>
                  <a:cubicBezTo>
                    <a:pt x="2081" y="1444"/>
                    <a:pt x="2088" y="1473"/>
                    <a:pt x="2110" y="1510"/>
                  </a:cubicBezTo>
                  <a:cubicBezTo>
                    <a:pt x="2125" y="1532"/>
                    <a:pt x="2125" y="1532"/>
                    <a:pt x="2103" y="1575"/>
                  </a:cubicBezTo>
                  <a:cubicBezTo>
                    <a:pt x="2088" y="1597"/>
                    <a:pt x="2081" y="1611"/>
                    <a:pt x="2066" y="1619"/>
                  </a:cubicBezTo>
                  <a:cubicBezTo>
                    <a:pt x="2052" y="1633"/>
                    <a:pt x="2037" y="1641"/>
                    <a:pt x="2022" y="1663"/>
                  </a:cubicBezTo>
                  <a:cubicBezTo>
                    <a:pt x="2015" y="1670"/>
                    <a:pt x="2008" y="1677"/>
                    <a:pt x="2000" y="1684"/>
                  </a:cubicBezTo>
                  <a:cubicBezTo>
                    <a:pt x="1978" y="1706"/>
                    <a:pt x="1942" y="1751"/>
                    <a:pt x="1993" y="1802"/>
                  </a:cubicBezTo>
                  <a:cubicBezTo>
                    <a:pt x="1964" y="1809"/>
                    <a:pt x="1949" y="1824"/>
                    <a:pt x="1927" y="1838"/>
                  </a:cubicBezTo>
                  <a:cubicBezTo>
                    <a:pt x="1920" y="1831"/>
                    <a:pt x="1905" y="1831"/>
                    <a:pt x="1890" y="1831"/>
                  </a:cubicBezTo>
                  <a:cubicBezTo>
                    <a:pt x="1876" y="1831"/>
                    <a:pt x="1854" y="1824"/>
                    <a:pt x="1839" y="1824"/>
                  </a:cubicBezTo>
                  <a:cubicBezTo>
                    <a:pt x="1810" y="1816"/>
                    <a:pt x="1781" y="1809"/>
                    <a:pt x="1751" y="1809"/>
                  </a:cubicBezTo>
                  <a:cubicBezTo>
                    <a:pt x="1722" y="1809"/>
                    <a:pt x="1692" y="1816"/>
                    <a:pt x="1671" y="1838"/>
                  </a:cubicBezTo>
                  <a:cubicBezTo>
                    <a:pt x="1649" y="1853"/>
                    <a:pt x="1634" y="1860"/>
                    <a:pt x="1627" y="1868"/>
                  </a:cubicBezTo>
                  <a:cubicBezTo>
                    <a:pt x="1583" y="1882"/>
                    <a:pt x="1568" y="1904"/>
                    <a:pt x="1583" y="1970"/>
                  </a:cubicBezTo>
                  <a:cubicBezTo>
                    <a:pt x="1597" y="2044"/>
                    <a:pt x="1619" y="2088"/>
                    <a:pt x="1649" y="2117"/>
                  </a:cubicBezTo>
                  <a:cubicBezTo>
                    <a:pt x="1649" y="2124"/>
                    <a:pt x="1641" y="2124"/>
                    <a:pt x="1641" y="2124"/>
                  </a:cubicBezTo>
                  <a:cubicBezTo>
                    <a:pt x="1627" y="2139"/>
                    <a:pt x="1619" y="2146"/>
                    <a:pt x="1605" y="2153"/>
                  </a:cubicBezTo>
                  <a:cubicBezTo>
                    <a:pt x="1583" y="2168"/>
                    <a:pt x="1568" y="2183"/>
                    <a:pt x="1539" y="2227"/>
                  </a:cubicBezTo>
                  <a:cubicBezTo>
                    <a:pt x="1531" y="2249"/>
                    <a:pt x="1517" y="2256"/>
                    <a:pt x="1509" y="2271"/>
                  </a:cubicBezTo>
                  <a:cubicBezTo>
                    <a:pt x="1488" y="2285"/>
                    <a:pt x="1473" y="2307"/>
                    <a:pt x="1473" y="2359"/>
                  </a:cubicBezTo>
                  <a:cubicBezTo>
                    <a:pt x="1473" y="2395"/>
                    <a:pt x="1473" y="2410"/>
                    <a:pt x="1480" y="2425"/>
                  </a:cubicBezTo>
                  <a:cubicBezTo>
                    <a:pt x="1480" y="2425"/>
                    <a:pt x="1473" y="2425"/>
                    <a:pt x="1465" y="2432"/>
                  </a:cubicBezTo>
                  <a:cubicBezTo>
                    <a:pt x="1458" y="2439"/>
                    <a:pt x="1451" y="2439"/>
                    <a:pt x="1443" y="2447"/>
                  </a:cubicBezTo>
                  <a:cubicBezTo>
                    <a:pt x="1407" y="2469"/>
                    <a:pt x="1400" y="2476"/>
                    <a:pt x="1370" y="2527"/>
                  </a:cubicBezTo>
                  <a:cubicBezTo>
                    <a:pt x="1363" y="2542"/>
                    <a:pt x="1355" y="2556"/>
                    <a:pt x="1355" y="2564"/>
                  </a:cubicBezTo>
                  <a:cubicBezTo>
                    <a:pt x="1341" y="2586"/>
                    <a:pt x="1341" y="2593"/>
                    <a:pt x="1290" y="2608"/>
                  </a:cubicBezTo>
                  <a:cubicBezTo>
                    <a:pt x="1268" y="2608"/>
                    <a:pt x="1246" y="2615"/>
                    <a:pt x="1238" y="2615"/>
                  </a:cubicBezTo>
                  <a:cubicBezTo>
                    <a:pt x="1209" y="2615"/>
                    <a:pt x="1202" y="2608"/>
                    <a:pt x="1187" y="2579"/>
                  </a:cubicBezTo>
                  <a:cubicBezTo>
                    <a:pt x="1172" y="2549"/>
                    <a:pt x="1150" y="2520"/>
                    <a:pt x="1121" y="2520"/>
                  </a:cubicBezTo>
                  <a:cubicBezTo>
                    <a:pt x="1084" y="2520"/>
                    <a:pt x="1070" y="2556"/>
                    <a:pt x="1062" y="2571"/>
                  </a:cubicBezTo>
                  <a:cubicBezTo>
                    <a:pt x="1055" y="2586"/>
                    <a:pt x="1055" y="2601"/>
                    <a:pt x="1048" y="2608"/>
                  </a:cubicBezTo>
                  <a:cubicBezTo>
                    <a:pt x="1040" y="2644"/>
                    <a:pt x="1033" y="2652"/>
                    <a:pt x="997" y="2674"/>
                  </a:cubicBezTo>
                  <a:cubicBezTo>
                    <a:pt x="974" y="2681"/>
                    <a:pt x="974" y="2681"/>
                    <a:pt x="974" y="2681"/>
                  </a:cubicBezTo>
                  <a:cubicBezTo>
                    <a:pt x="916" y="2710"/>
                    <a:pt x="887" y="2725"/>
                    <a:pt x="864" y="2784"/>
                  </a:cubicBezTo>
                  <a:cubicBezTo>
                    <a:pt x="857" y="2798"/>
                    <a:pt x="843" y="2798"/>
                    <a:pt x="828" y="2806"/>
                  </a:cubicBezTo>
                  <a:cubicBezTo>
                    <a:pt x="806" y="2820"/>
                    <a:pt x="777" y="2842"/>
                    <a:pt x="784" y="2894"/>
                  </a:cubicBezTo>
                  <a:cubicBezTo>
                    <a:pt x="784" y="2930"/>
                    <a:pt x="799" y="2945"/>
                    <a:pt x="813" y="2952"/>
                  </a:cubicBezTo>
                  <a:cubicBezTo>
                    <a:pt x="813" y="2960"/>
                    <a:pt x="821" y="2967"/>
                    <a:pt x="821" y="2996"/>
                  </a:cubicBezTo>
                  <a:cubicBezTo>
                    <a:pt x="828" y="3011"/>
                    <a:pt x="828" y="3033"/>
                    <a:pt x="835" y="3047"/>
                  </a:cubicBezTo>
                  <a:cubicBezTo>
                    <a:pt x="843" y="3084"/>
                    <a:pt x="843" y="3099"/>
                    <a:pt x="813" y="3143"/>
                  </a:cubicBezTo>
                  <a:cubicBezTo>
                    <a:pt x="791" y="3172"/>
                    <a:pt x="769" y="3201"/>
                    <a:pt x="762" y="3223"/>
                  </a:cubicBezTo>
                  <a:cubicBezTo>
                    <a:pt x="755" y="3231"/>
                    <a:pt x="755" y="3231"/>
                    <a:pt x="755" y="3231"/>
                  </a:cubicBezTo>
                  <a:cubicBezTo>
                    <a:pt x="755" y="3238"/>
                    <a:pt x="755" y="3238"/>
                    <a:pt x="755" y="3238"/>
                  </a:cubicBezTo>
                  <a:cubicBezTo>
                    <a:pt x="755" y="3282"/>
                    <a:pt x="755" y="3333"/>
                    <a:pt x="784" y="3377"/>
                  </a:cubicBezTo>
                  <a:cubicBezTo>
                    <a:pt x="821" y="3443"/>
                    <a:pt x="843" y="3531"/>
                    <a:pt x="821" y="3575"/>
                  </a:cubicBezTo>
                  <a:cubicBezTo>
                    <a:pt x="813" y="3582"/>
                    <a:pt x="806" y="3597"/>
                    <a:pt x="799" y="3619"/>
                  </a:cubicBezTo>
                  <a:cubicBezTo>
                    <a:pt x="784" y="3641"/>
                    <a:pt x="755" y="3700"/>
                    <a:pt x="740" y="3700"/>
                  </a:cubicBezTo>
                  <a:cubicBezTo>
                    <a:pt x="733" y="3700"/>
                    <a:pt x="725" y="3692"/>
                    <a:pt x="711" y="3678"/>
                  </a:cubicBezTo>
                  <a:cubicBezTo>
                    <a:pt x="696" y="3663"/>
                    <a:pt x="681" y="3641"/>
                    <a:pt x="645" y="3634"/>
                  </a:cubicBezTo>
                  <a:cubicBezTo>
                    <a:pt x="645" y="3634"/>
                    <a:pt x="638" y="3634"/>
                    <a:pt x="630" y="3634"/>
                  </a:cubicBezTo>
                  <a:cubicBezTo>
                    <a:pt x="579" y="3634"/>
                    <a:pt x="550" y="3670"/>
                    <a:pt x="528" y="3700"/>
                  </a:cubicBezTo>
                  <a:cubicBezTo>
                    <a:pt x="520" y="3714"/>
                    <a:pt x="513" y="3722"/>
                    <a:pt x="506" y="3729"/>
                  </a:cubicBezTo>
                  <a:cubicBezTo>
                    <a:pt x="476" y="3758"/>
                    <a:pt x="440" y="3795"/>
                    <a:pt x="447" y="3846"/>
                  </a:cubicBezTo>
                  <a:cubicBezTo>
                    <a:pt x="454" y="3868"/>
                    <a:pt x="462" y="3890"/>
                    <a:pt x="469" y="3912"/>
                  </a:cubicBezTo>
                  <a:cubicBezTo>
                    <a:pt x="476" y="3934"/>
                    <a:pt x="491" y="3956"/>
                    <a:pt x="483" y="3978"/>
                  </a:cubicBezTo>
                  <a:cubicBezTo>
                    <a:pt x="483" y="3993"/>
                    <a:pt x="483" y="4000"/>
                    <a:pt x="483" y="4015"/>
                  </a:cubicBezTo>
                  <a:cubicBezTo>
                    <a:pt x="476" y="4037"/>
                    <a:pt x="476" y="4051"/>
                    <a:pt x="447" y="4073"/>
                  </a:cubicBezTo>
                  <a:cubicBezTo>
                    <a:pt x="440" y="4088"/>
                    <a:pt x="440" y="4088"/>
                    <a:pt x="440" y="4088"/>
                  </a:cubicBezTo>
                  <a:cubicBezTo>
                    <a:pt x="410" y="4110"/>
                    <a:pt x="396" y="4132"/>
                    <a:pt x="403" y="4161"/>
                  </a:cubicBezTo>
                  <a:cubicBezTo>
                    <a:pt x="410" y="4183"/>
                    <a:pt x="447" y="4191"/>
                    <a:pt x="476" y="4198"/>
                  </a:cubicBezTo>
                  <a:cubicBezTo>
                    <a:pt x="535" y="4198"/>
                    <a:pt x="564" y="4227"/>
                    <a:pt x="593" y="4264"/>
                  </a:cubicBezTo>
                  <a:cubicBezTo>
                    <a:pt x="601" y="4271"/>
                    <a:pt x="601" y="4271"/>
                    <a:pt x="601" y="4271"/>
                  </a:cubicBezTo>
                  <a:cubicBezTo>
                    <a:pt x="615" y="4286"/>
                    <a:pt x="623" y="4301"/>
                    <a:pt x="623" y="4322"/>
                  </a:cubicBezTo>
                  <a:cubicBezTo>
                    <a:pt x="630" y="4330"/>
                    <a:pt x="630" y="4344"/>
                    <a:pt x="638" y="4366"/>
                  </a:cubicBezTo>
                  <a:cubicBezTo>
                    <a:pt x="652" y="4396"/>
                    <a:pt x="667" y="4410"/>
                    <a:pt x="681" y="4425"/>
                  </a:cubicBezTo>
                  <a:cubicBezTo>
                    <a:pt x="689" y="4425"/>
                    <a:pt x="696" y="4432"/>
                    <a:pt x="703" y="4447"/>
                  </a:cubicBezTo>
                  <a:cubicBezTo>
                    <a:pt x="718" y="4469"/>
                    <a:pt x="740" y="4513"/>
                    <a:pt x="733" y="4557"/>
                  </a:cubicBezTo>
                  <a:cubicBezTo>
                    <a:pt x="725" y="4594"/>
                    <a:pt x="718" y="4608"/>
                    <a:pt x="718" y="4608"/>
                  </a:cubicBezTo>
                  <a:cubicBezTo>
                    <a:pt x="718" y="4608"/>
                    <a:pt x="711" y="4608"/>
                    <a:pt x="703" y="4601"/>
                  </a:cubicBezTo>
                  <a:cubicBezTo>
                    <a:pt x="681" y="4586"/>
                    <a:pt x="652" y="4579"/>
                    <a:pt x="630" y="4579"/>
                  </a:cubicBezTo>
                  <a:cubicBezTo>
                    <a:pt x="593" y="4579"/>
                    <a:pt x="564" y="4594"/>
                    <a:pt x="550" y="4608"/>
                  </a:cubicBezTo>
                  <a:cubicBezTo>
                    <a:pt x="535" y="4623"/>
                    <a:pt x="535" y="4638"/>
                    <a:pt x="535" y="4660"/>
                  </a:cubicBezTo>
                  <a:cubicBezTo>
                    <a:pt x="542" y="4689"/>
                    <a:pt x="571" y="4696"/>
                    <a:pt x="593" y="4703"/>
                  </a:cubicBezTo>
                  <a:lnTo>
                    <a:pt x="601" y="4703"/>
                  </a:lnTo>
                  <a:cubicBezTo>
                    <a:pt x="608" y="4718"/>
                    <a:pt x="601" y="4740"/>
                    <a:pt x="593" y="4747"/>
                  </a:cubicBezTo>
                  <a:cubicBezTo>
                    <a:pt x="593" y="4755"/>
                    <a:pt x="586" y="4755"/>
                    <a:pt x="586" y="4755"/>
                  </a:cubicBezTo>
                  <a:cubicBezTo>
                    <a:pt x="586" y="4755"/>
                    <a:pt x="579" y="4755"/>
                    <a:pt x="571" y="4747"/>
                  </a:cubicBezTo>
                  <a:cubicBezTo>
                    <a:pt x="557" y="4740"/>
                    <a:pt x="542" y="4733"/>
                    <a:pt x="535" y="4725"/>
                  </a:cubicBezTo>
                  <a:cubicBezTo>
                    <a:pt x="513" y="4711"/>
                    <a:pt x="491" y="4696"/>
                    <a:pt x="469" y="4696"/>
                  </a:cubicBezTo>
                  <a:cubicBezTo>
                    <a:pt x="447" y="4696"/>
                    <a:pt x="432" y="4703"/>
                    <a:pt x="410" y="4725"/>
                  </a:cubicBezTo>
                  <a:cubicBezTo>
                    <a:pt x="396" y="4747"/>
                    <a:pt x="374" y="4762"/>
                    <a:pt x="359" y="4777"/>
                  </a:cubicBezTo>
                  <a:cubicBezTo>
                    <a:pt x="337" y="4784"/>
                    <a:pt x="322" y="4799"/>
                    <a:pt x="308" y="4813"/>
                  </a:cubicBezTo>
                  <a:cubicBezTo>
                    <a:pt x="300" y="4821"/>
                    <a:pt x="286" y="4828"/>
                    <a:pt x="271" y="4843"/>
                  </a:cubicBezTo>
                  <a:cubicBezTo>
                    <a:pt x="242" y="4865"/>
                    <a:pt x="205" y="4894"/>
                    <a:pt x="205" y="4923"/>
                  </a:cubicBezTo>
                  <a:cubicBezTo>
                    <a:pt x="205" y="4938"/>
                    <a:pt x="205" y="4953"/>
                    <a:pt x="220" y="4967"/>
                  </a:cubicBezTo>
                  <a:cubicBezTo>
                    <a:pt x="256" y="5004"/>
                    <a:pt x="293" y="5019"/>
                    <a:pt x="315" y="5026"/>
                  </a:cubicBezTo>
                  <a:cubicBezTo>
                    <a:pt x="322" y="5026"/>
                    <a:pt x="322" y="5026"/>
                    <a:pt x="322" y="5026"/>
                  </a:cubicBezTo>
                  <a:cubicBezTo>
                    <a:pt x="337" y="5033"/>
                    <a:pt x="344" y="5048"/>
                    <a:pt x="337" y="5077"/>
                  </a:cubicBezTo>
                  <a:lnTo>
                    <a:pt x="337" y="5077"/>
                  </a:lnTo>
                  <a:cubicBezTo>
                    <a:pt x="337" y="5084"/>
                    <a:pt x="337" y="5092"/>
                    <a:pt x="337" y="5092"/>
                  </a:cubicBezTo>
                  <a:cubicBezTo>
                    <a:pt x="330" y="5092"/>
                    <a:pt x="330" y="5092"/>
                    <a:pt x="322" y="5084"/>
                  </a:cubicBezTo>
                  <a:cubicBezTo>
                    <a:pt x="308" y="5084"/>
                    <a:pt x="293" y="5077"/>
                    <a:pt x="278" y="5070"/>
                  </a:cubicBezTo>
                  <a:cubicBezTo>
                    <a:pt x="256" y="5063"/>
                    <a:pt x="234" y="5055"/>
                    <a:pt x="212" y="5055"/>
                  </a:cubicBezTo>
                  <a:cubicBezTo>
                    <a:pt x="190" y="5055"/>
                    <a:pt x="176" y="5063"/>
                    <a:pt x="169" y="5077"/>
                  </a:cubicBezTo>
                  <a:cubicBezTo>
                    <a:pt x="154" y="5099"/>
                    <a:pt x="139" y="5129"/>
                    <a:pt x="132" y="5158"/>
                  </a:cubicBezTo>
                  <a:cubicBezTo>
                    <a:pt x="132" y="5165"/>
                    <a:pt x="132" y="5172"/>
                    <a:pt x="132" y="5180"/>
                  </a:cubicBezTo>
                  <a:cubicBezTo>
                    <a:pt x="117" y="5180"/>
                    <a:pt x="95" y="5180"/>
                    <a:pt x="66" y="5209"/>
                  </a:cubicBezTo>
                  <a:cubicBezTo>
                    <a:pt x="59" y="5216"/>
                    <a:pt x="0" y="5275"/>
                    <a:pt x="7" y="5334"/>
                  </a:cubicBezTo>
                  <a:cubicBezTo>
                    <a:pt x="15" y="5356"/>
                    <a:pt x="29" y="5370"/>
                    <a:pt x="51" y="5385"/>
                  </a:cubicBezTo>
                  <a:cubicBezTo>
                    <a:pt x="59" y="5385"/>
                    <a:pt x="73" y="5392"/>
                    <a:pt x="88" y="5400"/>
                  </a:cubicBezTo>
                  <a:cubicBezTo>
                    <a:pt x="117" y="5414"/>
                    <a:pt x="132" y="5414"/>
                    <a:pt x="147" y="5458"/>
                  </a:cubicBezTo>
                  <a:cubicBezTo>
                    <a:pt x="161" y="5524"/>
                    <a:pt x="183" y="5597"/>
                    <a:pt x="242" y="5620"/>
                  </a:cubicBezTo>
                  <a:cubicBezTo>
                    <a:pt x="256" y="5627"/>
                    <a:pt x="278" y="5634"/>
                    <a:pt x="308" y="5634"/>
                  </a:cubicBezTo>
                  <a:cubicBezTo>
                    <a:pt x="359" y="5634"/>
                    <a:pt x="403" y="5627"/>
                    <a:pt x="410" y="5620"/>
                  </a:cubicBezTo>
                  <a:cubicBezTo>
                    <a:pt x="418" y="5620"/>
                    <a:pt x="418" y="5620"/>
                    <a:pt x="418" y="5620"/>
                  </a:cubicBezTo>
                  <a:cubicBezTo>
                    <a:pt x="425" y="5620"/>
                    <a:pt x="425" y="5620"/>
                    <a:pt x="425" y="5620"/>
                  </a:cubicBezTo>
                  <a:cubicBezTo>
                    <a:pt x="447" y="5597"/>
                    <a:pt x="469" y="5590"/>
                    <a:pt x="491" y="5583"/>
                  </a:cubicBezTo>
                  <a:cubicBezTo>
                    <a:pt x="513" y="5575"/>
                    <a:pt x="535" y="5568"/>
                    <a:pt x="557" y="5546"/>
                  </a:cubicBezTo>
                  <a:cubicBezTo>
                    <a:pt x="593" y="5524"/>
                    <a:pt x="615" y="5517"/>
                    <a:pt x="667" y="5495"/>
                  </a:cubicBezTo>
                  <a:cubicBezTo>
                    <a:pt x="696" y="5488"/>
                    <a:pt x="696" y="5488"/>
                    <a:pt x="696" y="5488"/>
                  </a:cubicBezTo>
                  <a:cubicBezTo>
                    <a:pt x="733" y="5473"/>
                    <a:pt x="733" y="5473"/>
                    <a:pt x="733" y="5473"/>
                  </a:cubicBezTo>
                  <a:cubicBezTo>
                    <a:pt x="791" y="5451"/>
                    <a:pt x="857" y="5422"/>
                    <a:pt x="887" y="5422"/>
                  </a:cubicBezTo>
                  <a:cubicBezTo>
                    <a:pt x="894" y="5414"/>
                    <a:pt x="894" y="5414"/>
                    <a:pt x="894" y="5414"/>
                  </a:cubicBezTo>
                  <a:cubicBezTo>
                    <a:pt x="916" y="5414"/>
                    <a:pt x="938" y="5407"/>
                    <a:pt x="960" y="5407"/>
                  </a:cubicBezTo>
                  <a:cubicBezTo>
                    <a:pt x="982" y="5407"/>
                    <a:pt x="997" y="5414"/>
                    <a:pt x="1011" y="5429"/>
                  </a:cubicBezTo>
                  <a:cubicBezTo>
                    <a:pt x="1026" y="5436"/>
                    <a:pt x="1033" y="5451"/>
                    <a:pt x="1040" y="5458"/>
                  </a:cubicBezTo>
                  <a:cubicBezTo>
                    <a:pt x="1070" y="5488"/>
                    <a:pt x="1092" y="5510"/>
                    <a:pt x="1121" y="5539"/>
                  </a:cubicBezTo>
                  <a:cubicBezTo>
                    <a:pt x="1128" y="5561"/>
                    <a:pt x="1143" y="5575"/>
                    <a:pt x="1158" y="5590"/>
                  </a:cubicBezTo>
                  <a:cubicBezTo>
                    <a:pt x="1194" y="5620"/>
                    <a:pt x="1209" y="5641"/>
                    <a:pt x="1209" y="5671"/>
                  </a:cubicBezTo>
                  <a:cubicBezTo>
                    <a:pt x="1194" y="5744"/>
                    <a:pt x="1187" y="5839"/>
                    <a:pt x="1209" y="5898"/>
                  </a:cubicBezTo>
                  <a:cubicBezTo>
                    <a:pt x="1224" y="5942"/>
                    <a:pt x="1238" y="5949"/>
                    <a:pt x="1260" y="5956"/>
                  </a:cubicBezTo>
                  <a:cubicBezTo>
                    <a:pt x="1260" y="5956"/>
                    <a:pt x="1268" y="5964"/>
                    <a:pt x="1275" y="5971"/>
                  </a:cubicBezTo>
                  <a:cubicBezTo>
                    <a:pt x="1282" y="5979"/>
                    <a:pt x="1282" y="6008"/>
                    <a:pt x="1282" y="6037"/>
                  </a:cubicBezTo>
                  <a:cubicBezTo>
                    <a:pt x="1282" y="6059"/>
                    <a:pt x="1282" y="6081"/>
                    <a:pt x="1282" y="6103"/>
                  </a:cubicBezTo>
                  <a:cubicBezTo>
                    <a:pt x="1282" y="6110"/>
                    <a:pt x="1290" y="6118"/>
                    <a:pt x="1290" y="6125"/>
                  </a:cubicBezTo>
                  <a:cubicBezTo>
                    <a:pt x="1297" y="6176"/>
                    <a:pt x="1304" y="6242"/>
                    <a:pt x="1355" y="6250"/>
                  </a:cubicBezTo>
                  <a:cubicBezTo>
                    <a:pt x="1370" y="6257"/>
                    <a:pt x="1385" y="6264"/>
                    <a:pt x="1400" y="6272"/>
                  </a:cubicBezTo>
                  <a:cubicBezTo>
                    <a:pt x="1414" y="6279"/>
                    <a:pt x="1436" y="6294"/>
                    <a:pt x="1465" y="6301"/>
                  </a:cubicBezTo>
                  <a:cubicBezTo>
                    <a:pt x="1465" y="6308"/>
                    <a:pt x="1458" y="6315"/>
                    <a:pt x="1451" y="6323"/>
                  </a:cubicBezTo>
                  <a:cubicBezTo>
                    <a:pt x="1429" y="6352"/>
                    <a:pt x="1414" y="6374"/>
                    <a:pt x="1407" y="6396"/>
                  </a:cubicBezTo>
                  <a:cubicBezTo>
                    <a:pt x="1392" y="6425"/>
                    <a:pt x="1392" y="6433"/>
                    <a:pt x="1355" y="6440"/>
                  </a:cubicBezTo>
                  <a:cubicBezTo>
                    <a:pt x="1275" y="6455"/>
                    <a:pt x="1238" y="6477"/>
                    <a:pt x="1224" y="6550"/>
                  </a:cubicBezTo>
                  <a:cubicBezTo>
                    <a:pt x="1209" y="6616"/>
                    <a:pt x="1231" y="6667"/>
                    <a:pt x="1275" y="6704"/>
                  </a:cubicBezTo>
                  <a:cubicBezTo>
                    <a:pt x="1312" y="6733"/>
                    <a:pt x="1333" y="6784"/>
                    <a:pt x="1341" y="6821"/>
                  </a:cubicBezTo>
                  <a:cubicBezTo>
                    <a:pt x="1348" y="6851"/>
                    <a:pt x="1363" y="6872"/>
                    <a:pt x="1370" y="6894"/>
                  </a:cubicBezTo>
                  <a:cubicBezTo>
                    <a:pt x="1385" y="6916"/>
                    <a:pt x="1385" y="6916"/>
                    <a:pt x="1385" y="6916"/>
                  </a:cubicBezTo>
                  <a:cubicBezTo>
                    <a:pt x="1407" y="6909"/>
                    <a:pt x="1407" y="6909"/>
                    <a:pt x="1407" y="6909"/>
                  </a:cubicBezTo>
                  <a:cubicBezTo>
                    <a:pt x="1465" y="6887"/>
                    <a:pt x="1465" y="6887"/>
                    <a:pt x="1465" y="6887"/>
                  </a:cubicBezTo>
                  <a:cubicBezTo>
                    <a:pt x="1480" y="6887"/>
                    <a:pt x="1524" y="6946"/>
                    <a:pt x="1546" y="6982"/>
                  </a:cubicBezTo>
                  <a:cubicBezTo>
                    <a:pt x="1583" y="7034"/>
                    <a:pt x="1619" y="7085"/>
                    <a:pt x="1663" y="7107"/>
                  </a:cubicBezTo>
                  <a:cubicBezTo>
                    <a:pt x="1678" y="7122"/>
                    <a:pt x="1700" y="7122"/>
                    <a:pt x="1714" y="7122"/>
                  </a:cubicBezTo>
                  <a:cubicBezTo>
                    <a:pt x="1744" y="7122"/>
                    <a:pt x="1766" y="7114"/>
                    <a:pt x="1788" y="7092"/>
                  </a:cubicBezTo>
                  <a:cubicBezTo>
                    <a:pt x="1817" y="7048"/>
                    <a:pt x="1824" y="6990"/>
                    <a:pt x="1810" y="6931"/>
                  </a:cubicBezTo>
                  <a:cubicBezTo>
                    <a:pt x="1795" y="6880"/>
                    <a:pt x="1802" y="6843"/>
                    <a:pt x="1817" y="6814"/>
                  </a:cubicBezTo>
                  <a:cubicBezTo>
                    <a:pt x="1832" y="6799"/>
                    <a:pt x="1846" y="6784"/>
                    <a:pt x="1876" y="6784"/>
                  </a:cubicBezTo>
                  <a:cubicBezTo>
                    <a:pt x="1883" y="6784"/>
                    <a:pt x="1890" y="6784"/>
                    <a:pt x="1890" y="6784"/>
                  </a:cubicBezTo>
                  <a:cubicBezTo>
                    <a:pt x="1920" y="6784"/>
                    <a:pt x="1920" y="6784"/>
                    <a:pt x="1942" y="6909"/>
                  </a:cubicBezTo>
                  <a:cubicBezTo>
                    <a:pt x="1942" y="6939"/>
                    <a:pt x="1949" y="6968"/>
                    <a:pt x="1956" y="6997"/>
                  </a:cubicBezTo>
                  <a:cubicBezTo>
                    <a:pt x="1971" y="7092"/>
                    <a:pt x="2030" y="7144"/>
                    <a:pt x="2118" y="7144"/>
                  </a:cubicBezTo>
                  <a:cubicBezTo>
                    <a:pt x="2162" y="7144"/>
                    <a:pt x="2205" y="7129"/>
                    <a:pt x="2235" y="7114"/>
                  </a:cubicBezTo>
                  <a:cubicBezTo>
                    <a:pt x="2257" y="7158"/>
                    <a:pt x="2301" y="7173"/>
                    <a:pt x="2381" y="7173"/>
                  </a:cubicBezTo>
                  <a:cubicBezTo>
                    <a:pt x="2396" y="7173"/>
                    <a:pt x="2396" y="7173"/>
                    <a:pt x="2396" y="7173"/>
                  </a:cubicBezTo>
                  <a:lnTo>
                    <a:pt x="2396" y="7173"/>
                  </a:lnTo>
                  <a:cubicBezTo>
                    <a:pt x="2396" y="7173"/>
                    <a:pt x="2396" y="7180"/>
                    <a:pt x="2389" y="7188"/>
                  </a:cubicBezTo>
                  <a:cubicBezTo>
                    <a:pt x="2381" y="7210"/>
                    <a:pt x="2359" y="7224"/>
                    <a:pt x="2345" y="7224"/>
                  </a:cubicBezTo>
                  <a:cubicBezTo>
                    <a:pt x="2337" y="7224"/>
                    <a:pt x="2330" y="7224"/>
                    <a:pt x="2323" y="7224"/>
                  </a:cubicBezTo>
                  <a:cubicBezTo>
                    <a:pt x="2257" y="7232"/>
                    <a:pt x="2257" y="7261"/>
                    <a:pt x="2250" y="7356"/>
                  </a:cubicBezTo>
                  <a:cubicBezTo>
                    <a:pt x="2250" y="7371"/>
                    <a:pt x="2250" y="7385"/>
                    <a:pt x="2250" y="7407"/>
                  </a:cubicBezTo>
                  <a:cubicBezTo>
                    <a:pt x="2250" y="7451"/>
                    <a:pt x="2250" y="7481"/>
                    <a:pt x="2271" y="7495"/>
                  </a:cubicBezTo>
                  <a:cubicBezTo>
                    <a:pt x="2279" y="7503"/>
                    <a:pt x="2293" y="7510"/>
                    <a:pt x="2308" y="7510"/>
                  </a:cubicBezTo>
                  <a:cubicBezTo>
                    <a:pt x="2345" y="7510"/>
                    <a:pt x="2381" y="7473"/>
                    <a:pt x="2440" y="7422"/>
                  </a:cubicBezTo>
                  <a:cubicBezTo>
                    <a:pt x="2455" y="7407"/>
                    <a:pt x="2477" y="7385"/>
                    <a:pt x="2484" y="7385"/>
                  </a:cubicBezTo>
                  <a:cubicBezTo>
                    <a:pt x="2528" y="7363"/>
                    <a:pt x="2535" y="7334"/>
                    <a:pt x="2535" y="7305"/>
                  </a:cubicBezTo>
                  <a:cubicBezTo>
                    <a:pt x="2535" y="7283"/>
                    <a:pt x="2543" y="7268"/>
                    <a:pt x="2550" y="7239"/>
                  </a:cubicBezTo>
                  <a:cubicBezTo>
                    <a:pt x="2550" y="7224"/>
                    <a:pt x="2564" y="7173"/>
                    <a:pt x="2579" y="7173"/>
                  </a:cubicBezTo>
                  <a:cubicBezTo>
                    <a:pt x="2587" y="7173"/>
                    <a:pt x="2594" y="7180"/>
                    <a:pt x="2623" y="7202"/>
                  </a:cubicBezTo>
                  <a:cubicBezTo>
                    <a:pt x="2645" y="7217"/>
                    <a:pt x="2667" y="7224"/>
                    <a:pt x="2689" y="7224"/>
                  </a:cubicBezTo>
                  <a:cubicBezTo>
                    <a:pt x="2733" y="7224"/>
                    <a:pt x="2748" y="7180"/>
                    <a:pt x="2762" y="7151"/>
                  </a:cubicBezTo>
                  <a:cubicBezTo>
                    <a:pt x="2770" y="7136"/>
                    <a:pt x="2777" y="7122"/>
                    <a:pt x="2784" y="7114"/>
                  </a:cubicBezTo>
                  <a:cubicBezTo>
                    <a:pt x="2784" y="7107"/>
                    <a:pt x="2784" y="7107"/>
                    <a:pt x="2799" y="7107"/>
                  </a:cubicBezTo>
                  <a:cubicBezTo>
                    <a:pt x="2828" y="7107"/>
                    <a:pt x="2872" y="7136"/>
                    <a:pt x="2887" y="7144"/>
                  </a:cubicBezTo>
                  <a:cubicBezTo>
                    <a:pt x="2931" y="7100"/>
                    <a:pt x="2931" y="7100"/>
                    <a:pt x="2931" y="7100"/>
                  </a:cubicBezTo>
                  <a:cubicBezTo>
                    <a:pt x="2850" y="6990"/>
                    <a:pt x="2850" y="6990"/>
                    <a:pt x="2850" y="6990"/>
                  </a:cubicBezTo>
                  <a:cubicBezTo>
                    <a:pt x="2887" y="6960"/>
                    <a:pt x="2887" y="6960"/>
                    <a:pt x="2887" y="6960"/>
                  </a:cubicBezTo>
                  <a:lnTo>
                    <a:pt x="2887" y="6960"/>
                  </a:lnTo>
                  <a:cubicBezTo>
                    <a:pt x="2894" y="6960"/>
                    <a:pt x="2894" y="6960"/>
                    <a:pt x="2894" y="6960"/>
                  </a:cubicBezTo>
                  <a:cubicBezTo>
                    <a:pt x="2902" y="6946"/>
                    <a:pt x="2902" y="6946"/>
                    <a:pt x="2902" y="6946"/>
                  </a:cubicBezTo>
                  <a:cubicBezTo>
                    <a:pt x="2902" y="6931"/>
                    <a:pt x="2902" y="6931"/>
                    <a:pt x="2902" y="6931"/>
                  </a:cubicBezTo>
                  <a:cubicBezTo>
                    <a:pt x="2902" y="6902"/>
                    <a:pt x="2894" y="6880"/>
                    <a:pt x="2880" y="6865"/>
                  </a:cubicBezTo>
                  <a:cubicBezTo>
                    <a:pt x="2872" y="6843"/>
                    <a:pt x="2858" y="6836"/>
                    <a:pt x="2828" y="6836"/>
                  </a:cubicBezTo>
                  <a:lnTo>
                    <a:pt x="2821" y="6836"/>
                  </a:lnTo>
                  <a:lnTo>
                    <a:pt x="2821" y="6829"/>
                  </a:lnTo>
                  <a:cubicBezTo>
                    <a:pt x="2821" y="6806"/>
                    <a:pt x="2828" y="6806"/>
                    <a:pt x="2828" y="6799"/>
                  </a:cubicBezTo>
                  <a:lnTo>
                    <a:pt x="2828" y="6799"/>
                  </a:lnTo>
                  <a:lnTo>
                    <a:pt x="2828" y="6799"/>
                  </a:lnTo>
                  <a:cubicBezTo>
                    <a:pt x="2850" y="6792"/>
                    <a:pt x="2872" y="6784"/>
                    <a:pt x="2887" y="6741"/>
                  </a:cubicBezTo>
                  <a:cubicBezTo>
                    <a:pt x="2902" y="6689"/>
                    <a:pt x="2902" y="6660"/>
                    <a:pt x="2894" y="6631"/>
                  </a:cubicBezTo>
                  <a:cubicBezTo>
                    <a:pt x="2894" y="6616"/>
                    <a:pt x="2887" y="6594"/>
                    <a:pt x="2887" y="6572"/>
                  </a:cubicBezTo>
                  <a:cubicBezTo>
                    <a:pt x="2887" y="6550"/>
                    <a:pt x="2887" y="6550"/>
                    <a:pt x="2902" y="6543"/>
                  </a:cubicBezTo>
                  <a:cubicBezTo>
                    <a:pt x="2909" y="6535"/>
                    <a:pt x="2931" y="6513"/>
                    <a:pt x="2945" y="6470"/>
                  </a:cubicBezTo>
                  <a:cubicBezTo>
                    <a:pt x="2960" y="6403"/>
                    <a:pt x="2953" y="6367"/>
                    <a:pt x="2945" y="6330"/>
                  </a:cubicBezTo>
                  <a:cubicBezTo>
                    <a:pt x="2938" y="6315"/>
                    <a:pt x="2938" y="6294"/>
                    <a:pt x="2931" y="6272"/>
                  </a:cubicBezTo>
                  <a:cubicBezTo>
                    <a:pt x="2924" y="6198"/>
                    <a:pt x="2894" y="6154"/>
                    <a:pt x="2865" y="6103"/>
                  </a:cubicBezTo>
                  <a:cubicBezTo>
                    <a:pt x="2850" y="6081"/>
                    <a:pt x="2850" y="6081"/>
                    <a:pt x="2850" y="6081"/>
                  </a:cubicBezTo>
                  <a:cubicBezTo>
                    <a:pt x="2836" y="6059"/>
                    <a:pt x="2836" y="6059"/>
                    <a:pt x="2836" y="6059"/>
                  </a:cubicBezTo>
                  <a:cubicBezTo>
                    <a:pt x="2799" y="6001"/>
                    <a:pt x="2748" y="5913"/>
                    <a:pt x="2726" y="5832"/>
                  </a:cubicBezTo>
                  <a:cubicBezTo>
                    <a:pt x="2704" y="5729"/>
                    <a:pt x="2711" y="5612"/>
                    <a:pt x="2726" y="5575"/>
                  </a:cubicBezTo>
                  <a:cubicBezTo>
                    <a:pt x="2777" y="5480"/>
                    <a:pt x="2770" y="5400"/>
                    <a:pt x="2711" y="5370"/>
                  </a:cubicBezTo>
                  <a:cubicBezTo>
                    <a:pt x="2652" y="5334"/>
                    <a:pt x="2638" y="5312"/>
                    <a:pt x="2660" y="5260"/>
                  </a:cubicBezTo>
                  <a:cubicBezTo>
                    <a:pt x="2660" y="5253"/>
                    <a:pt x="2660" y="5253"/>
                    <a:pt x="2660" y="5253"/>
                  </a:cubicBezTo>
                  <a:cubicBezTo>
                    <a:pt x="2689" y="5180"/>
                    <a:pt x="2704" y="5158"/>
                    <a:pt x="2777" y="5129"/>
                  </a:cubicBezTo>
                  <a:cubicBezTo>
                    <a:pt x="2792" y="5121"/>
                    <a:pt x="2806" y="5121"/>
                    <a:pt x="2821" y="5121"/>
                  </a:cubicBezTo>
                  <a:cubicBezTo>
                    <a:pt x="2843" y="5121"/>
                    <a:pt x="2865" y="5129"/>
                    <a:pt x="2880" y="5129"/>
                  </a:cubicBezTo>
                  <a:cubicBezTo>
                    <a:pt x="2902" y="5136"/>
                    <a:pt x="2916" y="5143"/>
                    <a:pt x="2931" y="5143"/>
                  </a:cubicBezTo>
                  <a:cubicBezTo>
                    <a:pt x="2931" y="5151"/>
                    <a:pt x="2924" y="5158"/>
                    <a:pt x="2924" y="5165"/>
                  </a:cubicBezTo>
                  <a:cubicBezTo>
                    <a:pt x="2975" y="5194"/>
                    <a:pt x="2975" y="5194"/>
                    <a:pt x="2975" y="5194"/>
                  </a:cubicBezTo>
                  <a:cubicBezTo>
                    <a:pt x="3012" y="5136"/>
                    <a:pt x="3078" y="5070"/>
                    <a:pt x="3099" y="5063"/>
                  </a:cubicBezTo>
                  <a:cubicBezTo>
                    <a:pt x="3136" y="5055"/>
                    <a:pt x="3187" y="5048"/>
                    <a:pt x="3231" y="5048"/>
                  </a:cubicBezTo>
                  <a:cubicBezTo>
                    <a:pt x="3283" y="5048"/>
                    <a:pt x="3305" y="5055"/>
                    <a:pt x="3312" y="5063"/>
                  </a:cubicBezTo>
                  <a:cubicBezTo>
                    <a:pt x="3341" y="5077"/>
                    <a:pt x="3385" y="5106"/>
                    <a:pt x="3422" y="5151"/>
                  </a:cubicBezTo>
                  <a:cubicBezTo>
                    <a:pt x="3451" y="5194"/>
                    <a:pt x="3517" y="5238"/>
                    <a:pt x="3590" y="5238"/>
                  </a:cubicBezTo>
                  <a:cubicBezTo>
                    <a:pt x="3605" y="5238"/>
                    <a:pt x="3620" y="5238"/>
                    <a:pt x="3642" y="5231"/>
                  </a:cubicBezTo>
                  <a:cubicBezTo>
                    <a:pt x="3722" y="5202"/>
                    <a:pt x="3759" y="5158"/>
                    <a:pt x="3759" y="5092"/>
                  </a:cubicBezTo>
                  <a:cubicBezTo>
                    <a:pt x="3759" y="5070"/>
                    <a:pt x="3774" y="5055"/>
                    <a:pt x="3788" y="5041"/>
                  </a:cubicBezTo>
                  <a:cubicBezTo>
                    <a:pt x="3803" y="5019"/>
                    <a:pt x="3818" y="4997"/>
                    <a:pt x="3818" y="4967"/>
                  </a:cubicBezTo>
                  <a:cubicBezTo>
                    <a:pt x="3818" y="4923"/>
                    <a:pt x="3788" y="4909"/>
                    <a:pt x="3774" y="4901"/>
                  </a:cubicBezTo>
                  <a:cubicBezTo>
                    <a:pt x="3752" y="4887"/>
                    <a:pt x="3752" y="4887"/>
                    <a:pt x="3752" y="4872"/>
                  </a:cubicBezTo>
                  <a:cubicBezTo>
                    <a:pt x="3752" y="4835"/>
                    <a:pt x="3744" y="4777"/>
                    <a:pt x="3744" y="4733"/>
                  </a:cubicBezTo>
                  <a:cubicBezTo>
                    <a:pt x="3781" y="4740"/>
                    <a:pt x="3825" y="4747"/>
                    <a:pt x="3832" y="4762"/>
                  </a:cubicBezTo>
                  <a:cubicBezTo>
                    <a:pt x="3847" y="4770"/>
                    <a:pt x="3869" y="4777"/>
                    <a:pt x="3898" y="4777"/>
                  </a:cubicBezTo>
                  <a:cubicBezTo>
                    <a:pt x="3964" y="4777"/>
                    <a:pt x="4067" y="4747"/>
                    <a:pt x="4067" y="4740"/>
                  </a:cubicBezTo>
                  <a:cubicBezTo>
                    <a:pt x="4177" y="4711"/>
                    <a:pt x="4177" y="4711"/>
                    <a:pt x="4177" y="4711"/>
                  </a:cubicBezTo>
                  <a:cubicBezTo>
                    <a:pt x="4067" y="4682"/>
                    <a:pt x="4067" y="4682"/>
                    <a:pt x="4067" y="4682"/>
                  </a:cubicBezTo>
                  <a:cubicBezTo>
                    <a:pt x="4045" y="4682"/>
                    <a:pt x="4023" y="4674"/>
                    <a:pt x="4015" y="4667"/>
                  </a:cubicBezTo>
                  <a:cubicBezTo>
                    <a:pt x="4015" y="4660"/>
                    <a:pt x="4023" y="4660"/>
                    <a:pt x="4023" y="4660"/>
                  </a:cubicBezTo>
                  <a:cubicBezTo>
                    <a:pt x="4045" y="4638"/>
                    <a:pt x="4067" y="4630"/>
                    <a:pt x="4089" y="4623"/>
                  </a:cubicBezTo>
                  <a:cubicBezTo>
                    <a:pt x="4111" y="4623"/>
                    <a:pt x="4147" y="4608"/>
                    <a:pt x="4177" y="4572"/>
                  </a:cubicBezTo>
                  <a:cubicBezTo>
                    <a:pt x="4184" y="4564"/>
                    <a:pt x="4191" y="4557"/>
                    <a:pt x="4199" y="4550"/>
                  </a:cubicBezTo>
                  <a:cubicBezTo>
                    <a:pt x="4228" y="4506"/>
                    <a:pt x="4257" y="4476"/>
                    <a:pt x="4257" y="4396"/>
                  </a:cubicBezTo>
                  <a:cubicBezTo>
                    <a:pt x="4257" y="4366"/>
                    <a:pt x="4250" y="4337"/>
                    <a:pt x="4235" y="4308"/>
                  </a:cubicBezTo>
                  <a:cubicBezTo>
                    <a:pt x="4221" y="4264"/>
                    <a:pt x="4206" y="4234"/>
                    <a:pt x="4243" y="4191"/>
                  </a:cubicBezTo>
                  <a:cubicBezTo>
                    <a:pt x="4279" y="4139"/>
                    <a:pt x="4294" y="4139"/>
                    <a:pt x="4294" y="4139"/>
                  </a:cubicBezTo>
                  <a:cubicBezTo>
                    <a:pt x="4301" y="4139"/>
                    <a:pt x="4309" y="4147"/>
                    <a:pt x="4323" y="4154"/>
                  </a:cubicBezTo>
                  <a:cubicBezTo>
                    <a:pt x="4323" y="4154"/>
                    <a:pt x="4331" y="4161"/>
                    <a:pt x="4338" y="4161"/>
                  </a:cubicBezTo>
                  <a:cubicBezTo>
                    <a:pt x="4360" y="4176"/>
                    <a:pt x="4396" y="4183"/>
                    <a:pt x="4440" y="4183"/>
                  </a:cubicBezTo>
                  <a:cubicBezTo>
                    <a:pt x="4506" y="4183"/>
                    <a:pt x="4594" y="4169"/>
                    <a:pt x="4645" y="4110"/>
                  </a:cubicBezTo>
                  <a:cubicBezTo>
                    <a:pt x="4675" y="4088"/>
                    <a:pt x="4704" y="4066"/>
                    <a:pt x="4733" y="4044"/>
                  </a:cubicBezTo>
                  <a:cubicBezTo>
                    <a:pt x="4770" y="4015"/>
                    <a:pt x="4814" y="3985"/>
                    <a:pt x="4836" y="3949"/>
                  </a:cubicBezTo>
                  <a:cubicBezTo>
                    <a:pt x="4851" y="3912"/>
                    <a:pt x="4858" y="3883"/>
                    <a:pt x="4858" y="3861"/>
                  </a:cubicBezTo>
                  <a:cubicBezTo>
                    <a:pt x="4858" y="3832"/>
                    <a:pt x="4858" y="3817"/>
                    <a:pt x="4880" y="3795"/>
                  </a:cubicBezTo>
                  <a:cubicBezTo>
                    <a:pt x="4895" y="3773"/>
                    <a:pt x="4909" y="3751"/>
                    <a:pt x="4931" y="3736"/>
                  </a:cubicBezTo>
                  <a:cubicBezTo>
                    <a:pt x="4953" y="3714"/>
                    <a:pt x="4953" y="3714"/>
                    <a:pt x="4953" y="3714"/>
                  </a:cubicBezTo>
                  <a:cubicBezTo>
                    <a:pt x="4939" y="3692"/>
                    <a:pt x="4939" y="3692"/>
                    <a:pt x="4939" y="3692"/>
                  </a:cubicBezTo>
                  <a:cubicBezTo>
                    <a:pt x="4931" y="3685"/>
                    <a:pt x="4931" y="3685"/>
                    <a:pt x="4931" y="3685"/>
                  </a:cubicBezTo>
                  <a:cubicBezTo>
                    <a:pt x="4924" y="3663"/>
                    <a:pt x="4909" y="3612"/>
                    <a:pt x="4902" y="3568"/>
                  </a:cubicBezTo>
                  <a:cubicBezTo>
                    <a:pt x="4902" y="3546"/>
                    <a:pt x="4902" y="3538"/>
                    <a:pt x="4895" y="3524"/>
                  </a:cubicBezTo>
                  <a:cubicBezTo>
                    <a:pt x="4895" y="3502"/>
                    <a:pt x="4887" y="3487"/>
                    <a:pt x="4895" y="3465"/>
                  </a:cubicBezTo>
                  <a:cubicBezTo>
                    <a:pt x="4902" y="3472"/>
                    <a:pt x="4902" y="3472"/>
                    <a:pt x="4909" y="3472"/>
                  </a:cubicBezTo>
                  <a:cubicBezTo>
                    <a:pt x="4909" y="3472"/>
                    <a:pt x="4931" y="3465"/>
                    <a:pt x="4939" y="3443"/>
                  </a:cubicBezTo>
                  <a:cubicBezTo>
                    <a:pt x="4946" y="3414"/>
                    <a:pt x="4968" y="3348"/>
                    <a:pt x="4924" y="3297"/>
                  </a:cubicBezTo>
                  <a:cubicBezTo>
                    <a:pt x="4917" y="3282"/>
                    <a:pt x="4909" y="3267"/>
                    <a:pt x="4902" y="3253"/>
                  </a:cubicBezTo>
                  <a:cubicBezTo>
                    <a:pt x="4895" y="3231"/>
                    <a:pt x="4880" y="3201"/>
                    <a:pt x="4836" y="3194"/>
                  </a:cubicBezTo>
                  <a:cubicBezTo>
                    <a:pt x="4829" y="3187"/>
                    <a:pt x="4821" y="3187"/>
                    <a:pt x="4814" y="3187"/>
                  </a:cubicBezTo>
                  <a:cubicBezTo>
                    <a:pt x="4785" y="3187"/>
                    <a:pt x="4763" y="3201"/>
                    <a:pt x="4733" y="3216"/>
                  </a:cubicBezTo>
                  <a:cubicBezTo>
                    <a:pt x="4726" y="3216"/>
                    <a:pt x="4719" y="3223"/>
                    <a:pt x="4712" y="3231"/>
                  </a:cubicBezTo>
                  <a:cubicBezTo>
                    <a:pt x="4675" y="3245"/>
                    <a:pt x="4653" y="3260"/>
                    <a:pt x="4645" y="3282"/>
                  </a:cubicBezTo>
                  <a:cubicBezTo>
                    <a:pt x="4638" y="3311"/>
                    <a:pt x="4653" y="3341"/>
                    <a:pt x="4660" y="3363"/>
                  </a:cubicBezTo>
                  <a:lnTo>
                    <a:pt x="4660" y="3363"/>
                  </a:lnTo>
                  <a:cubicBezTo>
                    <a:pt x="4645" y="3370"/>
                    <a:pt x="4602" y="3370"/>
                    <a:pt x="4587" y="3370"/>
                  </a:cubicBezTo>
                  <a:cubicBezTo>
                    <a:pt x="4565" y="3370"/>
                    <a:pt x="4550" y="3363"/>
                    <a:pt x="4543" y="3319"/>
                  </a:cubicBezTo>
                  <a:cubicBezTo>
                    <a:pt x="4536" y="3311"/>
                    <a:pt x="4536" y="3304"/>
                    <a:pt x="4536" y="3297"/>
                  </a:cubicBezTo>
                  <a:cubicBezTo>
                    <a:pt x="4536" y="3289"/>
                    <a:pt x="4528" y="3275"/>
                    <a:pt x="4528" y="3267"/>
                  </a:cubicBezTo>
                  <a:cubicBezTo>
                    <a:pt x="4580" y="3267"/>
                    <a:pt x="4602" y="3216"/>
                    <a:pt x="4616" y="3172"/>
                  </a:cubicBezTo>
                  <a:cubicBezTo>
                    <a:pt x="4624" y="3157"/>
                    <a:pt x="4631" y="3135"/>
                    <a:pt x="4638" y="3128"/>
                  </a:cubicBezTo>
                  <a:cubicBezTo>
                    <a:pt x="4675" y="3077"/>
                    <a:pt x="4675" y="3018"/>
                    <a:pt x="4631" y="2982"/>
                  </a:cubicBezTo>
                  <a:cubicBezTo>
                    <a:pt x="4638" y="2974"/>
                    <a:pt x="4645" y="2974"/>
                    <a:pt x="4653" y="2967"/>
                  </a:cubicBezTo>
                  <a:cubicBezTo>
                    <a:pt x="4697" y="2930"/>
                    <a:pt x="4682" y="2894"/>
                    <a:pt x="4675" y="2864"/>
                  </a:cubicBezTo>
                  <a:cubicBezTo>
                    <a:pt x="4675" y="2850"/>
                    <a:pt x="4668" y="2835"/>
                    <a:pt x="4675" y="2820"/>
                  </a:cubicBezTo>
                  <a:cubicBezTo>
                    <a:pt x="4690" y="2784"/>
                    <a:pt x="4741" y="2769"/>
                    <a:pt x="4785" y="2769"/>
                  </a:cubicBezTo>
                  <a:cubicBezTo>
                    <a:pt x="4821" y="2769"/>
                    <a:pt x="4836" y="2747"/>
                    <a:pt x="4843" y="2740"/>
                  </a:cubicBezTo>
                  <a:cubicBezTo>
                    <a:pt x="4858" y="2710"/>
                    <a:pt x="4851" y="2681"/>
                    <a:pt x="4821" y="2644"/>
                  </a:cubicBezTo>
                  <a:cubicBezTo>
                    <a:pt x="4821" y="2637"/>
                    <a:pt x="4821" y="2630"/>
                    <a:pt x="4814" y="2630"/>
                  </a:cubicBezTo>
                  <a:cubicBezTo>
                    <a:pt x="4821" y="2630"/>
                    <a:pt x="4829" y="2622"/>
                    <a:pt x="4851" y="2622"/>
                  </a:cubicBezTo>
                  <a:cubicBezTo>
                    <a:pt x="4865" y="2622"/>
                    <a:pt x="4909" y="2615"/>
                    <a:pt x="4924" y="2586"/>
                  </a:cubicBezTo>
                  <a:cubicBezTo>
                    <a:pt x="4931" y="2549"/>
                    <a:pt x="4902" y="2527"/>
                    <a:pt x="4880" y="2498"/>
                  </a:cubicBezTo>
                  <a:cubicBezTo>
                    <a:pt x="4873" y="2491"/>
                    <a:pt x="4865" y="2491"/>
                    <a:pt x="4865" y="2483"/>
                  </a:cubicBezTo>
                  <a:cubicBezTo>
                    <a:pt x="4821" y="2447"/>
                    <a:pt x="4792" y="2432"/>
                    <a:pt x="4763" y="2410"/>
                  </a:cubicBezTo>
                  <a:cubicBezTo>
                    <a:pt x="4755" y="2410"/>
                    <a:pt x="4755" y="2410"/>
                    <a:pt x="4748" y="2403"/>
                  </a:cubicBezTo>
                  <a:cubicBezTo>
                    <a:pt x="4770" y="2410"/>
                    <a:pt x="4800" y="2410"/>
                    <a:pt x="4836" y="2410"/>
                  </a:cubicBezTo>
                  <a:cubicBezTo>
                    <a:pt x="4858" y="2410"/>
                    <a:pt x="4909" y="2410"/>
                    <a:pt x="4917" y="2373"/>
                  </a:cubicBezTo>
                  <a:cubicBezTo>
                    <a:pt x="4931" y="2344"/>
                    <a:pt x="4895" y="2315"/>
                    <a:pt x="4865" y="2293"/>
                  </a:cubicBezTo>
                  <a:cubicBezTo>
                    <a:pt x="4858" y="2285"/>
                    <a:pt x="4836" y="2263"/>
                    <a:pt x="4821" y="2161"/>
                  </a:cubicBezTo>
                  <a:lnTo>
                    <a:pt x="4821" y="2153"/>
                  </a:lnTo>
                  <a:lnTo>
                    <a:pt x="4821" y="2153"/>
                  </a:lnTo>
                  <a:lnTo>
                    <a:pt x="4821" y="2153"/>
                  </a:lnTo>
                  <a:cubicBezTo>
                    <a:pt x="4836" y="2153"/>
                    <a:pt x="4843" y="2161"/>
                    <a:pt x="4851" y="2168"/>
                  </a:cubicBezTo>
                  <a:cubicBezTo>
                    <a:pt x="4865" y="2183"/>
                    <a:pt x="4887" y="2197"/>
                    <a:pt x="4909" y="2197"/>
                  </a:cubicBezTo>
                  <a:cubicBezTo>
                    <a:pt x="4939" y="2197"/>
                    <a:pt x="4968" y="2175"/>
                    <a:pt x="4990" y="2161"/>
                  </a:cubicBezTo>
                  <a:lnTo>
                    <a:pt x="4997" y="2168"/>
                  </a:lnTo>
                  <a:cubicBezTo>
                    <a:pt x="5012" y="2183"/>
                    <a:pt x="5034" y="2212"/>
                    <a:pt x="5071" y="2220"/>
                  </a:cubicBezTo>
                  <a:cubicBezTo>
                    <a:pt x="5085" y="2227"/>
                    <a:pt x="5093" y="2227"/>
                    <a:pt x="5100" y="2227"/>
                  </a:cubicBezTo>
                  <a:cubicBezTo>
                    <a:pt x="5144" y="2227"/>
                    <a:pt x="5159" y="2190"/>
                    <a:pt x="5173" y="2161"/>
                  </a:cubicBezTo>
                  <a:cubicBezTo>
                    <a:pt x="5181" y="2153"/>
                    <a:pt x="5181" y="2139"/>
                    <a:pt x="5188" y="2124"/>
                  </a:cubicBezTo>
                  <a:cubicBezTo>
                    <a:pt x="5232" y="2058"/>
                    <a:pt x="5202" y="2022"/>
                    <a:pt x="5181" y="2000"/>
                  </a:cubicBezTo>
                  <a:cubicBezTo>
                    <a:pt x="5181" y="1992"/>
                    <a:pt x="5173" y="1992"/>
                    <a:pt x="5173" y="1985"/>
                  </a:cubicBezTo>
                  <a:cubicBezTo>
                    <a:pt x="5159" y="1970"/>
                    <a:pt x="5144" y="1963"/>
                    <a:pt x="5129" y="1948"/>
                  </a:cubicBezTo>
                  <a:cubicBezTo>
                    <a:pt x="5122" y="1948"/>
                    <a:pt x="5107" y="1941"/>
                    <a:pt x="5093" y="1926"/>
                  </a:cubicBezTo>
                  <a:cubicBezTo>
                    <a:pt x="5085" y="1919"/>
                    <a:pt x="5085" y="1919"/>
                    <a:pt x="5085" y="1919"/>
                  </a:cubicBezTo>
                  <a:cubicBezTo>
                    <a:pt x="5085" y="1912"/>
                    <a:pt x="5093" y="1904"/>
                    <a:pt x="5100" y="1904"/>
                  </a:cubicBezTo>
                  <a:cubicBezTo>
                    <a:pt x="5107" y="1890"/>
                    <a:pt x="5107" y="1890"/>
                    <a:pt x="5107" y="1890"/>
                  </a:cubicBezTo>
                  <a:cubicBezTo>
                    <a:pt x="5144" y="1853"/>
                    <a:pt x="5159" y="1838"/>
                    <a:pt x="5159" y="1831"/>
                  </a:cubicBezTo>
                  <a:cubicBezTo>
                    <a:pt x="5173" y="1802"/>
                    <a:pt x="5173" y="1802"/>
                    <a:pt x="5173" y="1802"/>
                  </a:cubicBezTo>
                  <a:cubicBezTo>
                    <a:pt x="5166" y="1794"/>
                    <a:pt x="5166" y="1794"/>
                    <a:pt x="5166" y="1794"/>
                  </a:cubicBezTo>
                  <a:cubicBezTo>
                    <a:pt x="5181" y="1787"/>
                    <a:pt x="5188" y="1758"/>
                    <a:pt x="5188" y="1743"/>
                  </a:cubicBezTo>
                  <a:cubicBezTo>
                    <a:pt x="5188" y="1721"/>
                    <a:pt x="5188" y="1699"/>
                    <a:pt x="5188" y="1684"/>
                  </a:cubicBezTo>
                  <a:cubicBezTo>
                    <a:pt x="5181" y="1655"/>
                    <a:pt x="5181" y="1655"/>
                    <a:pt x="5188" y="1648"/>
                  </a:cubicBezTo>
                  <a:cubicBezTo>
                    <a:pt x="5217" y="1633"/>
                    <a:pt x="5239" y="1605"/>
                    <a:pt x="5239" y="1575"/>
                  </a:cubicBezTo>
                  <a:cubicBezTo>
                    <a:pt x="5239" y="1546"/>
                    <a:pt x="5224" y="1524"/>
                    <a:pt x="5210" y="1510"/>
                  </a:cubicBezTo>
                  <a:cubicBezTo>
                    <a:pt x="5188" y="1502"/>
                    <a:pt x="5063" y="1422"/>
                    <a:pt x="4990" y="1414"/>
                  </a:cubicBezTo>
                  <a:cubicBezTo>
                    <a:pt x="4939" y="1407"/>
                    <a:pt x="4865" y="1356"/>
                    <a:pt x="4851" y="1319"/>
                  </a:cubicBezTo>
                  <a:cubicBezTo>
                    <a:pt x="4851" y="1312"/>
                    <a:pt x="4851" y="1304"/>
                    <a:pt x="4851" y="1297"/>
                  </a:cubicBezTo>
                  <a:cubicBezTo>
                    <a:pt x="4836" y="1253"/>
                    <a:pt x="4821" y="1209"/>
                    <a:pt x="4748" y="1209"/>
                  </a:cubicBezTo>
                  <a:cubicBezTo>
                    <a:pt x="4704" y="1209"/>
                    <a:pt x="4682" y="1195"/>
                    <a:pt x="4660" y="1158"/>
                  </a:cubicBezTo>
                  <a:cubicBezTo>
                    <a:pt x="4653" y="1143"/>
                    <a:pt x="4653" y="1129"/>
                    <a:pt x="4653" y="1114"/>
                  </a:cubicBezTo>
                  <a:cubicBezTo>
                    <a:pt x="4645" y="1092"/>
                    <a:pt x="4638" y="1070"/>
                    <a:pt x="4616" y="1048"/>
                  </a:cubicBezTo>
                  <a:cubicBezTo>
                    <a:pt x="4602" y="1033"/>
                    <a:pt x="4602" y="967"/>
                    <a:pt x="4609" y="945"/>
                  </a:cubicBezTo>
                  <a:cubicBezTo>
                    <a:pt x="4609" y="938"/>
                    <a:pt x="4609" y="938"/>
                    <a:pt x="4609" y="931"/>
                  </a:cubicBezTo>
                  <a:lnTo>
                    <a:pt x="4609" y="931"/>
                  </a:lnTo>
                  <a:cubicBezTo>
                    <a:pt x="4609" y="916"/>
                    <a:pt x="4609" y="916"/>
                    <a:pt x="4609" y="916"/>
                  </a:cubicBezTo>
                  <a:lnTo>
                    <a:pt x="4609" y="916"/>
                  </a:lnTo>
                  <a:lnTo>
                    <a:pt x="4609" y="909"/>
                  </a:lnTo>
                  <a:cubicBezTo>
                    <a:pt x="4602" y="872"/>
                    <a:pt x="4602" y="872"/>
                    <a:pt x="4602" y="872"/>
                  </a:cubicBezTo>
                  <a:lnTo>
                    <a:pt x="4602" y="872"/>
                  </a:lnTo>
                  <a:cubicBezTo>
                    <a:pt x="4587" y="835"/>
                    <a:pt x="4572" y="813"/>
                    <a:pt x="4543" y="792"/>
                  </a:cubicBezTo>
                  <a:cubicBezTo>
                    <a:pt x="4521" y="777"/>
                    <a:pt x="4499" y="762"/>
                    <a:pt x="4470" y="762"/>
                  </a:cubicBezTo>
                  <a:cubicBezTo>
                    <a:pt x="4455" y="762"/>
                    <a:pt x="4440" y="762"/>
                    <a:pt x="4418" y="770"/>
                  </a:cubicBezTo>
                  <a:cubicBezTo>
                    <a:pt x="4411" y="777"/>
                    <a:pt x="4396" y="784"/>
                    <a:pt x="4389" y="799"/>
                  </a:cubicBezTo>
                  <a:cubicBezTo>
                    <a:pt x="4382" y="792"/>
                    <a:pt x="4374" y="784"/>
                    <a:pt x="4360" y="784"/>
                  </a:cubicBezTo>
                  <a:cubicBezTo>
                    <a:pt x="4323" y="784"/>
                    <a:pt x="4286" y="813"/>
                    <a:pt x="4272" y="857"/>
                  </a:cubicBezTo>
                  <a:cubicBezTo>
                    <a:pt x="4257" y="880"/>
                    <a:pt x="4235" y="894"/>
                    <a:pt x="4206" y="909"/>
                  </a:cubicBezTo>
                  <a:cubicBezTo>
                    <a:pt x="4191" y="916"/>
                    <a:pt x="4177" y="923"/>
                    <a:pt x="4162" y="938"/>
                  </a:cubicBezTo>
                  <a:cubicBezTo>
                    <a:pt x="4140" y="945"/>
                    <a:pt x="4133" y="953"/>
                    <a:pt x="4125" y="953"/>
                  </a:cubicBezTo>
                  <a:cubicBezTo>
                    <a:pt x="4103" y="960"/>
                    <a:pt x="4089" y="967"/>
                    <a:pt x="4089" y="1004"/>
                  </a:cubicBezTo>
                  <a:cubicBezTo>
                    <a:pt x="4089" y="1041"/>
                    <a:pt x="4125" y="1106"/>
                    <a:pt x="4191" y="1136"/>
                  </a:cubicBezTo>
                  <a:cubicBezTo>
                    <a:pt x="4199" y="1136"/>
                    <a:pt x="4199" y="1136"/>
                    <a:pt x="4206" y="1136"/>
                  </a:cubicBezTo>
                  <a:cubicBezTo>
                    <a:pt x="4199" y="1143"/>
                    <a:pt x="4184" y="1158"/>
                    <a:pt x="4177" y="1165"/>
                  </a:cubicBezTo>
                  <a:cubicBezTo>
                    <a:pt x="4162" y="1180"/>
                    <a:pt x="4162" y="1180"/>
                    <a:pt x="4162" y="1180"/>
                  </a:cubicBezTo>
                  <a:cubicBezTo>
                    <a:pt x="4154" y="1187"/>
                    <a:pt x="4154" y="1187"/>
                    <a:pt x="4147" y="1187"/>
                  </a:cubicBezTo>
                  <a:cubicBezTo>
                    <a:pt x="4147" y="1187"/>
                    <a:pt x="4125" y="1180"/>
                    <a:pt x="4103" y="1143"/>
                  </a:cubicBezTo>
                  <a:cubicBezTo>
                    <a:pt x="4081" y="1121"/>
                    <a:pt x="4030" y="1099"/>
                    <a:pt x="3957" y="1070"/>
                  </a:cubicBezTo>
                  <a:cubicBezTo>
                    <a:pt x="3920" y="1055"/>
                    <a:pt x="3883" y="1041"/>
                    <a:pt x="3862" y="1026"/>
                  </a:cubicBezTo>
                  <a:cubicBezTo>
                    <a:pt x="3832" y="1011"/>
                    <a:pt x="3832" y="997"/>
                    <a:pt x="3840" y="953"/>
                  </a:cubicBezTo>
                  <a:cubicBezTo>
                    <a:pt x="3840" y="938"/>
                    <a:pt x="3840" y="938"/>
                    <a:pt x="3840" y="938"/>
                  </a:cubicBezTo>
                  <a:cubicBezTo>
                    <a:pt x="3847" y="909"/>
                    <a:pt x="3854" y="894"/>
                    <a:pt x="3891" y="887"/>
                  </a:cubicBezTo>
                  <a:cubicBezTo>
                    <a:pt x="3950" y="880"/>
                    <a:pt x="3964" y="865"/>
                    <a:pt x="3986" y="828"/>
                  </a:cubicBezTo>
                  <a:cubicBezTo>
                    <a:pt x="3986" y="821"/>
                    <a:pt x="3986" y="813"/>
                    <a:pt x="3993" y="806"/>
                  </a:cubicBezTo>
                  <a:cubicBezTo>
                    <a:pt x="4015" y="762"/>
                    <a:pt x="3993" y="726"/>
                    <a:pt x="3986" y="711"/>
                  </a:cubicBezTo>
                  <a:cubicBezTo>
                    <a:pt x="3979" y="704"/>
                    <a:pt x="3979" y="696"/>
                    <a:pt x="3979" y="696"/>
                  </a:cubicBezTo>
                  <a:cubicBezTo>
                    <a:pt x="3993" y="645"/>
                    <a:pt x="3950" y="550"/>
                    <a:pt x="3920" y="521"/>
                  </a:cubicBezTo>
                  <a:cubicBezTo>
                    <a:pt x="3913" y="513"/>
                    <a:pt x="3905" y="506"/>
                    <a:pt x="3905" y="491"/>
                  </a:cubicBezTo>
                  <a:cubicBezTo>
                    <a:pt x="3905" y="484"/>
                    <a:pt x="3913" y="476"/>
                    <a:pt x="3927" y="462"/>
                  </a:cubicBezTo>
                  <a:cubicBezTo>
                    <a:pt x="3950" y="447"/>
                    <a:pt x="3957" y="418"/>
                    <a:pt x="3950" y="396"/>
                  </a:cubicBezTo>
                  <a:cubicBezTo>
                    <a:pt x="3971" y="396"/>
                    <a:pt x="3986" y="381"/>
                    <a:pt x="3986" y="374"/>
                  </a:cubicBezTo>
                  <a:cubicBezTo>
                    <a:pt x="4001" y="352"/>
                    <a:pt x="3986" y="330"/>
                    <a:pt x="3971" y="308"/>
                  </a:cubicBezTo>
                  <a:cubicBezTo>
                    <a:pt x="3979" y="308"/>
                    <a:pt x="3986" y="315"/>
                    <a:pt x="3993" y="315"/>
                  </a:cubicBezTo>
                  <a:cubicBezTo>
                    <a:pt x="4008" y="323"/>
                    <a:pt x="4023" y="323"/>
                    <a:pt x="4030" y="323"/>
                  </a:cubicBezTo>
                  <a:cubicBezTo>
                    <a:pt x="4059" y="323"/>
                    <a:pt x="4081" y="308"/>
                    <a:pt x="4089" y="279"/>
                  </a:cubicBezTo>
                  <a:cubicBezTo>
                    <a:pt x="4096" y="249"/>
                    <a:pt x="4096" y="213"/>
                    <a:pt x="4067" y="198"/>
                  </a:cubicBezTo>
                  <a:cubicBezTo>
                    <a:pt x="4030" y="169"/>
                    <a:pt x="3986" y="125"/>
                    <a:pt x="3979" y="103"/>
                  </a:cubicBezTo>
                  <a:cubicBezTo>
                    <a:pt x="3971" y="73"/>
                    <a:pt x="3942" y="52"/>
                    <a:pt x="3898" y="52"/>
                  </a:cubicBezTo>
                  <a:cubicBezTo>
                    <a:pt x="3876" y="52"/>
                    <a:pt x="3840" y="59"/>
                    <a:pt x="3810" y="73"/>
                  </a:cubicBezTo>
                  <a:cubicBezTo>
                    <a:pt x="3781" y="88"/>
                    <a:pt x="3766" y="88"/>
                    <a:pt x="3744" y="88"/>
                  </a:cubicBezTo>
                  <a:cubicBezTo>
                    <a:pt x="3737" y="88"/>
                    <a:pt x="3730" y="88"/>
                    <a:pt x="3722" y="88"/>
                  </a:cubicBezTo>
                  <a:cubicBezTo>
                    <a:pt x="3715" y="88"/>
                    <a:pt x="3700" y="88"/>
                    <a:pt x="3693" y="88"/>
                  </a:cubicBezTo>
                  <a:cubicBezTo>
                    <a:pt x="3693" y="88"/>
                    <a:pt x="3686" y="73"/>
                    <a:pt x="3678" y="66"/>
                  </a:cubicBezTo>
                  <a:cubicBezTo>
                    <a:pt x="3671" y="44"/>
                    <a:pt x="3656" y="7"/>
                    <a:pt x="3620" y="0"/>
                  </a:cubicBezTo>
                  <a:cubicBezTo>
                    <a:pt x="3612" y="0"/>
                    <a:pt x="3612" y="0"/>
                    <a:pt x="3605" y="0"/>
                  </a:cubicBezTo>
                  <a:lnTo>
                    <a:pt x="3605" y="0"/>
                  </a:lnTo>
                  <a:lnTo>
                    <a:pt x="3605" y="30"/>
                  </a:lnTo>
                  <a:close/>
                  <a:moveTo>
                    <a:pt x="5012" y="1729"/>
                  </a:moveTo>
                  <a:lnTo>
                    <a:pt x="5012" y="1729"/>
                  </a:lnTo>
                  <a:cubicBezTo>
                    <a:pt x="5019" y="1729"/>
                    <a:pt x="5019" y="1721"/>
                    <a:pt x="5034" y="1714"/>
                  </a:cubicBezTo>
                  <a:cubicBezTo>
                    <a:pt x="5049" y="1699"/>
                    <a:pt x="5056" y="1699"/>
                    <a:pt x="5056" y="1699"/>
                  </a:cubicBezTo>
                  <a:cubicBezTo>
                    <a:pt x="5056" y="1699"/>
                    <a:pt x="5063" y="1706"/>
                    <a:pt x="5078" y="1736"/>
                  </a:cubicBezTo>
                  <a:cubicBezTo>
                    <a:pt x="5085" y="1751"/>
                    <a:pt x="5085" y="1765"/>
                    <a:pt x="5093" y="1772"/>
                  </a:cubicBezTo>
                  <a:cubicBezTo>
                    <a:pt x="5078" y="1765"/>
                    <a:pt x="5063" y="1758"/>
                    <a:pt x="5041" y="1751"/>
                  </a:cubicBezTo>
                  <a:cubicBezTo>
                    <a:pt x="5019" y="1736"/>
                    <a:pt x="5019" y="1729"/>
                    <a:pt x="5012" y="1729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1" name="Freeform 20"/>
            <p:cNvSpPr>
              <a:spLocks noChangeArrowheads="1"/>
            </p:cNvSpPr>
            <p:nvPr/>
          </p:nvSpPr>
          <p:spPr bwMode="auto">
            <a:xfrm>
              <a:off x="6596783" y="6889745"/>
              <a:ext cx="2243404" cy="1820258"/>
            </a:xfrm>
            <a:custGeom>
              <a:avLst/>
              <a:gdLst>
                <a:gd name="T0" fmla="*/ 1538 w 5840"/>
                <a:gd name="T1" fmla="*/ 4491 h 4793"/>
                <a:gd name="T2" fmla="*/ 1215 w 5840"/>
                <a:gd name="T3" fmla="*/ 4227 h 4793"/>
                <a:gd name="T4" fmla="*/ 769 w 5840"/>
                <a:gd name="T5" fmla="*/ 3773 h 4793"/>
                <a:gd name="T6" fmla="*/ 528 w 5840"/>
                <a:gd name="T7" fmla="*/ 3700 h 4793"/>
                <a:gd name="T8" fmla="*/ 388 w 5840"/>
                <a:gd name="T9" fmla="*/ 3458 h 4793"/>
                <a:gd name="T10" fmla="*/ 278 w 5840"/>
                <a:gd name="T11" fmla="*/ 3275 h 4793"/>
                <a:gd name="T12" fmla="*/ 15 w 5840"/>
                <a:gd name="T13" fmla="*/ 3326 h 4793"/>
                <a:gd name="T14" fmla="*/ 117 w 5840"/>
                <a:gd name="T15" fmla="*/ 2974 h 4793"/>
                <a:gd name="T16" fmla="*/ 293 w 5840"/>
                <a:gd name="T17" fmla="*/ 2630 h 4793"/>
                <a:gd name="T18" fmla="*/ 168 w 5840"/>
                <a:gd name="T19" fmla="*/ 2439 h 4793"/>
                <a:gd name="T20" fmla="*/ 300 w 5840"/>
                <a:gd name="T21" fmla="*/ 2190 h 4793"/>
                <a:gd name="T22" fmla="*/ 557 w 5840"/>
                <a:gd name="T23" fmla="*/ 2161 h 4793"/>
                <a:gd name="T24" fmla="*/ 630 w 5840"/>
                <a:gd name="T25" fmla="*/ 2014 h 4793"/>
                <a:gd name="T26" fmla="*/ 491 w 5840"/>
                <a:gd name="T27" fmla="*/ 1758 h 4793"/>
                <a:gd name="T28" fmla="*/ 689 w 5840"/>
                <a:gd name="T29" fmla="*/ 1633 h 4793"/>
                <a:gd name="T30" fmla="*/ 147 w 5840"/>
                <a:gd name="T31" fmla="*/ 1202 h 4793"/>
                <a:gd name="T32" fmla="*/ 227 w 5840"/>
                <a:gd name="T33" fmla="*/ 850 h 4793"/>
                <a:gd name="T34" fmla="*/ 637 w 5840"/>
                <a:gd name="T35" fmla="*/ 579 h 4793"/>
                <a:gd name="T36" fmla="*/ 931 w 5840"/>
                <a:gd name="T37" fmla="*/ 433 h 4793"/>
                <a:gd name="T38" fmla="*/ 1377 w 5840"/>
                <a:gd name="T39" fmla="*/ 330 h 4793"/>
                <a:gd name="T40" fmla="*/ 1596 w 5840"/>
                <a:gd name="T41" fmla="*/ 249 h 4793"/>
                <a:gd name="T42" fmla="*/ 1648 w 5840"/>
                <a:gd name="T43" fmla="*/ 15 h 4793"/>
                <a:gd name="T44" fmla="*/ 1867 w 5840"/>
                <a:gd name="T45" fmla="*/ 7 h 4793"/>
                <a:gd name="T46" fmla="*/ 2124 w 5840"/>
                <a:gd name="T47" fmla="*/ 110 h 4793"/>
                <a:gd name="T48" fmla="*/ 2190 w 5840"/>
                <a:gd name="T49" fmla="*/ 403 h 4793"/>
                <a:gd name="T50" fmla="*/ 2403 w 5840"/>
                <a:gd name="T51" fmla="*/ 718 h 4793"/>
                <a:gd name="T52" fmla="*/ 2681 w 5840"/>
                <a:gd name="T53" fmla="*/ 777 h 4793"/>
                <a:gd name="T54" fmla="*/ 2871 w 5840"/>
                <a:gd name="T55" fmla="*/ 799 h 4793"/>
                <a:gd name="T56" fmla="*/ 3106 w 5840"/>
                <a:gd name="T57" fmla="*/ 828 h 4793"/>
                <a:gd name="T58" fmla="*/ 3311 w 5840"/>
                <a:gd name="T59" fmla="*/ 1099 h 4793"/>
                <a:gd name="T60" fmla="*/ 3135 w 5840"/>
                <a:gd name="T61" fmla="*/ 1334 h 4793"/>
                <a:gd name="T62" fmla="*/ 3326 w 5840"/>
                <a:gd name="T63" fmla="*/ 1619 h 4793"/>
                <a:gd name="T64" fmla="*/ 3655 w 5840"/>
                <a:gd name="T65" fmla="*/ 1751 h 4793"/>
                <a:gd name="T66" fmla="*/ 3927 w 5840"/>
                <a:gd name="T67" fmla="*/ 1912 h 4793"/>
                <a:gd name="T68" fmla="*/ 4212 w 5840"/>
                <a:gd name="T69" fmla="*/ 1890 h 4793"/>
                <a:gd name="T70" fmla="*/ 4593 w 5840"/>
                <a:gd name="T71" fmla="*/ 2146 h 4793"/>
                <a:gd name="T72" fmla="*/ 4908 w 5840"/>
                <a:gd name="T73" fmla="*/ 2219 h 4793"/>
                <a:gd name="T74" fmla="*/ 5026 w 5840"/>
                <a:gd name="T75" fmla="*/ 1970 h 4793"/>
                <a:gd name="T76" fmla="*/ 5084 w 5840"/>
                <a:gd name="T77" fmla="*/ 1721 h 4793"/>
                <a:gd name="T78" fmla="*/ 5451 w 5840"/>
                <a:gd name="T79" fmla="*/ 1816 h 4793"/>
                <a:gd name="T80" fmla="*/ 5715 w 5840"/>
                <a:gd name="T81" fmla="*/ 2022 h 4793"/>
                <a:gd name="T82" fmla="*/ 5707 w 5840"/>
                <a:gd name="T83" fmla="*/ 2388 h 4793"/>
                <a:gd name="T84" fmla="*/ 5392 w 5840"/>
                <a:gd name="T85" fmla="*/ 2556 h 4793"/>
                <a:gd name="T86" fmla="*/ 5216 w 5840"/>
                <a:gd name="T87" fmla="*/ 2608 h 4793"/>
                <a:gd name="T88" fmla="*/ 5070 w 5840"/>
                <a:gd name="T89" fmla="*/ 2681 h 4793"/>
                <a:gd name="T90" fmla="*/ 5018 w 5840"/>
                <a:gd name="T91" fmla="*/ 2872 h 4793"/>
                <a:gd name="T92" fmla="*/ 5070 w 5840"/>
                <a:gd name="T93" fmla="*/ 2923 h 4793"/>
                <a:gd name="T94" fmla="*/ 5121 w 5840"/>
                <a:gd name="T95" fmla="*/ 3231 h 4793"/>
                <a:gd name="T96" fmla="*/ 4842 w 5840"/>
                <a:gd name="T97" fmla="*/ 3355 h 4793"/>
                <a:gd name="T98" fmla="*/ 4710 w 5840"/>
                <a:gd name="T99" fmla="*/ 3502 h 4793"/>
                <a:gd name="T100" fmla="*/ 4520 w 5840"/>
                <a:gd name="T101" fmla="*/ 3341 h 4793"/>
                <a:gd name="T102" fmla="*/ 4278 w 5840"/>
                <a:gd name="T103" fmla="*/ 3604 h 4793"/>
                <a:gd name="T104" fmla="*/ 4286 w 5840"/>
                <a:gd name="T105" fmla="*/ 3963 h 4793"/>
                <a:gd name="T106" fmla="*/ 3802 w 5840"/>
                <a:gd name="T107" fmla="*/ 4147 h 4793"/>
                <a:gd name="T108" fmla="*/ 3531 w 5840"/>
                <a:gd name="T109" fmla="*/ 4205 h 4793"/>
                <a:gd name="T110" fmla="*/ 3216 w 5840"/>
                <a:gd name="T111" fmla="*/ 3744 h 4793"/>
                <a:gd name="T112" fmla="*/ 3018 w 5840"/>
                <a:gd name="T113" fmla="*/ 4440 h 4793"/>
                <a:gd name="T114" fmla="*/ 2857 w 5840"/>
                <a:gd name="T115" fmla="*/ 4557 h 4793"/>
                <a:gd name="T116" fmla="*/ 2622 w 5840"/>
                <a:gd name="T117" fmla="*/ 4286 h 4793"/>
                <a:gd name="T118" fmla="*/ 2146 w 5840"/>
                <a:gd name="T119" fmla="*/ 4205 h 4793"/>
                <a:gd name="T120" fmla="*/ 1977 w 5840"/>
                <a:gd name="T121" fmla="*/ 4513 h 4793"/>
                <a:gd name="T122" fmla="*/ 1919 w 5840"/>
                <a:gd name="T123" fmla="*/ 4733 h 47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40" h="4793">
                  <a:moveTo>
                    <a:pt x="1787" y="4792"/>
                  </a:moveTo>
                  <a:lnTo>
                    <a:pt x="1787" y="4792"/>
                  </a:lnTo>
                  <a:cubicBezTo>
                    <a:pt x="1765" y="4792"/>
                    <a:pt x="1743" y="4784"/>
                    <a:pt x="1743" y="4784"/>
                  </a:cubicBezTo>
                  <a:lnTo>
                    <a:pt x="1743" y="4784"/>
                  </a:lnTo>
                  <a:cubicBezTo>
                    <a:pt x="1736" y="4784"/>
                    <a:pt x="1670" y="4769"/>
                    <a:pt x="1604" y="4747"/>
                  </a:cubicBezTo>
                  <a:cubicBezTo>
                    <a:pt x="1523" y="4725"/>
                    <a:pt x="1538" y="4630"/>
                    <a:pt x="1553" y="4564"/>
                  </a:cubicBezTo>
                  <a:cubicBezTo>
                    <a:pt x="1553" y="4535"/>
                    <a:pt x="1545" y="4513"/>
                    <a:pt x="1538" y="4491"/>
                  </a:cubicBezTo>
                  <a:cubicBezTo>
                    <a:pt x="1523" y="4469"/>
                    <a:pt x="1516" y="4440"/>
                    <a:pt x="1516" y="4410"/>
                  </a:cubicBezTo>
                  <a:cubicBezTo>
                    <a:pt x="1516" y="4359"/>
                    <a:pt x="1465" y="4344"/>
                    <a:pt x="1465" y="4344"/>
                  </a:cubicBezTo>
                  <a:cubicBezTo>
                    <a:pt x="1457" y="4344"/>
                    <a:pt x="1443" y="4344"/>
                    <a:pt x="1421" y="4344"/>
                  </a:cubicBezTo>
                  <a:cubicBezTo>
                    <a:pt x="1384" y="4344"/>
                    <a:pt x="1340" y="4337"/>
                    <a:pt x="1303" y="4315"/>
                  </a:cubicBezTo>
                  <a:cubicBezTo>
                    <a:pt x="1289" y="4301"/>
                    <a:pt x="1274" y="4286"/>
                    <a:pt x="1267" y="4264"/>
                  </a:cubicBezTo>
                  <a:cubicBezTo>
                    <a:pt x="1252" y="4242"/>
                    <a:pt x="1245" y="4227"/>
                    <a:pt x="1223" y="4227"/>
                  </a:cubicBezTo>
                  <a:cubicBezTo>
                    <a:pt x="1223" y="4227"/>
                    <a:pt x="1223" y="4227"/>
                    <a:pt x="1215" y="4227"/>
                  </a:cubicBezTo>
                  <a:cubicBezTo>
                    <a:pt x="1208" y="4235"/>
                    <a:pt x="1201" y="4235"/>
                    <a:pt x="1193" y="4235"/>
                  </a:cubicBezTo>
                  <a:cubicBezTo>
                    <a:pt x="1150" y="4235"/>
                    <a:pt x="1136" y="4198"/>
                    <a:pt x="1114" y="4161"/>
                  </a:cubicBezTo>
                  <a:cubicBezTo>
                    <a:pt x="1092" y="4125"/>
                    <a:pt x="1092" y="4125"/>
                    <a:pt x="1092" y="4125"/>
                  </a:cubicBezTo>
                  <a:cubicBezTo>
                    <a:pt x="1063" y="4081"/>
                    <a:pt x="1048" y="4059"/>
                    <a:pt x="997" y="4000"/>
                  </a:cubicBezTo>
                  <a:cubicBezTo>
                    <a:pt x="975" y="3971"/>
                    <a:pt x="967" y="3949"/>
                    <a:pt x="960" y="3927"/>
                  </a:cubicBezTo>
                  <a:cubicBezTo>
                    <a:pt x="953" y="3905"/>
                    <a:pt x="945" y="3897"/>
                    <a:pt x="909" y="3890"/>
                  </a:cubicBezTo>
                  <a:cubicBezTo>
                    <a:pt x="843" y="3883"/>
                    <a:pt x="806" y="3824"/>
                    <a:pt x="769" y="3773"/>
                  </a:cubicBezTo>
                  <a:cubicBezTo>
                    <a:pt x="755" y="3751"/>
                    <a:pt x="740" y="3736"/>
                    <a:pt x="725" y="3714"/>
                  </a:cubicBezTo>
                  <a:cubicBezTo>
                    <a:pt x="711" y="3700"/>
                    <a:pt x="704" y="3692"/>
                    <a:pt x="696" y="3692"/>
                  </a:cubicBezTo>
                  <a:cubicBezTo>
                    <a:pt x="689" y="3692"/>
                    <a:pt x="682" y="3692"/>
                    <a:pt x="667" y="3700"/>
                  </a:cubicBezTo>
                  <a:cubicBezTo>
                    <a:pt x="652" y="3707"/>
                    <a:pt x="630" y="3722"/>
                    <a:pt x="601" y="3722"/>
                  </a:cubicBezTo>
                  <a:cubicBezTo>
                    <a:pt x="564" y="3722"/>
                    <a:pt x="549" y="3707"/>
                    <a:pt x="535" y="3700"/>
                  </a:cubicBezTo>
                  <a:lnTo>
                    <a:pt x="535" y="3692"/>
                  </a:lnTo>
                  <a:lnTo>
                    <a:pt x="528" y="3700"/>
                  </a:lnTo>
                  <a:cubicBezTo>
                    <a:pt x="506" y="3700"/>
                    <a:pt x="476" y="3722"/>
                    <a:pt x="447" y="3744"/>
                  </a:cubicBezTo>
                  <a:cubicBezTo>
                    <a:pt x="432" y="3758"/>
                    <a:pt x="432" y="3758"/>
                    <a:pt x="432" y="3758"/>
                  </a:cubicBezTo>
                  <a:cubicBezTo>
                    <a:pt x="410" y="3729"/>
                    <a:pt x="410" y="3729"/>
                    <a:pt x="410" y="3729"/>
                  </a:cubicBezTo>
                  <a:cubicBezTo>
                    <a:pt x="410" y="3722"/>
                    <a:pt x="410" y="3722"/>
                    <a:pt x="410" y="3722"/>
                  </a:cubicBezTo>
                  <a:cubicBezTo>
                    <a:pt x="410" y="3722"/>
                    <a:pt x="388" y="3656"/>
                    <a:pt x="381" y="3597"/>
                  </a:cubicBezTo>
                  <a:cubicBezTo>
                    <a:pt x="381" y="3575"/>
                    <a:pt x="381" y="3568"/>
                    <a:pt x="374" y="3553"/>
                  </a:cubicBezTo>
                  <a:cubicBezTo>
                    <a:pt x="366" y="3524"/>
                    <a:pt x="366" y="3502"/>
                    <a:pt x="388" y="3458"/>
                  </a:cubicBezTo>
                  <a:cubicBezTo>
                    <a:pt x="388" y="3443"/>
                    <a:pt x="403" y="3428"/>
                    <a:pt x="418" y="3428"/>
                  </a:cubicBezTo>
                  <a:lnTo>
                    <a:pt x="425" y="3428"/>
                  </a:lnTo>
                  <a:cubicBezTo>
                    <a:pt x="432" y="3406"/>
                    <a:pt x="432" y="3377"/>
                    <a:pt x="410" y="3348"/>
                  </a:cubicBezTo>
                  <a:cubicBezTo>
                    <a:pt x="396" y="3326"/>
                    <a:pt x="388" y="3311"/>
                    <a:pt x="381" y="3297"/>
                  </a:cubicBezTo>
                  <a:cubicBezTo>
                    <a:pt x="374" y="3267"/>
                    <a:pt x="366" y="3260"/>
                    <a:pt x="352" y="3260"/>
                  </a:cubicBezTo>
                  <a:cubicBezTo>
                    <a:pt x="344" y="3260"/>
                    <a:pt x="344" y="3253"/>
                    <a:pt x="337" y="3253"/>
                  </a:cubicBezTo>
                  <a:cubicBezTo>
                    <a:pt x="315" y="3253"/>
                    <a:pt x="300" y="3260"/>
                    <a:pt x="278" y="3275"/>
                  </a:cubicBezTo>
                  <a:cubicBezTo>
                    <a:pt x="271" y="3282"/>
                    <a:pt x="264" y="3282"/>
                    <a:pt x="249" y="3289"/>
                  </a:cubicBezTo>
                  <a:cubicBezTo>
                    <a:pt x="227" y="3304"/>
                    <a:pt x="220" y="3311"/>
                    <a:pt x="213" y="3319"/>
                  </a:cubicBezTo>
                  <a:cubicBezTo>
                    <a:pt x="213" y="3326"/>
                    <a:pt x="213" y="3341"/>
                    <a:pt x="227" y="3363"/>
                  </a:cubicBezTo>
                  <a:cubicBezTo>
                    <a:pt x="235" y="3385"/>
                    <a:pt x="235" y="3399"/>
                    <a:pt x="227" y="3406"/>
                  </a:cubicBezTo>
                  <a:cubicBezTo>
                    <a:pt x="205" y="3436"/>
                    <a:pt x="154" y="3436"/>
                    <a:pt x="110" y="3436"/>
                  </a:cubicBezTo>
                  <a:cubicBezTo>
                    <a:pt x="44" y="3436"/>
                    <a:pt x="22" y="3385"/>
                    <a:pt x="15" y="3348"/>
                  </a:cubicBezTo>
                  <a:cubicBezTo>
                    <a:pt x="15" y="3326"/>
                    <a:pt x="15" y="3326"/>
                    <a:pt x="15" y="3326"/>
                  </a:cubicBezTo>
                  <a:cubicBezTo>
                    <a:pt x="7" y="3304"/>
                    <a:pt x="0" y="3275"/>
                    <a:pt x="15" y="3260"/>
                  </a:cubicBezTo>
                  <a:cubicBezTo>
                    <a:pt x="22" y="3253"/>
                    <a:pt x="37" y="3245"/>
                    <a:pt x="51" y="3245"/>
                  </a:cubicBezTo>
                  <a:cubicBezTo>
                    <a:pt x="66" y="3245"/>
                    <a:pt x="81" y="3209"/>
                    <a:pt x="95" y="3179"/>
                  </a:cubicBezTo>
                  <a:cubicBezTo>
                    <a:pt x="103" y="3157"/>
                    <a:pt x="110" y="3135"/>
                    <a:pt x="125" y="3121"/>
                  </a:cubicBezTo>
                  <a:cubicBezTo>
                    <a:pt x="139" y="3099"/>
                    <a:pt x="154" y="3062"/>
                    <a:pt x="117" y="3033"/>
                  </a:cubicBezTo>
                  <a:cubicBezTo>
                    <a:pt x="103" y="3025"/>
                    <a:pt x="88" y="3011"/>
                    <a:pt x="95" y="2996"/>
                  </a:cubicBezTo>
                  <a:cubicBezTo>
                    <a:pt x="95" y="2982"/>
                    <a:pt x="103" y="2974"/>
                    <a:pt x="117" y="2974"/>
                  </a:cubicBezTo>
                  <a:cubicBezTo>
                    <a:pt x="125" y="2967"/>
                    <a:pt x="139" y="2960"/>
                    <a:pt x="154" y="2952"/>
                  </a:cubicBezTo>
                  <a:cubicBezTo>
                    <a:pt x="168" y="2937"/>
                    <a:pt x="161" y="2923"/>
                    <a:pt x="154" y="2901"/>
                  </a:cubicBezTo>
                  <a:cubicBezTo>
                    <a:pt x="154" y="2879"/>
                    <a:pt x="147" y="2857"/>
                    <a:pt x="154" y="2828"/>
                  </a:cubicBezTo>
                  <a:cubicBezTo>
                    <a:pt x="168" y="2776"/>
                    <a:pt x="235" y="2740"/>
                    <a:pt x="308" y="2740"/>
                  </a:cubicBezTo>
                  <a:cubicBezTo>
                    <a:pt x="315" y="2740"/>
                    <a:pt x="323" y="2740"/>
                    <a:pt x="323" y="2740"/>
                  </a:cubicBezTo>
                  <a:cubicBezTo>
                    <a:pt x="330" y="2732"/>
                    <a:pt x="323" y="2718"/>
                    <a:pt x="308" y="2688"/>
                  </a:cubicBezTo>
                  <a:cubicBezTo>
                    <a:pt x="300" y="2681"/>
                    <a:pt x="286" y="2652"/>
                    <a:pt x="293" y="2630"/>
                  </a:cubicBezTo>
                  <a:cubicBezTo>
                    <a:pt x="308" y="2615"/>
                    <a:pt x="330" y="2601"/>
                    <a:pt x="374" y="2601"/>
                  </a:cubicBezTo>
                  <a:cubicBezTo>
                    <a:pt x="396" y="2593"/>
                    <a:pt x="403" y="2593"/>
                    <a:pt x="403" y="2593"/>
                  </a:cubicBezTo>
                  <a:cubicBezTo>
                    <a:pt x="403" y="2586"/>
                    <a:pt x="381" y="2564"/>
                    <a:pt x="366" y="2556"/>
                  </a:cubicBezTo>
                  <a:cubicBezTo>
                    <a:pt x="352" y="2542"/>
                    <a:pt x="352" y="2542"/>
                    <a:pt x="352" y="2542"/>
                  </a:cubicBezTo>
                  <a:cubicBezTo>
                    <a:pt x="323" y="2505"/>
                    <a:pt x="293" y="2491"/>
                    <a:pt x="264" y="2476"/>
                  </a:cubicBezTo>
                  <a:cubicBezTo>
                    <a:pt x="249" y="2469"/>
                    <a:pt x="242" y="2469"/>
                    <a:pt x="227" y="2461"/>
                  </a:cubicBezTo>
                  <a:cubicBezTo>
                    <a:pt x="213" y="2461"/>
                    <a:pt x="191" y="2454"/>
                    <a:pt x="168" y="2439"/>
                  </a:cubicBezTo>
                  <a:cubicBezTo>
                    <a:pt x="147" y="2425"/>
                    <a:pt x="147" y="2403"/>
                    <a:pt x="154" y="2395"/>
                  </a:cubicBezTo>
                  <a:cubicBezTo>
                    <a:pt x="161" y="2381"/>
                    <a:pt x="183" y="2366"/>
                    <a:pt x="198" y="2366"/>
                  </a:cubicBezTo>
                  <a:cubicBezTo>
                    <a:pt x="205" y="2366"/>
                    <a:pt x="213" y="2366"/>
                    <a:pt x="220" y="2373"/>
                  </a:cubicBezTo>
                  <a:cubicBezTo>
                    <a:pt x="242" y="2381"/>
                    <a:pt x="264" y="2388"/>
                    <a:pt x="359" y="2388"/>
                  </a:cubicBezTo>
                  <a:cubicBezTo>
                    <a:pt x="388" y="2388"/>
                    <a:pt x="396" y="2381"/>
                    <a:pt x="396" y="2381"/>
                  </a:cubicBezTo>
                  <a:cubicBezTo>
                    <a:pt x="396" y="2381"/>
                    <a:pt x="374" y="2359"/>
                    <a:pt x="366" y="2351"/>
                  </a:cubicBezTo>
                  <a:cubicBezTo>
                    <a:pt x="330" y="2329"/>
                    <a:pt x="308" y="2278"/>
                    <a:pt x="300" y="2190"/>
                  </a:cubicBezTo>
                  <a:cubicBezTo>
                    <a:pt x="293" y="2168"/>
                    <a:pt x="300" y="2154"/>
                    <a:pt x="308" y="2146"/>
                  </a:cubicBezTo>
                  <a:cubicBezTo>
                    <a:pt x="315" y="2139"/>
                    <a:pt x="330" y="2132"/>
                    <a:pt x="344" y="2132"/>
                  </a:cubicBezTo>
                  <a:cubicBezTo>
                    <a:pt x="374" y="2132"/>
                    <a:pt x="396" y="2146"/>
                    <a:pt x="410" y="2161"/>
                  </a:cubicBezTo>
                  <a:cubicBezTo>
                    <a:pt x="418" y="2168"/>
                    <a:pt x="425" y="2175"/>
                    <a:pt x="432" y="2175"/>
                  </a:cubicBezTo>
                  <a:cubicBezTo>
                    <a:pt x="447" y="2175"/>
                    <a:pt x="476" y="2154"/>
                    <a:pt x="491" y="2139"/>
                  </a:cubicBezTo>
                  <a:cubicBezTo>
                    <a:pt x="498" y="2139"/>
                    <a:pt x="506" y="2132"/>
                    <a:pt x="513" y="2132"/>
                  </a:cubicBezTo>
                  <a:cubicBezTo>
                    <a:pt x="535" y="2132"/>
                    <a:pt x="542" y="2146"/>
                    <a:pt x="557" y="2161"/>
                  </a:cubicBezTo>
                  <a:cubicBezTo>
                    <a:pt x="572" y="2175"/>
                    <a:pt x="586" y="2190"/>
                    <a:pt x="608" y="2197"/>
                  </a:cubicBezTo>
                  <a:cubicBezTo>
                    <a:pt x="616" y="2205"/>
                    <a:pt x="623" y="2205"/>
                    <a:pt x="623" y="2205"/>
                  </a:cubicBezTo>
                  <a:cubicBezTo>
                    <a:pt x="637" y="2205"/>
                    <a:pt x="645" y="2197"/>
                    <a:pt x="652" y="2168"/>
                  </a:cubicBezTo>
                  <a:cubicBezTo>
                    <a:pt x="659" y="2154"/>
                    <a:pt x="667" y="2139"/>
                    <a:pt x="674" y="2124"/>
                  </a:cubicBezTo>
                  <a:cubicBezTo>
                    <a:pt x="696" y="2080"/>
                    <a:pt x="689" y="2066"/>
                    <a:pt x="667" y="2051"/>
                  </a:cubicBezTo>
                  <a:cubicBezTo>
                    <a:pt x="667" y="2044"/>
                    <a:pt x="659" y="2044"/>
                    <a:pt x="659" y="2036"/>
                  </a:cubicBezTo>
                  <a:cubicBezTo>
                    <a:pt x="652" y="2029"/>
                    <a:pt x="645" y="2022"/>
                    <a:pt x="630" y="2014"/>
                  </a:cubicBezTo>
                  <a:cubicBezTo>
                    <a:pt x="616" y="2007"/>
                    <a:pt x="601" y="2000"/>
                    <a:pt x="586" y="1978"/>
                  </a:cubicBezTo>
                  <a:cubicBezTo>
                    <a:pt x="572" y="1970"/>
                    <a:pt x="557" y="1956"/>
                    <a:pt x="557" y="1934"/>
                  </a:cubicBezTo>
                  <a:cubicBezTo>
                    <a:pt x="557" y="1919"/>
                    <a:pt x="572" y="1904"/>
                    <a:pt x="594" y="1890"/>
                  </a:cubicBezTo>
                  <a:cubicBezTo>
                    <a:pt x="601" y="1882"/>
                    <a:pt x="601" y="1882"/>
                    <a:pt x="601" y="1882"/>
                  </a:cubicBezTo>
                  <a:cubicBezTo>
                    <a:pt x="616" y="1868"/>
                    <a:pt x="623" y="1853"/>
                    <a:pt x="630" y="1846"/>
                  </a:cubicBezTo>
                  <a:cubicBezTo>
                    <a:pt x="608" y="1838"/>
                    <a:pt x="579" y="1831"/>
                    <a:pt x="542" y="1809"/>
                  </a:cubicBezTo>
                  <a:cubicBezTo>
                    <a:pt x="520" y="1802"/>
                    <a:pt x="498" y="1780"/>
                    <a:pt x="491" y="1758"/>
                  </a:cubicBezTo>
                  <a:cubicBezTo>
                    <a:pt x="491" y="1736"/>
                    <a:pt x="498" y="1721"/>
                    <a:pt x="528" y="1699"/>
                  </a:cubicBezTo>
                  <a:cubicBezTo>
                    <a:pt x="542" y="1685"/>
                    <a:pt x="564" y="1677"/>
                    <a:pt x="579" y="1677"/>
                  </a:cubicBezTo>
                  <a:cubicBezTo>
                    <a:pt x="608" y="1677"/>
                    <a:pt x="630" y="1714"/>
                    <a:pt x="645" y="1743"/>
                  </a:cubicBezTo>
                  <a:cubicBezTo>
                    <a:pt x="652" y="1758"/>
                    <a:pt x="659" y="1773"/>
                    <a:pt x="659" y="1780"/>
                  </a:cubicBezTo>
                  <a:cubicBezTo>
                    <a:pt x="659" y="1773"/>
                    <a:pt x="659" y="1765"/>
                    <a:pt x="667" y="1758"/>
                  </a:cubicBezTo>
                  <a:cubicBezTo>
                    <a:pt x="667" y="1743"/>
                    <a:pt x="667" y="1728"/>
                    <a:pt x="659" y="1714"/>
                  </a:cubicBezTo>
                  <a:cubicBezTo>
                    <a:pt x="659" y="1685"/>
                    <a:pt x="652" y="1655"/>
                    <a:pt x="689" y="1633"/>
                  </a:cubicBezTo>
                  <a:cubicBezTo>
                    <a:pt x="704" y="1619"/>
                    <a:pt x="718" y="1605"/>
                    <a:pt x="718" y="1597"/>
                  </a:cubicBezTo>
                  <a:cubicBezTo>
                    <a:pt x="718" y="1583"/>
                    <a:pt x="711" y="1576"/>
                    <a:pt x="704" y="1576"/>
                  </a:cubicBezTo>
                  <a:cubicBezTo>
                    <a:pt x="674" y="1554"/>
                    <a:pt x="564" y="1488"/>
                    <a:pt x="506" y="1480"/>
                  </a:cubicBezTo>
                  <a:cubicBezTo>
                    <a:pt x="447" y="1473"/>
                    <a:pt x="352" y="1414"/>
                    <a:pt x="330" y="1356"/>
                  </a:cubicBezTo>
                  <a:cubicBezTo>
                    <a:pt x="330" y="1348"/>
                    <a:pt x="330" y="1341"/>
                    <a:pt x="330" y="1334"/>
                  </a:cubicBezTo>
                  <a:cubicBezTo>
                    <a:pt x="315" y="1290"/>
                    <a:pt x="308" y="1275"/>
                    <a:pt x="271" y="1275"/>
                  </a:cubicBezTo>
                  <a:cubicBezTo>
                    <a:pt x="205" y="1275"/>
                    <a:pt x="176" y="1246"/>
                    <a:pt x="147" y="1202"/>
                  </a:cubicBezTo>
                  <a:cubicBezTo>
                    <a:pt x="132" y="1180"/>
                    <a:pt x="132" y="1165"/>
                    <a:pt x="132" y="1143"/>
                  </a:cubicBezTo>
                  <a:cubicBezTo>
                    <a:pt x="125" y="1128"/>
                    <a:pt x="125" y="1114"/>
                    <a:pt x="110" y="1107"/>
                  </a:cubicBezTo>
                  <a:cubicBezTo>
                    <a:pt x="73" y="1077"/>
                    <a:pt x="81" y="1011"/>
                    <a:pt x="81" y="967"/>
                  </a:cubicBezTo>
                  <a:cubicBezTo>
                    <a:pt x="88" y="953"/>
                    <a:pt x="88" y="945"/>
                    <a:pt x="88" y="938"/>
                  </a:cubicBezTo>
                  <a:cubicBezTo>
                    <a:pt x="81" y="916"/>
                    <a:pt x="81" y="916"/>
                    <a:pt x="81" y="916"/>
                  </a:cubicBezTo>
                  <a:cubicBezTo>
                    <a:pt x="95" y="916"/>
                    <a:pt x="95" y="916"/>
                    <a:pt x="95" y="916"/>
                  </a:cubicBezTo>
                  <a:cubicBezTo>
                    <a:pt x="183" y="887"/>
                    <a:pt x="220" y="865"/>
                    <a:pt x="227" y="850"/>
                  </a:cubicBezTo>
                  <a:cubicBezTo>
                    <a:pt x="249" y="814"/>
                    <a:pt x="315" y="755"/>
                    <a:pt x="359" y="748"/>
                  </a:cubicBezTo>
                  <a:cubicBezTo>
                    <a:pt x="374" y="748"/>
                    <a:pt x="396" y="748"/>
                    <a:pt x="410" y="748"/>
                  </a:cubicBezTo>
                  <a:cubicBezTo>
                    <a:pt x="432" y="748"/>
                    <a:pt x="454" y="748"/>
                    <a:pt x="476" y="748"/>
                  </a:cubicBezTo>
                  <a:lnTo>
                    <a:pt x="484" y="748"/>
                  </a:lnTo>
                  <a:cubicBezTo>
                    <a:pt x="520" y="748"/>
                    <a:pt x="579" y="726"/>
                    <a:pt x="586" y="704"/>
                  </a:cubicBezTo>
                  <a:cubicBezTo>
                    <a:pt x="594" y="689"/>
                    <a:pt x="601" y="667"/>
                    <a:pt x="601" y="652"/>
                  </a:cubicBezTo>
                  <a:cubicBezTo>
                    <a:pt x="608" y="623"/>
                    <a:pt x="608" y="594"/>
                    <a:pt x="637" y="579"/>
                  </a:cubicBezTo>
                  <a:cubicBezTo>
                    <a:pt x="637" y="579"/>
                    <a:pt x="645" y="579"/>
                    <a:pt x="652" y="579"/>
                  </a:cubicBezTo>
                  <a:cubicBezTo>
                    <a:pt x="659" y="579"/>
                    <a:pt x="674" y="586"/>
                    <a:pt x="682" y="594"/>
                  </a:cubicBezTo>
                  <a:cubicBezTo>
                    <a:pt x="696" y="601"/>
                    <a:pt x="704" y="608"/>
                    <a:pt x="711" y="608"/>
                  </a:cubicBezTo>
                  <a:cubicBezTo>
                    <a:pt x="718" y="608"/>
                    <a:pt x="725" y="601"/>
                    <a:pt x="733" y="601"/>
                  </a:cubicBezTo>
                  <a:cubicBezTo>
                    <a:pt x="740" y="594"/>
                    <a:pt x="755" y="586"/>
                    <a:pt x="762" y="572"/>
                  </a:cubicBezTo>
                  <a:cubicBezTo>
                    <a:pt x="791" y="550"/>
                    <a:pt x="828" y="528"/>
                    <a:pt x="843" y="506"/>
                  </a:cubicBezTo>
                  <a:cubicBezTo>
                    <a:pt x="872" y="469"/>
                    <a:pt x="887" y="455"/>
                    <a:pt x="931" y="433"/>
                  </a:cubicBezTo>
                  <a:cubicBezTo>
                    <a:pt x="967" y="410"/>
                    <a:pt x="975" y="410"/>
                    <a:pt x="982" y="374"/>
                  </a:cubicBezTo>
                  <a:cubicBezTo>
                    <a:pt x="982" y="352"/>
                    <a:pt x="982" y="352"/>
                    <a:pt x="982" y="352"/>
                  </a:cubicBezTo>
                  <a:cubicBezTo>
                    <a:pt x="982" y="308"/>
                    <a:pt x="989" y="257"/>
                    <a:pt x="1026" y="242"/>
                  </a:cubicBezTo>
                  <a:cubicBezTo>
                    <a:pt x="1063" y="220"/>
                    <a:pt x="1121" y="220"/>
                    <a:pt x="1143" y="220"/>
                  </a:cubicBezTo>
                  <a:cubicBezTo>
                    <a:pt x="1179" y="220"/>
                    <a:pt x="1252" y="242"/>
                    <a:pt x="1274" y="271"/>
                  </a:cubicBezTo>
                  <a:cubicBezTo>
                    <a:pt x="1303" y="301"/>
                    <a:pt x="1340" y="337"/>
                    <a:pt x="1362" y="337"/>
                  </a:cubicBezTo>
                  <a:cubicBezTo>
                    <a:pt x="1369" y="337"/>
                    <a:pt x="1369" y="337"/>
                    <a:pt x="1377" y="330"/>
                  </a:cubicBezTo>
                  <a:cubicBezTo>
                    <a:pt x="1391" y="323"/>
                    <a:pt x="1398" y="308"/>
                    <a:pt x="1406" y="293"/>
                  </a:cubicBezTo>
                  <a:cubicBezTo>
                    <a:pt x="1413" y="279"/>
                    <a:pt x="1421" y="264"/>
                    <a:pt x="1443" y="249"/>
                  </a:cubicBezTo>
                  <a:cubicBezTo>
                    <a:pt x="1457" y="242"/>
                    <a:pt x="1472" y="242"/>
                    <a:pt x="1486" y="242"/>
                  </a:cubicBezTo>
                  <a:cubicBezTo>
                    <a:pt x="1508" y="242"/>
                    <a:pt x="1523" y="249"/>
                    <a:pt x="1545" y="264"/>
                  </a:cubicBezTo>
                  <a:cubicBezTo>
                    <a:pt x="1545" y="271"/>
                    <a:pt x="1560" y="271"/>
                    <a:pt x="1567" y="271"/>
                  </a:cubicBezTo>
                  <a:cubicBezTo>
                    <a:pt x="1582" y="271"/>
                    <a:pt x="1596" y="264"/>
                    <a:pt x="1596" y="264"/>
                  </a:cubicBezTo>
                  <a:cubicBezTo>
                    <a:pt x="1596" y="257"/>
                    <a:pt x="1596" y="257"/>
                    <a:pt x="1596" y="249"/>
                  </a:cubicBezTo>
                  <a:cubicBezTo>
                    <a:pt x="1582" y="242"/>
                    <a:pt x="1574" y="235"/>
                    <a:pt x="1560" y="227"/>
                  </a:cubicBezTo>
                  <a:cubicBezTo>
                    <a:pt x="1545" y="213"/>
                    <a:pt x="1530" y="198"/>
                    <a:pt x="1530" y="161"/>
                  </a:cubicBezTo>
                  <a:cubicBezTo>
                    <a:pt x="1538" y="117"/>
                    <a:pt x="1560" y="103"/>
                    <a:pt x="1604" y="74"/>
                  </a:cubicBezTo>
                  <a:cubicBezTo>
                    <a:pt x="1618" y="66"/>
                    <a:pt x="1618" y="59"/>
                    <a:pt x="1626" y="52"/>
                  </a:cubicBezTo>
                  <a:lnTo>
                    <a:pt x="1626" y="44"/>
                  </a:lnTo>
                  <a:lnTo>
                    <a:pt x="1626" y="44"/>
                  </a:lnTo>
                  <a:cubicBezTo>
                    <a:pt x="1648" y="15"/>
                    <a:pt x="1648" y="15"/>
                    <a:pt x="1648" y="15"/>
                  </a:cubicBezTo>
                  <a:cubicBezTo>
                    <a:pt x="1655" y="22"/>
                    <a:pt x="1655" y="22"/>
                    <a:pt x="1655" y="22"/>
                  </a:cubicBezTo>
                  <a:cubicBezTo>
                    <a:pt x="1662" y="22"/>
                    <a:pt x="1670" y="15"/>
                    <a:pt x="1677" y="15"/>
                  </a:cubicBezTo>
                  <a:lnTo>
                    <a:pt x="1684" y="15"/>
                  </a:lnTo>
                  <a:cubicBezTo>
                    <a:pt x="1692" y="15"/>
                    <a:pt x="1692" y="22"/>
                    <a:pt x="1699" y="22"/>
                  </a:cubicBezTo>
                  <a:cubicBezTo>
                    <a:pt x="1721" y="22"/>
                    <a:pt x="1743" y="15"/>
                    <a:pt x="1765" y="15"/>
                  </a:cubicBezTo>
                  <a:cubicBezTo>
                    <a:pt x="1794" y="7"/>
                    <a:pt x="1816" y="0"/>
                    <a:pt x="1838" y="0"/>
                  </a:cubicBezTo>
                  <a:cubicBezTo>
                    <a:pt x="1846" y="0"/>
                    <a:pt x="1853" y="7"/>
                    <a:pt x="1867" y="7"/>
                  </a:cubicBezTo>
                  <a:cubicBezTo>
                    <a:pt x="1875" y="7"/>
                    <a:pt x="1889" y="15"/>
                    <a:pt x="1904" y="15"/>
                  </a:cubicBezTo>
                  <a:cubicBezTo>
                    <a:pt x="1934" y="22"/>
                    <a:pt x="1963" y="29"/>
                    <a:pt x="1985" y="44"/>
                  </a:cubicBezTo>
                  <a:cubicBezTo>
                    <a:pt x="1992" y="52"/>
                    <a:pt x="1999" y="59"/>
                    <a:pt x="2007" y="74"/>
                  </a:cubicBezTo>
                  <a:cubicBezTo>
                    <a:pt x="2021" y="88"/>
                    <a:pt x="2036" y="103"/>
                    <a:pt x="2051" y="103"/>
                  </a:cubicBezTo>
                  <a:cubicBezTo>
                    <a:pt x="2065" y="103"/>
                    <a:pt x="2073" y="103"/>
                    <a:pt x="2073" y="103"/>
                  </a:cubicBezTo>
                  <a:cubicBezTo>
                    <a:pt x="2087" y="103"/>
                    <a:pt x="2095" y="103"/>
                    <a:pt x="2102" y="103"/>
                  </a:cubicBezTo>
                  <a:cubicBezTo>
                    <a:pt x="2109" y="110"/>
                    <a:pt x="2117" y="110"/>
                    <a:pt x="2124" y="110"/>
                  </a:cubicBezTo>
                  <a:cubicBezTo>
                    <a:pt x="2153" y="110"/>
                    <a:pt x="2175" y="139"/>
                    <a:pt x="2175" y="169"/>
                  </a:cubicBezTo>
                  <a:cubicBezTo>
                    <a:pt x="2175" y="198"/>
                    <a:pt x="2168" y="220"/>
                    <a:pt x="2131" y="227"/>
                  </a:cubicBezTo>
                  <a:cubicBezTo>
                    <a:pt x="2095" y="227"/>
                    <a:pt x="2095" y="235"/>
                    <a:pt x="2095" y="235"/>
                  </a:cubicBezTo>
                  <a:cubicBezTo>
                    <a:pt x="2095" y="235"/>
                    <a:pt x="2087" y="242"/>
                    <a:pt x="2102" y="264"/>
                  </a:cubicBezTo>
                  <a:cubicBezTo>
                    <a:pt x="2117" y="279"/>
                    <a:pt x="2131" y="293"/>
                    <a:pt x="2146" y="308"/>
                  </a:cubicBezTo>
                  <a:cubicBezTo>
                    <a:pt x="2175" y="330"/>
                    <a:pt x="2190" y="345"/>
                    <a:pt x="2190" y="367"/>
                  </a:cubicBezTo>
                  <a:cubicBezTo>
                    <a:pt x="2197" y="374"/>
                    <a:pt x="2190" y="388"/>
                    <a:pt x="2190" y="403"/>
                  </a:cubicBezTo>
                  <a:cubicBezTo>
                    <a:pt x="2183" y="425"/>
                    <a:pt x="2183" y="433"/>
                    <a:pt x="2190" y="440"/>
                  </a:cubicBezTo>
                  <a:cubicBezTo>
                    <a:pt x="2212" y="462"/>
                    <a:pt x="2248" y="520"/>
                    <a:pt x="2248" y="557"/>
                  </a:cubicBezTo>
                  <a:cubicBezTo>
                    <a:pt x="2248" y="667"/>
                    <a:pt x="2248" y="667"/>
                    <a:pt x="2248" y="667"/>
                  </a:cubicBezTo>
                  <a:cubicBezTo>
                    <a:pt x="2248" y="704"/>
                    <a:pt x="2263" y="733"/>
                    <a:pt x="2285" y="740"/>
                  </a:cubicBezTo>
                  <a:cubicBezTo>
                    <a:pt x="2300" y="740"/>
                    <a:pt x="2307" y="748"/>
                    <a:pt x="2322" y="748"/>
                  </a:cubicBezTo>
                  <a:cubicBezTo>
                    <a:pt x="2336" y="748"/>
                    <a:pt x="2351" y="740"/>
                    <a:pt x="2373" y="733"/>
                  </a:cubicBezTo>
                  <a:cubicBezTo>
                    <a:pt x="2388" y="726"/>
                    <a:pt x="2395" y="726"/>
                    <a:pt x="2403" y="718"/>
                  </a:cubicBezTo>
                  <a:cubicBezTo>
                    <a:pt x="2417" y="711"/>
                    <a:pt x="2432" y="711"/>
                    <a:pt x="2439" y="711"/>
                  </a:cubicBezTo>
                  <a:cubicBezTo>
                    <a:pt x="2454" y="711"/>
                    <a:pt x="2461" y="711"/>
                    <a:pt x="2476" y="718"/>
                  </a:cubicBezTo>
                  <a:cubicBezTo>
                    <a:pt x="2490" y="726"/>
                    <a:pt x="2505" y="733"/>
                    <a:pt x="2527" y="748"/>
                  </a:cubicBezTo>
                  <a:cubicBezTo>
                    <a:pt x="2556" y="762"/>
                    <a:pt x="2578" y="777"/>
                    <a:pt x="2600" y="784"/>
                  </a:cubicBezTo>
                  <a:cubicBezTo>
                    <a:pt x="2608" y="792"/>
                    <a:pt x="2622" y="792"/>
                    <a:pt x="2637" y="792"/>
                  </a:cubicBezTo>
                  <a:cubicBezTo>
                    <a:pt x="2644" y="792"/>
                    <a:pt x="2652" y="792"/>
                    <a:pt x="2659" y="784"/>
                  </a:cubicBezTo>
                  <a:cubicBezTo>
                    <a:pt x="2674" y="777"/>
                    <a:pt x="2681" y="777"/>
                    <a:pt x="2681" y="777"/>
                  </a:cubicBezTo>
                  <a:cubicBezTo>
                    <a:pt x="2696" y="777"/>
                    <a:pt x="2703" y="784"/>
                    <a:pt x="2710" y="792"/>
                  </a:cubicBezTo>
                  <a:cubicBezTo>
                    <a:pt x="2717" y="792"/>
                    <a:pt x="2717" y="792"/>
                    <a:pt x="2717" y="792"/>
                  </a:cubicBezTo>
                  <a:cubicBezTo>
                    <a:pt x="2732" y="792"/>
                    <a:pt x="2739" y="792"/>
                    <a:pt x="2739" y="784"/>
                  </a:cubicBezTo>
                  <a:cubicBezTo>
                    <a:pt x="2754" y="777"/>
                    <a:pt x="2761" y="762"/>
                    <a:pt x="2784" y="762"/>
                  </a:cubicBezTo>
                  <a:cubicBezTo>
                    <a:pt x="2791" y="762"/>
                    <a:pt x="2791" y="762"/>
                    <a:pt x="2798" y="769"/>
                  </a:cubicBezTo>
                  <a:cubicBezTo>
                    <a:pt x="2820" y="769"/>
                    <a:pt x="2827" y="777"/>
                    <a:pt x="2842" y="784"/>
                  </a:cubicBezTo>
                  <a:cubicBezTo>
                    <a:pt x="2849" y="792"/>
                    <a:pt x="2857" y="799"/>
                    <a:pt x="2871" y="799"/>
                  </a:cubicBezTo>
                  <a:cubicBezTo>
                    <a:pt x="2871" y="799"/>
                    <a:pt x="2879" y="799"/>
                    <a:pt x="2879" y="792"/>
                  </a:cubicBezTo>
                  <a:cubicBezTo>
                    <a:pt x="2901" y="792"/>
                    <a:pt x="2915" y="784"/>
                    <a:pt x="2923" y="777"/>
                  </a:cubicBezTo>
                  <a:cubicBezTo>
                    <a:pt x="2930" y="769"/>
                    <a:pt x="2937" y="762"/>
                    <a:pt x="2959" y="762"/>
                  </a:cubicBezTo>
                  <a:cubicBezTo>
                    <a:pt x="2981" y="762"/>
                    <a:pt x="2989" y="784"/>
                    <a:pt x="2989" y="799"/>
                  </a:cubicBezTo>
                  <a:cubicBezTo>
                    <a:pt x="2996" y="806"/>
                    <a:pt x="2996" y="814"/>
                    <a:pt x="3011" y="814"/>
                  </a:cubicBezTo>
                  <a:cubicBezTo>
                    <a:pt x="3025" y="814"/>
                    <a:pt x="3040" y="814"/>
                    <a:pt x="3055" y="821"/>
                  </a:cubicBezTo>
                  <a:cubicBezTo>
                    <a:pt x="3069" y="821"/>
                    <a:pt x="3084" y="828"/>
                    <a:pt x="3106" y="828"/>
                  </a:cubicBezTo>
                  <a:cubicBezTo>
                    <a:pt x="3135" y="828"/>
                    <a:pt x="3150" y="843"/>
                    <a:pt x="3157" y="857"/>
                  </a:cubicBezTo>
                  <a:cubicBezTo>
                    <a:pt x="3172" y="879"/>
                    <a:pt x="3165" y="902"/>
                    <a:pt x="3157" y="924"/>
                  </a:cubicBezTo>
                  <a:cubicBezTo>
                    <a:pt x="3150" y="938"/>
                    <a:pt x="3143" y="938"/>
                    <a:pt x="3150" y="945"/>
                  </a:cubicBezTo>
                  <a:cubicBezTo>
                    <a:pt x="3150" y="953"/>
                    <a:pt x="3157" y="960"/>
                    <a:pt x="3172" y="967"/>
                  </a:cubicBezTo>
                  <a:cubicBezTo>
                    <a:pt x="3216" y="982"/>
                    <a:pt x="3223" y="989"/>
                    <a:pt x="3245" y="1026"/>
                  </a:cubicBezTo>
                  <a:cubicBezTo>
                    <a:pt x="3260" y="1063"/>
                    <a:pt x="3267" y="1070"/>
                    <a:pt x="3304" y="1092"/>
                  </a:cubicBezTo>
                  <a:cubicBezTo>
                    <a:pt x="3311" y="1099"/>
                    <a:pt x="3311" y="1099"/>
                    <a:pt x="3311" y="1099"/>
                  </a:cubicBezTo>
                  <a:cubicBezTo>
                    <a:pt x="3326" y="1107"/>
                    <a:pt x="3333" y="1114"/>
                    <a:pt x="3340" y="1128"/>
                  </a:cubicBezTo>
                  <a:cubicBezTo>
                    <a:pt x="3340" y="1143"/>
                    <a:pt x="3333" y="1158"/>
                    <a:pt x="3304" y="1187"/>
                  </a:cubicBezTo>
                  <a:cubicBezTo>
                    <a:pt x="3289" y="1209"/>
                    <a:pt x="3274" y="1238"/>
                    <a:pt x="3260" y="1261"/>
                  </a:cubicBezTo>
                  <a:cubicBezTo>
                    <a:pt x="3245" y="1297"/>
                    <a:pt x="3230" y="1326"/>
                    <a:pt x="3208" y="1326"/>
                  </a:cubicBezTo>
                  <a:cubicBezTo>
                    <a:pt x="3201" y="1326"/>
                    <a:pt x="3194" y="1319"/>
                    <a:pt x="3186" y="1319"/>
                  </a:cubicBezTo>
                  <a:cubicBezTo>
                    <a:pt x="3179" y="1319"/>
                    <a:pt x="3179" y="1319"/>
                    <a:pt x="3172" y="1319"/>
                  </a:cubicBezTo>
                  <a:cubicBezTo>
                    <a:pt x="3165" y="1319"/>
                    <a:pt x="3150" y="1319"/>
                    <a:pt x="3135" y="1334"/>
                  </a:cubicBezTo>
                  <a:cubicBezTo>
                    <a:pt x="3135" y="1334"/>
                    <a:pt x="3113" y="1348"/>
                    <a:pt x="3113" y="1356"/>
                  </a:cubicBezTo>
                  <a:cubicBezTo>
                    <a:pt x="3113" y="1356"/>
                    <a:pt x="3113" y="1356"/>
                    <a:pt x="3128" y="1370"/>
                  </a:cubicBezTo>
                  <a:cubicBezTo>
                    <a:pt x="3157" y="1400"/>
                    <a:pt x="3201" y="1407"/>
                    <a:pt x="3230" y="1414"/>
                  </a:cubicBezTo>
                  <a:cubicBezTo>
                    <a:pt x="3274" y="1422"/>
                    <a:pt x="3326" y="1444"/>
                    <a:pt x="3333" y="1488"/>
                  </a:cubicBezTo>
                  <a:cubicBezTo>
                    <a:pt x="3340" y="1495"/>
                    <a:pt x="3340" y="1502"/>
                    <a:pt x="3348" y="1510"/>
                  </a:cubicBezTo>
                  <a:cubicBezTo>
                    <a:pt x="3362" y="1539"/>
                    <a:pt x="3377" y="1576"/>
                    <a:pt x="3348" y="1605"/>
                  </a:cubicBezTo>
                  <a:cubicBezTo>
                    <a:pt x="3340" y="1612"/>
                    <a:pt x="3333" y="1612"/>
                    <a:pt x="3326" y="1619"/>
                  </a:cubicBezTo>
                  <a:cubicBezTo>
                    <a:pt x="3304" y="1633"/>
                    <a:pt x="3296" y="1641"/>
                    <a:pt x="3296" y="1648"/>
                  </a:cubicBezTo>
                  <a:cubicBezTo>
                    <a:pt x="3304" y="1677"/>
                    <a:pt x="3318" y="1692"/>
                    <a:pt x="3340" y="1706"/>
                  </a:cubicBezTo>
                  <a:cubicBezTo>
                    <a:pt x="3370" y="1736"/>
                    <a:pt x="3399" y="1751"/>
                    <a:pt x="3421" y="1751"/>
                  </a:cubicBezTo>
                  <a:cubicBezTo>
                    <a:pt x="3421" y="1751"/>
                    <a:pt x="3428" y="1751"/>
                    <a:pt x="3428" y="1743"/>
                  </a:cubicBezTo>
                  <a:cubicBezTo>
                    <a:pt x="3465" y="1736"/>
                    <a:pt x="3538" y="1714"/>
                    <a:pt x="3575" y="1714"/>
                  </a:cubicBezTo>
                  <a:cubicBezTo>
                    <a:pt x="3597" y="1714"/>
                    <a:pt x="3611" y="1721"/>
                    <a:pt x="3626" y="1736"/>
                  </a:cubicBezTo>
                  <a:cubicBezTo>
                    <a:pt x="3634" y="1743"/>
                    <a:pt x="3648" y="1751"/>
                    <a:pt x="3655" y="1751"/>
                  </a:cubicBezTo>
                  <a:cubicBezTo>
                    <a:pt x="3692" y="1751"/>
                    <a:pt x="3729" y="1743"/>
                    <a:pt x="3751" y="1743"/>
                  </a:cubicBezTo>
                  <a:lnTo>
                    <a:pt x="3751" y="1743"/>
                  </a:lnTo>
                  <a:cubicBezTo>
                    <a:pt x="3758" y="1736"/>
                    <a:pt x="3758" y="1736"/>
                    <a:pt x="3758" y="1736"/>
                  </a:cubicBezTo>
                  <a:cubicBezTo>
                    <a:pt x="3780" y="1736"/>
                    <a:pt x="3787" y="1765"/>
                    <a:pt x="3802" y="1787"/>
                  </a:cubicBezTo>
                  <a:cubicBezTo>
                    <a:pt x="3809" y="1802"/>
                    <a:pt x="3809" y="1816"/>
                    <a:pt x="3817" y="1816"/>
                  </a:cubicBezTo>
                  <a:cubicBezTo>
                    <a:pt x="3839" y="1853"/>
                    <a:pt x="3868" y="1875"/>
                    <a:pt x="3890" y="1882"/>
                  </a:cubicBezTo>
                  <a:cubicBezTo>
                    <a:pt x="3905" y="1890"/>
                    <a:pt x="3919" y="1904"/>
                    <a:pt x="3927" y="1912"/>
                  </a:cubicBezTo>
                  <a:cubicBezTo>
                    <a:pt x="3934" y="1926"/>
                    <a:pt x="3934" y="1926"/>
                    <a:pt x="3948" y="1926"/>
                  </a:cubicBezTo>
                  <a:lnTo>
                    <a:pt x="3956" y="1926"/>
                  </a:lnTo>
                  <a:cubicBezTo>
                    <a:pt x="3970" y="1926"/>
                    <a:pt x="3993" y="1926"/>
                    <a:pt x="4015" y="1926"/>
                  </a:cubicBezTo>
                  <a:cubicBezTo>
                    <a:pt x="4051" y="1926"/>
                    <a:pt x="4095" y="1919"/>
                    <a:pt x="4110" y="1912"/>
                  </a:cubicBezTo>
                  <a:cubicBezTo>
                    <a:pt x="4117" y="1904"/>
                    <a:pt x="4117" y="1904"/>
                    <a:pt x="4117" y="1904"/>
                  </a:cubicBezTo>
                  <a:cubicBezTo>
                    <a:pt x="4139" y="1890"/>
                    <a:pt x="4161" y="1882"/>
                    <a:pt x="4183" y="1882"/>
                  </a:cubicBezTo>
                  <a:cubicBezTo>
                    <a:pt x="4198" y="1882"/>
                    <a:pt x="4205" y="1882"/>
                    <a:pt x="4212" y="1890"/>
                  </a:cubicBezTo>
                  <a:cubicBezTo>
                    <a:pt x="4227" y="1897"/>
                    <a:pt x="4234" y="1912"/>
                    <a:pt x="4249" y="1926"/>
                  </a:cubicBezTo>
                  <a:cubicBezTo>
                    <a:pt x="4264" y="1956"/>
                    <a:pt x="4286" y="1985"/>
                    <a:pt x="4315" y="1985"/>
                  </a:cubicBezTo>
                  <a:cubicBezTo>
                    <a:pt x="4366" y="1985"/>
                    <a:pt x="4396" y="2000"/>
                    <a:pt x="4417" y="2051"/>
                  </a:cubicBezTo>
                  <a:cubicBezTo>
                    <a:pt x="4432" y="2087"/>
                    <a:pt x="4454" y="2139"/>
                    <a:pt x="4491" y="2139"/>
                  </a:cubicBezTo>
                  <a:cubicBezTo>
                    <a:pt x="4505" y="2146"/>
                    <a:pt x="4513" y="2146"/>
                    <a:pt x="4527" y="2146"/>
                  </a:cubicBezTo>
                  <a:cubicBezTo>
                    <a:pt x="4535" y="2154"/>
                    <a:pt x="4549" y="2154"/>
                    <a:pt x="4557" y="2154"/>
                  </a:cubicBezTo>
                  <a:cubicBezTo>
                    <a:pt x="4571" y="2154"/>
                    <a:pt x="4579" y="2154"/>
                    <a:pt x="4593" y="2146"/>
                  </a:cubicBezTo>
                  <a:cubicBezTo>
                    <a:pt x="4615" y="2132"/>
                    <a:pt x="4637" y="2124"/>
                    <a:pt x="4659" y="2124"/>
                  </a:cubicBezTo>
                  <a:cubicBezTo>
                    <a:pt x="4681" y="2124"/>
                    <a:pt x="4696" y="2132"/>
                    <a:pt x="4703" y="2146"/>
                  </a:cubicBezTo>
                  <a:cubicBezTo>
                    <a:pt x="4725" y="2175"/>
                    <a:pt x="4733" y="2190"/>
                    <a:pt x="4740" y="2190"/>
                  </a:cubicBezTo>
                  <a:cubicBezTo>
                    <a:pt x="4755" y="2183"/>
                    <a:pt x="4762" y="2175"/>
                    <a:pt x="4769" y="2168"/>
                  </a:cubicBezTo>
                  <a:cubicBezTo>
                    <a:pt x="4784" y="2146"/>
                    <a:pt x="4798" y="2132"/>
                    <a:pt x="4820" y="2132"/>
                  </a:cubicBezTo>
                  <a:cubicBezTo>
                    <a:pt x="4850" y="2132"/>
                    <a:pt x="4872" y="2154"/>
                    <a:pt x="4879" y="2183"/>
                  </a:cubicBezTo>
                  <a:cubicBezTo>
                    <a:pt x="4879" y="2190"/>
                    <a:pt x="4894" y="2219"/>
                    <a:pt x="4908" y="2219"/>
                  </a:cubicBezTo>
                  <a:lnTo>
                    <a:pt x="4916" y="2219"/>
                  </a:lnTo>
                  <a:cubicBezTo>
                    <a:pt x="4938" y="2205"/>
                    <a:pt x="4938" y="2205"/>
                    <a:pt x="4938" y="2190"/>
                  </a:cubicBezTo>
                  <a:cubicBezTo>
                    <a:pt x="4938" y="2183"/>
                    <a:pt x="4938" y="2168"/>
                    <a:pt x="4945" y="2154"/>
                  </a:cubicBezTo>
                  <a:cubicBezTo>
                    <a:pt x="4952" y="2139"/>
                    <a:pt x="4952" y="2139"/>
                    <a:pt x="4952" y="2139"/>
                  </a:cubicBezTo>
                  <a:cubicBezTo>
                    <a:pt x="4967" y="2110"/>
                    <a:pt x="4967" y="2102"/>
                    <a:pt x="5004" y="2073"/>
                  </a:cubicBezTo>
                  <a:cubicBezTo>
                    <a:pt x="5018" y="2058"/>
                    <a:pt x="5055" y="2022"/>
                    <a:pt x="5048" y="1992"/>
                  </a:cubicBezTo>
                  <a:cubicBezTo>
                    <a:pt x="5048" y="1978"/>
                    <a:pt x="5040" y="1978"/>
                    <a:pt x="5026" y="1970"/>
                  </a:cubicBezTo>
                  <a:cubicBezTo>
                    <a:pt x="5004" y="1963"/>
                    <a:pt x="4989" y="1956"/>
                    <a:pt x="4982" y="1926"/>
                  </a:cubicBezTo>
                  <a:cubicBezTo>
                    <a:pt x="4974" y="1919"/>
                    <a:pt x="4974" y="1919"/>
                    <a:pt x="4974" y="1919"/>
                  </a:cubicBezTo>
                  <a:cubicBezTo>
                    <a:pt x="4967" y="1890"/>
                    <a:pt x="4952" y="1853"/>
                    <a:pt x="4982" y="1816"/>
                  </a:cubicBezTo>
                  <a:cubicBezTo>
                    <a:pt x="4996" y="1802"/>
                    <a:pt x="5011" y="1765"/>
                    <a:pt x="5033" y="1728"/>
                  </a:cubicBezTo>
                  <a:lnTo>
                    <a:pt x="5033" y="1728"/>
                  </a:lnTo>
                  <a:cubicBezTo>
                    <a:pt x="5040" y="1721"/>
                    <a:pt x="5040" y="1721"/>
                    <a:pt x="5040" y="1721"/>
                  </a:cubicBezTo>
                  <a:cubicBezTo>
                    <a:pt x="5062" y="1721"/>
                    <a:pt x="5077" y="1721"/>
                    <a:pt x="5084" y="1721"/>
                  </a:cubicBezTo>
                  <a:cubicBezTo>
                    <a:pt x="5121" y="1721"/>
                    <a:pt x="5150" y="1728"/>
                    <a:pt x="5172" y="1765"/>
                  </a:cubicBezTo>
                  <a:cubicBezTo>
                    <a:pt x="5187" y="1787"/>
                    <a:pt x="5216" y="1794"/>
                    <a:pt x="5260" y="1794"/>
                  </a:cubicBezTo>
                  <a:cubicBezTo>
                    <a:pt x="5275" y="1794"/>
                    <a:pt x="5289" y="1794"/>
                    <a:pt x="5304" y="1794"/>
                  </a:cubicBezTo>
                  <a:cubicBezTo>
                    <a:pt x="5341" y="1787"/>
                    <a:pt x="5348" y="1780"/>
                    <a:pt x="5363" y="1780"/>
                  </a:cubicBezTo>
                  <a:cubicBezTo>
                    <a:pt x="5370" y="1773"/>
                    <a:pt x="5377" y="1773"/>
                    <a:pt x="5385" y="1773"/>
                  </a:cubicBezTo>
                  <a:cubicBezTo>
                    <a:pt x="5407" y="1773"/>
                    <a:pt x="5414" y="1787"/>
                    <a:pt x="5421" y="1794"/>
                  </a:cubicBezTo>
                  <a:cubicBezTo>
                    <a:pt x="5429" y="1802"/>
                    <a:pt x="5436" y="1816"/>
                    <a:pt x="5451" y="1816"/>
                  </a:cubicBezTo>
                  <a:cubicBezTo>
                    <a:pt x="5495" y="1824"/>
                    <a:pt x="5524" y="1846"/>
                    <a:pt x="5553" y="1912"/>
                  </a:cubicBezTo>
                  <a:cubicBezTo>
                    <a:pt x="5560" y="1934"/>
                    <a:pt x="5568" y="1948"/>
                    <a:pt x="5568" y="1970"/>
                  </a:cubicBezTo>
                  <a:cubicBezTo>
                    <a:pt x="5575" y="2000"/>
                    <a:pt x="5575" y="2014"/>
                    <a:pt x="5612" y="2022"/>
                  </a:cubicBezTo>
                  <a:cubicBezTo>
                    <a:pt x="5641" y="2029"/>
                    <a:pt x="5648" y="2029"/>
                    <a:pt x="5656" y="2036"/>
                  </a:cubicBezTo>
                  <a:cubicBezTo>
                    <a:pt x="5663" y="2036"/>
                    <a:pt x="5663" y="2036"/>
                    <a:pt x="5663" y="2036"/>
                  </a:cubicBezTo>
                  <a:cubicBezTo>
                    <a:pt x="5670" y="2036"/>
                    <a:pt x="5678" y="2036"/>
                    <a:pt x="5685" y="2029"/>
                  </a:cubicBezTo>
                  <a:cubicBezTo>
                    <a:pt x="5700" y="2029"/>
                    <a:pt x="5707" y="2022"/>
                    <a:pt x="5715" y="2022"/>
                  </a:cubicBezTo>
                  <a:cubicBezTo>
                    <a:pt x="5744" y="2022"/>
                    <a:pt x="5751" y="2051"/>
                    <a:pt x="5758" y="2073"/>
                  </a:cubicBezTo>
                  <a:cubicBezTo>
                    <a:pt x="5758" y="2080"/>
                    <a:pt x="5766" y="2087"/>
                    <a:pt x="5766" y="2095"/>
                  </a:cubicBezTo>
                  <a:cubicBezTo>
                    <a:pt x="5780" y="2124"/>
                    <a:pt x="5780" y="2124"/>
                    <a:pt x="5780" y="2124"/>
                  </a:cubicBezTo>
                  <a:cubicBezTo>
                    <a:pt x="5795" y="2154"/>
                    <a:pt x="5802" y="2190"/>
                    <a:pt x="5817" y="2242"/>
                  </a:cubicBezTo>
                  <a:cubicBezTo>
                    <a:pt x="5824" y="2263"/>
                    <a:pt x="5824" y="2263"/>
                    <a:pt x="5824" y="2263"/>
                  </a:cubicBezTo>
                  <a:cubicBezTo>
                    <a:pt x="5839" y="2322"/>
                    <a:pt x="5839" y="2337"/>
                    <a:pt x="5795" y="2373"/>
                  </a:cubicBezTo>
                  <a:cubicBezTo>
                    <a:pt x="5780" y="2381"/>
                    <a:pt x="5758" y="2388"/>
                    <a:pt x="5707" y="2388"/>
                  </a:cubicBezTo>
                  <a:lnTo>
                    <a:pt x="5707" y="2388"/>
                  </a:lnTo>
                  <a:cubicBezTo>
                    <a:pt x="5685" y="2388"/>
                    <a:pt x="5663" y="2388"/>
                    <a:pt x="5634" y="2388"/>
                  </a:cubicBezTo>
                  <a:cubicBezTo>
                    <a:pt x="5605" y="2381"/>
                    <a:pt x="5583" y="2381"/>
                    <a:pt x="5560" y="2381"/>
                  </a:cubicBezTo>
                  <a:cubicBezTo>
                    <a:pt x="5531" y="2381"/>
                    <a:pt x="5509" y="2388"/>
                    <a:pt x="5495" y="2388"/>
                  </a:cubicBezTo>
                  <a:cubicBezTo>
                    <a:pt x="5458" y="2410"/>
                    <a:pt x="5443" y="2432"/>
                    <a:pt x="5429" y="2469"/>
                  </a:cubicBezTo>
                  <a:cubicBezTo>
                    <a:pt x="5421" y="2476"/>
                    <a:pt x="5414" y="2483"/>
                    <a:pt x="5407" y="2491"/>
                  </a:cubicBezTo>
                  <a:cubicBezTo>
                    <a:pt x="5399" y="2513"/>
                    <a:pt x="5392" y="2542"/>
                    <a:pt x="5392" y="2556"/>
                  </a:cubicBezTo>
                  <a:cubicBezTo>
                    <a:pt x="5385" y="2586"/>
                    <a:pt x="5385" y="2601"/>
                    <a:pt x="5370" y="2608"/>
                  </a:cubicBezTo>
                  <a:cubicBezTo>
                    <a:pt x="5363" y="2615"/>
                    <a:pt x="5363" y="2615"/>
                    <a:pt x="5363" y="2615"/>
                  </a:cubicBezTo>
                  <a:lnTo>
                    <a:pt x="5363" y="2615"/>
                  </a:lnTo>
                  <a:cubicBezTo>
                    <a:pt x="5355" y="2615"/>
                    <a:pt x="5341" y="2615"/>
                    <a:pt x="5326" y="2549"/>
                  </a:cubicBezTo>
                  <a:cubicBezTo>
                    <a:pt x="5319" y="2564"/>
                    <a:pt x="5304" y="2571"/>
                    <a:pt x="5289" y="2578"/>
                  </a:cubicBezTo>
                  <a:cubicBezTo>
                    <a:pt x="5275" y="2586"/>
                    <a:pt x="5260" y="2586"/>
                    <a:pt x="5253" y="2586"/>
                  </a:cubicBezTo>
                  <a:cubicBezTo>
                    <a:pt x="5224" y="2593"/>
                    <a:pt x="5216" y="2593"/>
                    <a:pt x="5216" y="2608"/>
                  </a:cubicBezTo>
                  <a:cubicBezTo>
                    <a:pt x="5216" y="2615"/>
                    <a:pt x="5216" y="2615"/>
                    <a:pt x="5216" y="2615"/>
                  </a:cubicBezTo>
                  <a:cubicBezTo>
                    <a:pt x="5209" y="2644"/>
                    <a:pt x="5201" y="2666"/>
                    <a:pt x="5172" y="2666"/>
                  </a:cubicBezTo>
                  <a:cubicBezTo>
                    <a:pt x="5165" y="2666"/>
                    <a:pt x="5165" y="2666"/>
                    <a:pt x="5158" y="2659"/>
                  </a:cubicBezTo>
                  <a:cubicBezTo>
                    <a:pt x="5143" y="2659"/>
                    <a:pt x="5143" y="2659"/>
                    <a:pt x="5143" y="2659"/>
                  </a:cubicBezTo>
                  <a:cubicBezTo>
                    <a:pt x="5128" y="2652"/>
                    <a:pt x="5114" y="2652"/>
                    <a:pt x="5106" y="2652"/>
                  </a:cubicBezTo>
                  <a:cubicBezTo>
                    <a:pt x="5092" y="2652"/>
                    <a:pt x="5084" y="2652"/>
                    <a:pt x="5077" y="2666"/>
                  </a:cubicBezTo>
                  <a:cubicBezTo>
                    <a:pt x="5070" y="2674"/>
                    <a:pt x="5070" y="2674"/>
                    <a:pt x="5070" y="2681"/>
                  </a:cubicBezTo>
                  <a:cubicBezTo>
                    <a:pt x="5048" y="2703"/>
                    <a:pt x="5048" y="2710"/>
                    <a:pt x="5004" y="2725"/>
                  </a:cubicBezTo>
                  <a:cubicBezTo>
                    <a:pt x="4989" y="2725"/>
                    <a:pt x="4989" y="2725"/>
                    <a:pt x="4989" y="2725"/>
                  </a:cubicBezTo>
                  <a:cubicBezTo>
                    <a:pt x="4989" y="2732"/>
                    <a:pt x="5018" y="2747"/>
                    <a:pt x="5040" y="2754"/>
                  </a:cubicBezTo>
                  <a:cubicBezTo>
                    <a:pt x="5055" y="2754"/>
                    <a:pt x="5055" y="2754"/>
                    <a:pt x="5055" y="2754"/>
                  </a:cubicBezTo>
                  <a:cubicBezTo>
                    <a:pt x="5077" y="2762"/>
                    <a:pt x="5099" y="2762"/>
                    <a:pt x="5106" y="2776"/>
                  </a:cubicBezTo>
                  <a:cubicBezTo>
                    <a:pt x="5114" y="2791"/>
                    <a:pt x="5106" y="2813"/>
                    <a:pt x="5092" y="2828"/>
                  </a:cubicBezTo>
                  <a:cubicBezTo>
                    <a:pt x="5070" y="2864"/>
                    <a:pt x="5040" y="2864"/>
                    <a:pt x="5018" y="2872"/>
                  </a:cubicBezTo>
                  <a:cubicBezTo>
                    <a:pt x="5011" y="2872"/>
                    <a:pt x="5011" y="2872"/>
                    <a:pt x="5004" y="2872"/>
                  </a:cubicBezTo>
                  <a:cubicBezTo>
                    <a:pt x="4982" y="2879"/>
                    <a:pt x="4974" y="2901"/>
                    <a:pt x="4974" y="2937"/>
                  </a:cubicBezTo>
                  <a:cubicBezTo>
                    <a:pt x="4982" y="2937"/>
                    <a:pt x="4982" y="2945"/>
                    <a:pt x="4982" y="2945"/>
                  </a:cubicBezTo>
                  <a:cubicBezTo>
                    <a:pt x="4989" y="2945"/>
                    <a:pt x="5004" y="2930"/>
                    <a:pt x="5011" y="2923"/>
                  </a:cubicBezTo>
                  <a:cubicBezTo>
                    <a:pt x="5011" y="2923"/>
                    <a:pt x="5018" y="2916"/>
                    <a:pt x="5026" y="2916"/>
                  </a:cubicBezTo>
                  <a:cubicBezTo>
                    <a:pt x="5033" y="2908"/>
                    <a:pt x="5040" y="2908"/>
                    <a:pt x="5048" y="2908"/>
                  </a:cubicBezTo>
                  <a:cubicBezTo>
                    <a:pt x="5055" y="2908"/>
                    <a:pt x="5062" y="2916"/>
                    <a:pt x="5070" y="2923"/>
                  </a:cubicBezTo>
                  <a:cubicBezTo>
                    <a:pt x="5084" y="2937"/>
                    <a:pt x="5084" y="2960"/>
                    <a:pt x="5077" y="2982"/>
                  </a:cubicBezTo>
                  <a:cubicBezTo>
                    <a:pt x="5077" y="3004"/>
                    <a:pt x="5070" y="3011"/>
                    <a:pt x="5062" y="3018"/>
                  </a:cubicBezTo>
                  <a:cubicBezTo>
                    <a:pt x="5055" y="3025"/>
                    <a:pt x="5048" y="3033"/>
                    <a:pt x="5055" y="3040"/>
                  </a:cubicBezTo>
                  <a:cubicBezTo>
                    <a:pt x="5062" y="3069"/>
                    <a:pt x="5077" y="3084"/>
                    <a:pt x="5136" y="3092"/>
                  </a:cubicBezTo>
                  <a:cubicBezTo>
                    <a:pt x="5165" y="3099"/>
                    <a:pt x="5179" y="3113"/>
                    <a:pt x="5179" y="3135"/>
                  </a:cubicBezTo>
                  <a:cubicBezTo>
                    <a:pt x="5187" y="3165"/>
                    <a:pt x="5165" y="3209"/>
                    <a:pt x="5143" y="3223"/>
                  </a:cubicBezTo>
                  <a:cubicBezTo>
                    <a:pt x="5121" y="3231"/>
                    <a:pt x="5121" y="3231"/>
                    <a:pt x="5121" y="3231"/>
                  </a:cubicBezTo>
                  <a:cubicBezTo>
                    <a:pt x="5099" y="3238"/>
                    <a:pt x="5099" y="3245"/>
                    <a:pt x="5084" y="3260"/>
                  </a:cubicBezTo>
                  <a:cubicBezTo>
                    <a:pt x="5077" y="3267"/>
                    <a:pt x="5077" y="3267"/>
                    <a:pt x="5077" y="3267"/>
                  </a:cubicBezTo>
                  <a:cubicBezTo>
                    <a:pt x="5070" y="3289"/>
                    <a:pt x="5062" y="3297"/>
                    <a:pt x="5026" y="3311"/>
                  </a:cubicBezTo>
                  <a:cubicBezTo>
                    <a:pt x="5018" y="3311"/>
                    <a:pt x="5004" y="3311"/>
                    <a:pt x="4989" y="3311"/>
                  </a:cubicBezTo>
                  <a:cubicBezTo>
                    <a:pt x="4974" y="3311"/>
                    <a:pt x="4960" y="3311"/>
                    <a:pt x="4952" y="3311"/>
                  </a:cubicBezTo>
                  <a:cubicBezTo>
                    <a:pt x="4938" y="3319"/>
                    <a:pt x="4901" y="3348"/>
                    <a:pt x="4842" y="3348"/>
                  </a:cubicBezTo>
                  <a:cubicBezTo>
                    <a:pt x="4842" y="3355"/>
                    <a:pt x="4842" y="3355"/>
                    <a:pt x="4842" y="3355"/>
                  </a:cubicBezTo>
                  <a:cubicBezTo>
                    <a:pt x="4842" y="3363"/>
                    <a:pt x="4835" y="3370"/>
                    <a:pt x="4828" y="3377"/>
                  </a:cubicBezTo>
                  <a:cubicBezTo>
                    <a:pt x="4813" y="3406"/>
                    <a:pt x="4813" y="3406"/>
                    <a:pt x="4820" y="3428"/>
                  </a:cubicBezTo>
                  <a:cubicBezTo>
                    <a:pt x="4835" y="3451"/>
                    <a:pt x="4842" y="3494"/>
                    <a:pt x="4777" y="3531"/>
                  </a:cubicBezTo>
                  <a:cubicBezTo>
                    <a:pt x="4769" y="3531"/>
                    <a:pt x="4762" y="3531"/>
                    <a:pt x="4755" y="3531"/>
                  </a:cubicBezTo>
                  <a:cubicBezTo>
                    <a:pt x="4733" y="3531"/>
                    <a:pt x="4725" y="3516"/>
                    <a:pt x="4725" y="3502"/>
                  </a:cubicBezTo>
                  <a:cubicBezTo>
                    <a:pt x="4718" y="3494"/>
                    <a:pt x="4718" y="3487"/>
                    <a:pt x="4718" y="3487"/>
                  </a:cubicBezTo>
                  <a:cubicBezTo>
                    <a:pt x="4718" y="3487"/>
                    <a:pt x="4710" y="3494"/>
                    <a:pt x="4710" y="3502"/>
                  </a:cubicBezTo>
                  <a:cubicBezTo>
                    <a:pt x="4710" y="3516"/>
                    <a:pt x="4703" y="3546"/>
                    <a:pt x="4674" y="3568"/>
                  </a:cubicBezTo>
                  <a:cubicBezTo>
                    <a:pt x="4667" y="3582"/>
                    <a:pt x="4652" y="3590"/>
                    <a:pt x="4630" y="3590"/>
                  </a:cubicBezTo>
                  <a:cubicBezTo>
                    <a:pt x="4593" y="3590"/>
                    <a:pt x="4557" y="3546"/>
                    <a:pt x="4549" y="3516"/>
                  </a:cubicBezTo>
                  <a:cubicBezTo>
                    <a:pt x="4542" y="3494"/>
                    <a:pt x="4557" y="3465"/>
                    <a:pt x="4564" y="3451"/>
                  </a:cubicBezTo>
                  <a:cubicBezTo>
                    <a:pt x="4549" y="3436"/>
                    <a:pt x="4527" y="3406"/>
                    <a:pt x="4527" y="3377"/>
                  </a:cubicBezTo>
                  <a:cubicBezTo>
                    <a:pt x="4527" y="3370"/>
                    <a:pt x="4527" y="3355"/>
                    <a:pt x="4535" y="3348"/>
                  </a:cubicBezTo>
                  <a:cubicBezTo>
                    <a:pt x="4535" y="3348"/>
                    <a:pt x="4527" y="3341"/>
                    <a:pt x="4520" y="3341"/>
                  </a:cubicBezTo>
                  <a:cubicBezTo>
                    <a:pt x="4513" y="3341"/>
                    <a:pt x="4513" y="3348"/>
                    <a:pt x="4505" y="3355"/>
                  </a:cubicBezTo>
                  <a:cubicBezTo>
                    <a:pt x="4498" y="3377"/>
                    <a:pt x="4491" y="3385"/>
                    <a:pt x="4469" y="3392"/>
                  </a:cubicBezTo>
                  <a:cubicBezTo>
                    <a:pt x="4461" y="3399"/>
                    <a:pt x="4454" y="3399"/>
                    <a:pt x="4447" y="3406"/>
                  </a:cubicBezTo>
                  <a:cubicBezTo>
                    <a:pt x="4403" y="3436"/>
                    <a:pt x="4388" y="3443"/>
                    <a:pt x="4374" y="3487"/>
                  </a:cubicBezTo>
                  <a:cubicBezTo>
                    <a:pt x="4374" y="3494"/>
                    <a:pt x="4374" y="3494"/>
                    <a:pt x="4374" y="3494"/>
                  </a:cubicBezTo>
                  <a:cubicBezTo>
                    <a:pt x="4351" y="3546"/>
                    <a:pt x="4344" y="3582"/>
                    <a:pt x="4293" y="3590"/>
                  </a:cubicBezTo>
                  <a:cubicBezTo>
                    <a:pt x="4278" y="3590"/>
                    <a:pt x="4278" y="3597"/>
                    <a:pt x="4278" y="3604"/>
                  </a:cubicBezTo>
                  <a:cubicBezTo>
                    <a:pt x="4271" y="3612"/>
                    <a:pt x="4264" y="3626"/>
                    <a:pt x="4278" y="3670"/>
                  </a:cubicBezTo>
                  <a:cubicBezTo>
                    <a:pt x="4286" y="3685"/>
                    <a:pt x="4293" y="3692"/>
                    <a:pt x="4293" y="3692"/>
                  </a:cubicBezTo>
                  <a:cubicBezTo>
                    <a:pt x="4300" y="3692"/>
                    <a:pt x="4308" y="3692"/>
                    <a:pt x="4322" y="3678"/>
                  </a:cubicBezTo>
                  <a:cubicBezTo>
                    <a:pt x="4329" y="3663"/>
                    <a:pt x="4344" y="3663"/>
                    <a:pt x="4351" y="3663"/>
                  </a:cubicBezTo>
                  <a:cubicBezTo>
                    <a:pt x="4388" y="3663"/>
                    <a:pt x="4417" y="3707"/>
                    <a:pt x="4432" y="3758"/>
                  </a:cubicBezTo>
                  <a:cubicBezTo>
                    <a:pt x="4454" y="3824"/>
                    <a:pt x="4439" y="3846"/>
                    <a:pt x="4374" y="3883"/>
                  </a:cubicBezTo>
                  <a:cubicBezTo>
                    <a:pt x="4315" y="3919"/>
                    <a:pt x="4315" y="3927"/>
                    <a:pt x="4286" y="3963"/>
                  </a:cubicBezTo>
                  <a:cubicBezTo>
                    <a:pt x="4293" y="3985"/>
                    <a:pt x="4329" y="4000"/>
                    <a:pt x="4374" y="4015"/>
                  </a:cubicBezTo>
                  <a:cubicBezTo>
                    <a:pt x="4374" y="4044"/>
                    <a:pt x="4374" y="4044"/>
                    <a:pt x="4374" y="4044"/>
                  </a:cubicBezTo>
                  <a:cubicBezTo>
                    <a:pt x="4351" y="4051"/>
                    <a:pt x="4329" y="4059"/>
                    <a:pt x="4308" y="4066"/>
                  </a:cubicBezTo>
                  <a:cubicBezTo>
                    <a:pt x="4242" y="4103"/>
                    <a:pt x="4227" y="4103"/>
                    <a:pt x="4139" y="4103"/>
                  </a:cubicBezTo>
                  <a:cubicBezTo>
                    <a:pt x="4095" y="4103"/>
                    <a:pt x="4073" y="4095"/>
                    <a:pt x="4066" y="4073"/>
                  </a:cubicBezTo>
                  <a:cubicBezTo>
                    <a:pt x="4066" y="4073"/>
                    <a:pt x="4066" y="4073"/>
                    <a:pt x="4051" y="4073"/>
                  </a:cubicBezTo>
                  <a:cubicBezTo>
                    <a:pt x="3985" y="4073"/>
                    <a:pt x="3883" y="4110"/>
                    <a:pt x="3802" y="4147"/>
                  </a:cubicBezTo>
                  <a:cubicBezTo>
                    <a:pt x="3787" y="4154"/>
                    <a:pt x="3773" y="4161"/>
                    <a:pt x="3758" y="4161"/>
                  </a:cubicBezTo>
                  <a:cubicBezTo>
                    <a:pt x="3729" y="4161"/>
                    <a:pt x="3714" y="4147"/>
                    <a:pt x="3699" y="4132"/>
                  </a:cubicBezTo>
                  <a:cubicBezTo>
                    <a:pt x="3692" y="4117"/>
                    <a:pt x="3677" y="4110"/>
                    <a:pt x="3670" y="4103"/>
                  </a:cubicBezTo>
                  <a:cubicBezTo>
                    <a:pt x="3663" y="4103"/>
                    <a:pt x="3663" y="4103"/>
                    <a:pt x="3655" y="4103"/>
                  </a:cubicBezTo>
                  <a:cubicBezTo>
                    <a:pt x="3648" y="4103"/>
                    <a:pt x="3634" y="4117"/>
                    <a:pt x="3619" y="4132"/>
                  </a:cubicBezTo>
                  <a:cubicBezTo>
                    <a:pt x="3611" y="4154"/>
                    <a:pt x="3589" y="4176"/>
                    <a:pt x="3567" y="4191"/>
                  </a:cubicBezTo>
                  <a:cubicBezTo>
                    <a:pt x="3560" y="4205"/>
                    <a:pt x="3546" y="4205"/>
                    <a:pt x="3531" y="4205"/>
                  </a:cubicBezTo>
                  <a:cubicBezTo>
                    <a:pt x="3472" y="4205"/>
                    <a:pt x="3443" y="4125"/>
                    <a:pt x="3436" y="4095"/>
                  </a:cubicBezTo>
                  <a:cubicBezTo>
                    <a:pt x="3421" y="4051"/>
                    <a:pt x="3414" y="4022"/>
                    <a:pt x="3362" y="4015"/>
                  </a:cubicBezTo>
                  <a:cubicBezTo>
                    <a:pt x="3340" y="4007"/>
                    <a:pt x="3318" y="3993"/>
                    <a:pt x="3304" y="3963"/>
                  </a:cubicBezTo>
                  <a:cubicBezTo>
                    <a:pt x="3282" y="3934"/>
                    <a:pt x="3274" y="3883"/>
                    <a:pt x="3282" y="3861"/>
                  </a:cubicBezTo>
                  <a:cubicBezTo>
                    <a:pt x="3289" y="3839"/>
                    <a:pt x="3296" y="3780"/>
                    <a:pt x="3274" y="3751"/>
                  </a:cubicBezTo>
                  <a:cubicBezTo>
                    <a:pt x="3267" y="3744"/>
                    <a:pt x="3260" y="3744"/>
                    <a:pt x="3252" y="3744"/>
                  </a:cubicBezTo>
                  <a:cubicBezTo>
                    <a:pt x="3245" y="3744"/>
                    <a:pt x="3230" y="3744"/>
                    <a:pt x="3216" y="3744"/>
                  </a:cubicBezTo>
                  <a:cubicBezTo>
                    <a:pt x="3208" y="3744"/>
                    <a:pt x="3201" y="3744"/>
                    <a:pt x="3186" y="3744"/>
                  </a:cubicBezTo>
                  <a:cubicBezTo>
                    <a:pt x="3150" y="3744"/>
                    <a:pt x="3150" y="3751"/>
                    <a:pt x="3143" y="3758"/>
                  </a:cubicBezTo>
                  <a:cubicBezTo>
                    <a:pt x="3128" y="3795"/>
                    <a:pt x="3091" y="3817"/>
                    <a:pt x="3033" y="3854"/>
                  </a:cubicBezTo>
                  <a:cubicBezTo>
                    <a:pt x="2996" y="3883"/>
                    <a:pt x="2959" y="3905"/>
                    <a:pt x="2945" y="3919"/>
                  </a:cubicBezTo>
                  <a:cubicBezTo>
                    <a:pt x="2945" y="3949"/>
                    <a:pt x="2959" y="4051"/>
                    <a:pt x="2996" y="4117"/>
                  </a:cubicBezTo>
                  <a:cubicBezTo>
                    <a:pt x="3025" y="4169"/>
                    <a:pt x="3025" y="4235"/>
                    <a:pt x="3018" y="4301"/>
                  </a:cubicBezTo>
                  <a:cubicBezTo>
                    <a:pt x="3018" y="4344"/>
                    <a:pt x="3018" y="4388"/>
                    <a:pt x="3018" y="4440"/>
                  </a:cubicBezTo>
                  <a:cubicBezTo>
                    <a:pt x="3025" y="4498"/>
                    <a:pt x="3018" y="4535"/>
                    <a:pt x="3003" y="4557"/>
                  </a:cubicBezTo>
                  <a:cubicBezTo>
                    <a:pt x="2989" y="4572"/>
                    <a:pt x="2967" y="4572"/>
                    <a:pt x="2952" y="4572"/>
                  </a:cubicBezTo>
                  <a:cubicBezTo>
                    <a:pt x="2945" y="4572"/>
                    <a:pt x="2945" y="4572"/>
                    <a:pt x="2937" y="4572"/>
                  </a:cubicBezTo>
                  <a:cubicBezTo>
                    <a:pt x="2930" y="4572"/>
                    <a:pt x="2930" y="4572"/>
                    <a:pt x="2923" y="4572"/>
                  </a:cubicBezTo>
                  <a:cubicBezTo>
                    <a:pt x="2908" y="4572"/>
                    <a:pt x="2893" y="4564"/>
                    <a:pt x="2886" y="4557"/>
                  </a:cubicBezTo>
                  <a:cubicBezTo>
                    <a:pt x="2879" y="4550"/>
                    <a:pt x="2871" y="4550"/>
                    <a:pt x="2871" y="4550"/>
                  </a:cubicBezTo>
                  <a:cubicBezTo>
                    <a:pt x="2864" y="4550"/>
                    <a:pt x="2864" y="4550"/>
                    <a:pt x="2857" y="4557"/>
                  </a:cubicBezTo>
                  <a:cubicBezTo>
                    <a:pt x="2842" y="4564"/>
                    <a:pt x="2827" y="4572"/>
                    <a:pt x="2813" y="4572"/>
                  </a:cubicBezTo>
                  <a:cubicBezTo>
                    <a:pt x="2784" y="4572"/>
                    <a:pt x="2754" y="4557"/>
                    <a:pt x="2725" y="4520"/>
                  </a:cubicBezTo>
                  <a:cubicBezTo>
                    <a:pt x="2681" y="4476"/>
                    <a:pt x="2703" y="4418"/>
                    <a:pt x="2710" y="4410"/>
                  </a:cubicBezTo>
                  <a:cubicBezTo>
                    <a:pt x="2710" y="4396"/>
                    <a:pt x="2725" y="4330"/>
                    <a:pt x="2703" y="4308"/>
                  </a:cubicBezTo>
                  <a:cubicBezTo>
                    <a:pt x="2681" y="4286"/>
                    <a:pt x="2659" y="4286"/>
                    <a:pt x="2644" y="4286"/>
                  </a:cubicBezTo>
                  <a:cubicBezTo>
                    <a:pt x="2629" y="4286"/>
                    <a:pt x="2622" y="4286"/>
                    <a:pt x="2622" y="4286"/>
                  </a:cubicBezTo>
                  <a:lnTo>
                    <a:pt x="2622" y="4286"/>
                  </a:lnTo>
                  <a:cubicBezTo>
                    <a:pt x="2622" y="4286"/>
                    <a:pt x="2564" y="4330"/>
                    <a:pt x="2512" y="4330"/>
                  </a:cubicBezTo>
                  <a:cubicBezTo>
                    <a:pt x="2505" y="4330"/>
                    <a:pt x="2498" y="4323"/>
                    <a:pt x="2483" y="4315"/>
                  </a:cubicBezTo>
                  <a:cubicBezTo>
                    <a:pt x="2439" y="4286"/>
                    <a:pt x="2424" y="4286"/>
                    <a:pt x="2417" y="4286"/>
                  </a:cubicBezTo>
                  <a:cubicBezTo>
                    <a:pt x="2417" y="4308"/>
                    <a:pt x="2403" y="4315"/>
                    <a:pt x="2388" y="4315"/>
                  </a:cubicBezTo>
                  <a:cubicBezTo>
                    <a:pt x="2366" y="4315"/>
                    <a:pt x="2336" y="4286"/>
                    <a:pt x="2322" y="4256"/>
                  </a:cubicBezTo>
                  <a:cubicBezTo>
                    <a:pt x="2300" y="4220"/>
                    <a:pt x="2227" y="4205"/>
                    <a:pt x="2190" y="4205"/>
                  </a:cubicBezTo>
                  <a:cubicBezTo>
                    <a:pt x="2175" y="4205"/>
                    <a:pt x="2161" y="4205"/>
                    <a:pt x="2146" y="4205"/>
                  </a:cubicBezTo>
                  <a:cubicBezTo>
                    <a:pt x="2131" y="4198"/>
                    <a:pt x="2117" y="4198"/>
                    <a:pt x="2102" y="4198"/>
                  </a:cubicBezTo>
                  <a:cubicBezTo>
                    <a:pt x="2080" y="4198"/>
                    <a:pt x="2065" y="4198"/>
                    <a:pt x="2043" y="4205"/>
                  </a:cubicBezTo>
                  <a:cubicBezTo>
                    <a:pt x="1985" y="4227"/>
                    <a:pt x="1970" y="4235"/>
                    <a:pt x="1912" y="4278"/>
                  </a:cubicBezTo>
                  <a:cubicBezTo>
                    <a:pt x="1889" y="4293"/>
                    <a:pt x="1889" y="4293"/>
                    <a:pt x="1889" y="4293"/>
                  </a:cubicBezTo>
                  <a:cubicBezTo>
                    <a:pt x="1831" y="4337"/>
                    <a:pt x="1838" y="4359"/>
                    <a:pt x="1853" y="4418"/>
                  </a:cubicBezTo>
                  <a:cubicBezTo>
                    <a:pt x="1860" y="4440"/>
                    <a:pt x="1860" y="4440"/>
                    <a:pt x="1860" y="4440"/>
                  </a:cubicBezTo>
                  <a:cubicBezTo>
                    <a:pt x="1875" y="4476"/>
                    <a:pt x="1919" y="4491"/>
                    <a:pt x="1977" y="4513"/>
                  </a:cubicBezTo>
                  <a:cubicBezTo>
                    <a:pt x="2007" y="4528"/>
                    <a:pt x="2036" y="4535"/>
                    <a:pt x="2058" y="4550"/>
                  </a:cubicBezTo>
                  <a:cubicBezTo>
                    <a:pt x="2102" y="4579"/>
                    <a:pt x="2117" y="4608"/>
                    <a:pt x="2109" y="4652"/>
                  </a:cubicBezTo>
                  <a:cubicBezTo>
                    <a:pt x="2102" y="4682"/>
                    <a:pt x="2073" y="4704"/>
                    <a:pt x="2043" y="4704"/>
                  </a:cubicBezTo>
                  <a:cubicBezTo>
                    <a:pt x="2021" y="4704"/>
                    <a:pt x="2007" y="4704"/>
                    <a:pt x="1999" y="4696"/>
                  </a:cubicBezTo>
                  <a:lnTo>
                    <a:pt x="1992" y="4696"/>
                  </a:lnTo>
                  <a:cubicBezTo>
                    <a:pt x="1992" y="4696"/>
                    <a:pt x="1985" y="4696"/>
                    <a:pt x="1977" y="4711"/>
                  </a:cubicBezTo>
                  <a:cubicBezTo>
                    <a:pt x="1963" y="4725"/>
                    <a:pt x="1941" y="4733"/>
                    <a:pt x="1919" y="4733"/>
                  </a:cubicBezTo>
                  <a:cubicBezTo>
                    <a:pt x="1897" y="4733"/>
                    <a:pt x="1875" y="4725"/>
                    <a:pt x="1853" y="4718"/>
                  </a:cubicBezTo>
                  <a:cubicBezTo>
                    <a:pt x="1853" y="4740"/>
                    <a:pt x="1853" y="4762"/>
                    <a:pt x="1838" y="4769"/>
                  </a:cubicBezTo>
                  <a:cubicBezTo>
                    <a:pt x="1831" y="4784"/>
                    <a:pt x="1809" y="4792"/>
                    <a:pt x="1787" y="479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2" name="Freeform 21"/>
            <p:cNvSpPr>
              <a:spLocks noChangeArrowheads="1"/>
            </p:cNvSpPr>
            <p:nvPr/>
          </p:nvSpPr>
          <p:spPr bwMode="auto">
            <a:xfrm>
              <a:off x="6589487" y="6880626"/>
              <a:ext cx="2257995" cy="1834849"/>
            </a:xfrm>
            <a:custGeom>
              <a:avLst/>
              <a:gdLst>
                <a:gd name="T0" fmla="*/ 2190 w 5877"/>
                <a:gd name="T1" fmla="*/ 477 h 4829"/>
                <a:gd name="T2" fmla="*/ 2732 w 5877"/>
                <a:gd name="T3" fmla="*/ 836 h 4829"/>
                <a:gd name="T4" fmla="*/ 3311 w 5877"/>
                <a:gd name="T5" fmla="*/ 1129 h 4829"/>
                <a:gd name="T6" fmla="*/ 3451 w 5877"/>
                <a:gd name="T7" fmla="*/ 1780 h 4829"/>
                <a:gd name="T8" fmla="*/ 4330 w 5877"/>
                <a:gd name="T9" fmla="*/ 2022 h 4829"/>
                <a:gd name="T10" fmla="*/ 4938 w 5877"/>
                <a:gd name="T11" fmla="*/ 2256 h 4829"/>
                <a:gd name="T12" fmla="*/ 5400 w 5877"/>
                <a:gd name="T13" fmla="*/ 1809 h 4829"/>
                <a:gd name="T14" fmla="*/ 5502 w 5877"/>
                <a:gd name="T15" fmla="*/ 2395 h 4829"/>
                <a:gd name="T16" fmla="*/ 5055 w 5877"/>
                <a:gd name="T17" fmla="*/ 2791 h 4829"/>
                <a:gd name="T18" fmla="*/ 5041 w 5877"/>
                <a:gd name="T19" fmla="*/ 3319 h 4829"/>
                <a:gd name="T20" fmla="*/ 4594 w 5877"/>
                <a:gd name="T21" fmla="*/ 3473 h 4829"/>
                <a:gd name="T22" fmla="*/ 4381 w 5877"/>
                <a:gd name="T23" fmla="*/ 3897 h 4829"/>
                <a:gd name="T24" fmla="*/ 3465 w 5877"/>
                <a:gd name="T25" fmla="*/ 4110 h 4829"/>
                <a:gd name="T26" fmla="*/ 2886 w 5877"/>
                <a:gd name="T27" fmla="*/ 4550 h 4829"/>
                <a:gd name="T28" fmla="*/ 2403 w 5877"/>
                <a:gd name="T29" fmla="*/ 4323 h 4829"/>
                <a:gd name="T30" fmla="*/ 1853 w 5877"/>
                <a:gd name="T31" fmla="*/ 4711 h 4829"/>
                <a:gd name="T32" fmla="*/ 1129 w 5877"/>
                <a:gd name="T33" fmla="*/ 4161 h 4829"/>
                <a:gd name="T34" fmla="*/ 433 w 5877"/>
                <a:gd name="T35" fmla="*/ 3465 h 4829"/>
                <a:gd name="T36" fmla="*/ 140 w 5877"/>
                <a:gd name="T37" fmla="*/ 3047 h 4829"/>
                <a:gd name="T38" fmla="*/ 389 w 5877"/>
                <a:gd name="T39" fmla="*/ 2366 h 4829"/>
                <a:gd name="T40" fmla="*/ 623 w 5877"/>
                <a:gd name="T41" fmla="*/ 1912 h 4829"/>
                <a:gd name="T42" fmla="*/ 286 w 5877"/>
                <a:gd name="T43" fmla="*/ 1283 h 4829"/>
                <a:gd name="T44" fmla="*/ 667 w 5877"/>
                <a:gd name="T45" fmla="*/ 616 h 4829"/>
                <a:gd name="T46" fmla="*/ 1501 w 5877"/>
                <a:gd name="T47" fmla="*/ 279 h 4829"/>
                <a:gd name="T48" fmla="*/ 1853 w 5877"/>
                <a:gd name="T49" fmla="*/ 44 h 4829"/>
                <a:gd name="T50" fmla="*/ 1501 w 5877"/>
                <a:gd name="T51" fmla="*/ 242 h 4829"/>
                <a:gd name="T52" fmla="*/ 770 w 5877"/>
                <a:gd name="T53" fmla="*/ 586 h 4829"/>
                <a:gd name="T54" fmla="*/ 228 w 5877"/>
                <a:gd name="T55" fmla="*/ 865 h 4829"/>
                <a:gd name="T56" fmla="*/ 521 w 5877"/>
                <a:gd name="T57" fmla="*/ 1517 h 4829"/>
                <a:gd name="T58" fmla="*/ 557 w 5877"/>
                <a:gd name="T59" fmla="*/ 1956 h 4829"/>
                <a:gd name="T60" fmla="*/ 447 w 5877"/>
                <a:gd name="T61" fmla="*/ 2183 h 4829"/>
                <a:gd name="T62" fmla="*/ 242 w 5877"/>
                <a:gd name="T63" fmla="*/ 2498 h 4829"/>
                <a:gd name="T64" fmla="*/ 154 w 5877"/>
                <a:gd name="T65" fmla="*/ 2959 h 4829"/>
                <a:gd name="T66" fmla="*/ 257 w 5877"/>
                <a:gd name="T67" fmla="*/ 3436 h 4829"/>
                <a:gd name="T68" fmla="*/ 381 w 5877"/>
                <a:gd name="T69" fmla="*/ 3619 h 4829"/>
                <a:gd name="T70" fmla="*/ 770 w 5877"/>
                <a:gd name="T71" fmla="*/ 3802 h 4829"/>
                <a:gd name="T72" fmla="*/ 1443 w 5877"/>
                <a:gd name="T73" fmla="*/ 4381 h 4829"/>
                <a:gd name="T74" fmla="*/ 2007 w 5877"/>
                <a:gd name="T75" fmla="*/ 4733 h 4829"/>
                <a:gd name="T76" fmla="*/ 2154 w 5877"/>
                <a:gd name="T77" fmla="*/ 4242 h 4829"/>
                <a:gd name="T78" fmla="*/ 2828 w 5877"/>
                <a:gd name="T79" fmla="*/ 4608 h 4829"/>
                <a:gd name="T80" fmla="*/ 3055 w 5877"/>
                <a:gd name="T81" fmla="*/ 3890 h 4829"/>
                <a:gd name="T82" fmla="*/ 3649 w 5877"/>
                <a:gd name="T83" fmla="*/ 4169 h 4829"/>
                <a:gd name="T84" fmla="*/ 4315 w 5877"/>
                <a:gd name="T85" fmla="*/ 3993 h 4829"/>
                <a:gd name="T86" fmla="*/ 4469 w 5877"/>
                <a:gd name="T87" fmla="*/ 3443 h 4829"/>
                <a:gd name="T88" fmla="*/ 4857 w 5877"/>
                <a:gd name="T89" fmla="*/ 3414 h 4829"/>
                <a:gd name="T90" fmla="*/ 5085 w 5877"/>
                <a:gd name="T91" fmla="*/ 3055 h 4829"/>
                <a:gd name="T92" fmla="*/ 5070 w 5877"/>
                <a:gd name="T93" fmla="*/ 2762 h 4829"/>
                <a:gd name="T94" fmla="*/ 5312 w 5877"/>
                <a:gd name="T95" fmla="*/ 2615 h 4829"/>
                <a:gd name="T96" fmla="*/ 5825 w 5877"/>
                <a:gd name="T97" fmla="*/ 2403 h 4829"/>
                <a:gd name="T98" fmla="*/ 5598 w 5877"/>
                <a:gd name="T99" fmla="*/ 1985 h 4829"/>
                <a:gd name="T100" fmla="*/ 5048 w 5877"/>
                <a:gd name="T101" fmla="*/ 1736 h 4829"/>
                <a:gd name="T102" fmla="*/ 4938 w 5877"/>
                <a:gd name="T103" fmla="*/ 2219 h 4829"/>
                <a:gd name="T104" fmla="*/ 4542 w 5877"/>
                <a:gd name="T105" fmla="*/ 2154 h 4829"/>
                <a:gd name="T106" fmla="*/ 3963 w 5877"/>
                <a:gd name="T107" fmla="*/ 1934 h 4829"/>
                <a:gd name="T108" fmla="*/ 3363 w 5877"/>
                <a:gd name="T109" fmla="*/ 1721 h 4829"/>
                <a:gd name="T110" fmla="*/ 3223 w 5877"/>
                <a:gd name="T111" fmla="*/ 1363 h 4829"/>
                <a:gd name="T112" fmla="*/ 3070 w 5877"/>
                <a:gd name="T113" fmla="*/ 828 h 4829"/>
                <a:gd name="T114" fmla="*/ 2747 w 5877"/>
                <a:gd name="T115" fmla="*/ 791 h 4829"/>
                <a:gd name="T116" fmla="*/ 2337 w 5877"/>
                <a:gd name="T117" fmla="*/ 755 h 4829"/>
                <a:gd name="T118" fmla="*/ 2139 w 5877"/>
                <a:gd name="T119" fmla="*/ 117 h 4829"/>
                <a:gd name="T120" fmla="*/ 1780 w 5877"/>
                <a:gd name="T121" fmla="*/ 15 h 4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877" h="4829">
                  <a:moveTo>
                    <a:pt x="1853" y="44"/>
                  </a:moveTo>
                  <a:lnTo>
                    <a:pt x="1853" y="44"/>
                  </a:lnTo>
                  <a:cubicBezTo>
                    <a:pt x="1861" y="44"/>
                    <a:pt x="1868" y="44"/>
                    <a:pt x="1875" y="44"/>
                  </a:cubicBezTo>
                  <a:cubicBezTo>
                    <a:pt x="1912" y="51"/>
                    <a:pt x="1963" y="51"/>
                    <a:pt x="1985" y="81"/>
                  </a:cubicBezTo>
                  <a:cubicBezTo>
                    <a:pt x="2014" y="96"/>
                    <a:pt x="2036" y="139"/>
                    <a:pt x="2066" y="139"/>
                  </a:cubicBezTo>
                  <a:lnTo>
                    <a:pt x="2073" y="139"/>
                  </a:lnTo>
                  <a:cubicBezTo>
                    <a:pt x="2080" y="139"/>
                    <a:pt x="2088" y="139"/>
                    <a:pt x="2088" y="139"/>
                  </a:cubicBezTo>
                  <a:cubicBezTo>
                    <a:pt x="2110" y="139"/>
                    <a:pt x="2117" y="147"/>
                    <a:pt x="2139" y="147"/>
                  </a:cubicBezTo>
                  <a:cubicBezTo>
                    <a:pt x="2168" y="147"/>
                    <a:pt x="2205" y="227"/>
                    <a:pt x="2139" y="227"/>
                  </a:cubicBezTo>
                  <a:cubicBezTo>
                    <a:pt x="2080" y="235"/>
                    <a:pt x="2088" y="257"/>
                    <a:pt x="2110" y="293"/>
                  </a:cubicBezTo>
                  <a:cubicBezTo>
                    <a:pt x="2132" y="330"/>
                    <a:pt x="2190" y="367"/>
                    <a:pt x="2190" y="389"/>
                  </a:cubicBezTo>
                  <a:cubicBezTo>
                    <a:pt x="2198" y="410"/>
                    <a:pt x="2168" y="455"/>
                    <a:pt x="2190" y="477"/>
                  </a:cubicBezTo>
                  <a:cubicBezTo>
                    <a:pt x="2212" y="498"/>
                    <a:pt x="2249" y="550"/>
                    <a:pt x="2249" y="579"/>
                  </a:cubicBezTo>
                  <a:cubicBezTo>
                    <a:pt x="2249" y="608"/>
                    <a:pt x="2249" y="652"/>
                    <a:pt x="2249" y="689"/>
                  </a:cubicBezTo>
                  <a:cubicBezTo>
                    <a:pt x="2249" y="733"/>
                    <a:pt x="2263" y="762"/>
                    <a:pt x="2293" y="777"/>
                  </a:cubicBezTo>
                  <a:cubicBezTo>
                    <a:pt x="2308" y="777"/>
                    <a:pt x="2322" y="784"/>
                    <a:pt x="2337" y="784"/>
                  </a:cubicBezTo>
                  <a:cubicBezTo>
                    <a:pt x="2351" y="784"/>
                    <a:pt x="2373" y="777"/>
                    <a:pt x="2395" y="770"/>
                  </a:cubicBezTo>
                  <a:cubicBezTo>
                    <a:pt x="2425" y="755"/>
                    <a:pt x="2439" y="748"/>
                    <a:pt x="2454" y="748"/>
                  </a:cubicBezTo>
                  <a:cubicBezTo>
                    <a:pt x="2461" y="748"/>
                    <a:pt x="2469" y="748"/>
                    <a:pt x="2483" y="755"/>
                  </a:cubicBezTo>
                  <a:cubicBezTo>
                    <a:pt x="2513" y="770"/>
                    <a:pt x="2579" y="806"/>
                    <a:pt x="2608" y="821"/>
                  </a:cubicBezTo>
                  <a:cubicBezTo>
                    <a:pt x="2623" y="828"/>
                    <a:pt x="2637" y="828"/>
                    <a:pt x="2652" y="828"/>
                  </a:cubicBezTo>
                  <a:cubicBezTo>
                    <a:pt x="2659" y="828"/>
                    <a:pt x="2674" y="828"/>
                    <a:pt x="2689" y="821"/>
                  </a:cubicBezTo>
                  <a:cubicBezTo>
                    <a:pt x="2689" y="814"/>
                    <a:pt x="2696" y="814"/>
                    <a:pt x="2696" y="814"/>
                  </a:cubicBezTo>
                  <a:cubicBezTo>
                    <a:pt x="2711" y="814"/>
                    <a:pt x="2718" y="836"/>
                    <a:pt x="2732" y="836"/>
                  </a:cubicBezTo>
                  <a:cubicBezTo>
                    <a:pt x="2740" y="836"/>
                    <a:pt x="2740" y="836"/>
                    <a:pt x="2740" y="828"/>
                  </a:cubicBezTo>
                  <a:cubicBezTo>
                    <a:pt x="2769" y="828"/>
                    <a:pt x="2769" y="799"/>
                    <a:pt x="2799" y="799"/>
                  </a:cubicBezTo>
                  <a:cubicBezTo>
                    <a:pt x="2806" y="799"/>
                    <a:pt x="2806" y="799"/>
                    <a:pt x="2813" y="806"/>
                  </a:cubicBezTo>
                  <a:cubicBezTo>
                    <a:pt x="2842" y="806"/>
                    <a:pt x="2850" y="836"/>
                    <a:pt x="2886" y="836"/>
                  </a:cubicBezTo>
                  <a:cubicBezTo>
                    <a:pt x="2886" y="836"/>
                    <a:pt x="2894" y="836"/>
                    <a:pt x="2901" y="828"/>
                  </a:cubicBezTo>
                  <a:cubicBezTo>
                    <a:pt x="2945" y="821"/>
                    <a:pt x="2945" y="806"/>
                    <a:pt x="2974" y="806"/>
                  </a:cubicBezTo>
                  <a:cubicBezTo>
                    <a:pt x="3004" y="806"/>
                    <a:pt x="2982" y="843"/>
                    <a:pt x="3018" y="850"/>
                  </a:cubicBezTo>
                  <a:cubicBezTo>
                    <a:pt x="3062" y="857"/>
                    <a:pt x="3077" y="857"/>
                    <a:pt x="3121" y="865"/>
                  </a:cubicBezTo>
                  <a:cubicBezTo>
                    <a:pt x="3165" y="872"/>
                    <a:pt x="3172" y="909"/>
                    <a:pt x="3158" y="938"/>
                  </a:cubicBezTo>
                  <a:cubicBezTo>
                    <a:pt x="3135" y="967"/>
                    <a:pt x="3143" y="982"/>
                    <a:pt x="3187" y="1004"/>
                  </a:cubicBezTo>
                  <a:cubicBezTo>
                    <a:pt x="3223" y="1019"/>
                    <a:pt x="3231" y="1026"/>
                    <a:pt x="3245" y="1055"/>
                  </a:cubicBezTo>
                  <a:cubicBezTo>
                    <a:pt x="3260" y="1092"/>
                    <a:pt x="3275" y="1107"/>
                    <a:pt x="3311" y="1129"/>
                  </a:cubicBezTo>
                  <a:cubicBezTo>
                    <a:pt x="3341" y="1150"/>
                    <a:pt x="3355" y="1150"/>
                    <a:pt x="3311" y="1202"/>
                  </a:cubicBezTo>
                  <a:cubicBezTo>
                    <a:pt x="3260" y="1253"/>
                    <a:pt x="3253" y="1334"/>
                    <a:pt x="3223" y="1334"/>
                  </a:cubicBezTo>
                  <a:cubicBezTo>
                    <a:pt x="3209" y="1334"/>
                    <a:pt x="3201" y="1326"/>
                    <a:pt x="3187" y="1326"/>
                  </a:cubicBezTo>
                  <a:cubicBezTo>
                    <a:pt x="3172" y="1326"/>
                    <a:pt x="3165" y="1334"/>
                    <a:pt x="3143" y="1341"/>
                  </a:cubicBezTo>
                  <a:cubicBezTo>
                    <a:pt x="3113" y="1363"/>
                    <a:pt x="3099" y="1378"/>
                    <a:pt x="3135" y="1407"/>
                  </a:cubicBezTo>
                  <a:cubicBezTo>
                    <a:pt x="3165" y="1429"/>
                    <a:pt x="3209" y="1444"/>
                    <a:pt x="3245" y="1451"/>
                  </a:cubicBezTo>
                  <a:cubicBezTo>
                    <a:pt x="3282" y="1458"/>
                    <a:pt x="3326" y="1480"/>
                    <a:pt x="3341" y="1510"/>
                  </a:cubicBezTo>
                  <a:cubicBezTo>
                    <a:pt x="3348" y="1546"/>
                    <a:pt x="3385" y="1590"/>
                    <a:pt x="3355" y="1612"/>
                  </a:cubicBezTo>
                  <a:cubicBezTo>
                    <a:pt x="3326" y="1634"/>
                    <a:pt x="3289" y="1641"/>
                    <a:pt x="3297" y="1677"/>
                  </a:cubicBezTo>
                  <a:cubicBezTo>
                    <a:pt x="3304" y="1707"/>
                    <a:pt x="3319" y="1728"/>
                    <a:pt x="3341" y="1743"/>
                  </a:cubicBezTo>
                  <a:cubicBezTo>
                    <a:pt x="3363" y="1758"/>
                    <a:pt x="3407" y="1787"/>
                    <a:pt x="3436" y="1787"/>
                  </a:cubicBezTo>
                  <a:cubicBezTo>
                    <a:pt x="3443" y="1787"/>
                    <a:pt x="3443" y="1787"/>
                    <a:pt x="3451" y="1780"/>
                  </a:cubicBezTo>
                  <a:cubicBezTo>
                    <a:pt x="3487" y="1773"/>
                    <a:pt x="3553" y="1750"/>
                    <a:pt x="3590" y="1750"/>
                  </a:cubicBezTo>
                  <a:cubicBezTo>
                    <a:pt x="3619" y="1750"/>
                    <a:pt x="3641" y="1787"/>
                    <a:pt x="3670" y="1787"/>
                  </a:cubicBezTo>
                  <a:cubicBezTo>
                    <a:pt x="3707" y="1787"/>
                    <a:pt x="3744" y="1780"/>
                    <a:pt x="3766" y="1780"/>
                  </a:cubicBezTo>
                  <a:lnTo>
                    <a:pt x="3773" y="1780"/>
                  </a:lnTo>
                  <a:cubicBezTo>
                    <a:pt x="3795" y="1780"/>
                    <a:pt x="3802" y="1831"/>
                    <a:pt x="3817" y="1853"/>
                  </a:cubicBezTo>
                  <a:cubicBezTo>
                    <a:pt x="3839" y="1875"/>
                    <a:pt x="3861" y="1904"/>
                    <a:pt x="3898" y="1919"/>
                  </a:cubicBezTo>
                  <a:cubicBezTo>
                    <a:pt x="3927" y="1926"/>
                    <a:pt x="3927" y="1963"/>
                    <a:pt x="3963" y="1963"/>
                  </a:cubicBezTo>
                  <a:lnTo>
                    <a:pt x="3971" y="1963"/>
                  </a:lnTo>
                  <a:cubicBezTo>
                    <a:pt x="4015" y="1956"/>
                    <a:pt x="4103" y="1963"/>
                    <a:pt x="4132" y="1948"/>
                  </a:cubicBezTo>
                  <a:cubicBezTo>
                    <a:pt x="4154" y="1934"/>
                    <a:pt x="4176" y="1919"/>
                    <a:pt x="4198" y="1919"/>
                  </a:cubicBezTo>
                  <a:cubicBezTo>
                    <a:pt x="4205" y="1919"/>
                    <a:pt x="4213" y="1919"/>
                    <a:pt x="4220" y="1926"/>
                  </a:cubicBezTo>
                  <a:cubicBezTo>
                    <a:pt x="4249" y="1948"/>
                    <a:pt x="4279" y="2022"/>
                    <a:pt x="4330" y="2022"/>
                  </a:cubicBezTo>
                  <a:cubicBezTo>
                    <a:pt x="4381" y="2022"/>
                    <a:pt x="4403" y="2036"/>
                    <a:pt x="4418" y="2080"/>
                  </a:cubicBezTo>
                  <a:cubicBezTo>
                    <a:pt x="4440" y="2117"/>
                    <a:pt x="4462" y="2176"/>
                    <a:pt x="4506" y="2183"/>
                  </a:cubicBezTo>
                  <a:cubicBezTo>
                    <a:pt x="4535" y="2183"/>
                    <a:pt x="4550" y="2190"/>
                    <a:pt x="4572" y="2190"/>
                  </a:cubicBezTo>
                  <a:cubicBezTo>
                    <a:pt x="4586" y="2190"/>
                    <a:pt x="4601" y="2190"/>
                    <a:pt x="4616" y="2183"/>
                  </a:cubicBezTo>
                  <a:cubicBezTo>
                    <a:pt x="4630" y="2168"/>
                    <a:pt x="4652" y="2161"/>
                    <a:pt x="4674" y="2161"/>
                  </a:cubicBezTo>
                  <a:cubicBezTo>
                    <a:pt x="4689" y="2161"/>
                    <a:pt x="4704" y="2168"/>
                    <a:pt x="4711" y="2183"/>
                  </a:cubicBezTo>
                  <a:cubicBezTo>
                    <a:pt x="4725" y="2205"/>
                    <a:pt x="4740" y="2227"/>
                    <a:pt x="4755" y="2227"/>
                  </a:cubicBezTo>
                  <a:cubicBezTo>
                    <a:pt x="4762" y="2227"/>
                    <a:pt x="4770" y="2227"/>
                    <a:pt x="4770" y="2227"/>
                  </a:cubicBezTo>
                  <a:cubicBezTo>
                    <a:pt x="4792" y="2205"/>
                    <a:pt x="4813" y="2168"/>
                    <a:pt x="4835" y="2168"/>
                  </a:cubicBezTo>
                  <a:cubicBezTo>
                    <a:pt x="4857" y="2168"/>
                    <a:pt x="4872" y="2190"/>
                    <a:pt x="4880" y="2205"/>
                  </a:cubicBezTo>
                  <a:cubicBezTo>
                    <a:pt x="4887" y="2219"/>
                    <a:pt x="4894" y="2256"/>
                    <a:pt x="4923" y="2256"/>
                  </a:cubicBezTo>
                  <a:cubicBezTo>
                    <a:pt x="4931" y="2256"/>
                    <a:pt x="4931" y="2256"/>
                    <a:pt x="4938" y="2256"/>
                  </a:cubicBezTo>
                  <a:cubicBezTo>
                    <a:pt x="4982" y="2227"/>
                    <a:pt x="4960" y="2219"/>
                    <a:pt x="4975" y="2183"/>
                  </a:cubicBezTo>
                  <a:cubicBezTo>
                    <a:pt x="4989" y="2139"/>
                    <a:pt x="4989" y="2132"/>
                    <a:pt x="5026" y="2102"/>
                  </a:cubicBezTo>
                  <a:cubicBezTo>
                    <a:pt x="5063" y="2080"/>
                    <a:pt x="5085" y="2044"/>
                    <a:pt x="5077" y="2007"/>
                  </a:cubicBezTo>
                  <a:cubicBezTo>
                    <a:pt x="5070" y="1978"/>
                    <a:pt x="5019" y="1978"/>
                    <a:pt x="5011" y="1948"/>
                  </a:cubicBezTo>
                  <a:cubicBezTo>
                    <a:pt x="4997" y="1912"/>
                    <a:pt x="4982" y="1882"/>
                    <a:pt x="5011" y="1846"/>
                  </a:cubicBezTo>
                  <a:cubicBezTo>
                    <a:pt x="5026" y="1824"/>
                    <a:pt x="5048" y="1787"/>
                    <a:pt x="5063" y="1758"/>
                  </a:cubicBezTo>
                  <a:lnTo>
                    <a:pt x="5063" y="1758"/>
                  </a:lnTo>
                  <a:cubicBezTo>
                    <a:pt x="5077" y="1758"/>
                    <a:pt x="5092" y="1758"/>
                    <a:pt x="5099" y="1758"/>
                  </a:cubicBezTo>
                  <a:cubicBezTo>
                    <a:pt x="5136" y="1758"/>
                    <a:pt x="5151" y="1765"/>
                    <a:pt x="5173" y="1795"/>
                  </a:cubicBezTo>
                  <a:cubicBezTo>
                    <a:pt x="5194" y="1816"/>
                    <a:pt x="5224" y="1831"/>
                    <a:pt x="5275" y="1831"/>
                  </a:cubicBezTo>
                  <a:cubicBezTo>
                    <a:pt x="5290" y="1831"/>
                    <a:pt x="5304" y="1831"/>
                    <a:pt x="5319" y="1831"/>
                  </a:cubicBezTo>
                  <a:cubicBezTo>
                    <a:pt x="5385" y="1816"/>
                    <a:pt x="5378" y="1809"/>
                    <a:pt x="5400" y="1809"/>
                  </a:cubicBezTo>
                  <a:cubicBezTo>
                    <a:pt x="5429" y="1809"/>
                    <a:pt x="5422" y="1846"/>
                    <a:pt x="5466" y="1853"/>
                  </a:cubicBezTo>
                  <a:cubicBezTo>
                    <a:pt x="5502" y="1860"/>
                    <a:pt x="5532" y="1882"/>
                    <a:pt x="5554" y="1941"/>
                  </a:cubicBezTo>
                  <a:cubicBezTo>
                    <a:pt x="5583" y="2000"/>
                    <a:pt x="5554" y="2044"/>
                    <a:pt x="5627" y="2058"/>
                  </a:cubicBezTo>
                  <a:cubicBezTo>
                    <a:pt x="5663" y="2066"/>
                    <a:pt x="5671" y="2073"/>
                    <a:pt x="5678" y="2073"/>
                  </a:cubicBezTo>
                  <a:cubicBezTo>
                    <a:pt x="5685" y="2073"/>
                    <a:pt x="5693" y="2073"/>
                    <a:pt x="5707" y="2066"/>
                  </a:cubicBezTo>
                  <a:cubicBezTo>
                    <a:pt x="5715" y="2066"/>
                    <a:pt x="5722" y="2058"/>
                    <a:pt x="5730" y="2058"/>
                  </a:cubicBezTo>
                  <a:cubicBezTo>
                    <a:pt x="5751" y="2058"/>
                    <a:pt x="5751" y="2088"/>
                    <a:pt x="5766" y="2124"/>
                  </a:cubicBezTo>
                  <a:cubicBezTo>
                    <a:pt x="5788" y="2168"/>
                    <a:pt x="5803" y="2205"/>
                    <a:pt x="5817" y="2271"/>
                  </a:cubicBezTo>
                  <a:cubicBezTo>
                    <a:pt x="5839" y="2337"/>
                    <a:pt x="5847" y="2344"/>
                    <a:pt x="5803" y="2381"/>
                  </a:cubicBezTo>
                  <a:cubicBezTo>
                    <a:pt x="5788" y="2388"/>
                    <a:pt x="5759" y="2395"/>
                    <a:pt x="5722" y="2395"/>
                  </a:cubicBezTo>
                  <a:cubicBezTo>
                    <a:pt x="5678" y="2395"/>
                    <a:pt x="5620" y="2388"/>
                    <a:pt x="5575" y="2388"/>
                  </a:cubicBezTo>
                  <a:cubicBezTo>
                    <a:pt x="5546" y="2388"/>
                    <a:pt x="5517" y="2388"/>
                    <a:pt x="5502" y="2395"/>
                  </a:cubicBezTo>
                  <a:cubicBezTo>
                    <a:pt x="5444" y="2425"/>
                    <a:pt x="5436" y="2469"/>
                    <a:pt x="5414" y="2505"/>
                  </a:cubicBezTo>
                  <a:cubicBezTo>
                    <a:pt x="5385" y="2549"/>
                    <a:pt x="5392" y="2608"/>
                    <a:pt x="5378" y="2615"/>
                  </a:cubicBezTo>
                  <a:cubicBezTo>
                    <a:pt x="5378" y="2623"/>
                    <a:pt x="5378" y="2623"/>
                    <a:pt x="5378" y="2623"/>
                  </a:cubicBezTo>
                  <a:cubicBezTo>
                    <a:pt x="5363" y="2623"/>
                    <a:pt x="5348" y="2527"/>
                    <a:pt x="5348" y="2527"/>
                  </a:cubicBezTo>
                  <a:cubicBezTo>
                    <a:pt x="5348" y="2527"/>
                    <a:pt x="5341" y="2571"/>
                    <a:pt x="5304" y="2586"/>
                  </a:cubicBezTo>
                  <a:cubicBezTo>
                    <a:pt x="5261" y="2600"/>
                    <a:pt x="5224" y="2593"/>
                    <a:pt x="5216" y="2630"/>
                  </a:cubicBezTo>
                  <a:cubicBezTo>
                    <a:pt x="5209" y="2652"/>
                    <a:pt x="5209" y="2674"/>
                    <a:pt x="5187" y="2674"/>
                  </a:cubicBezTo>
                  <a:cubicBezTo>
                    <a:pt x="5187" y="2674"/>
                    <a:pt x="5180" y="2674"/>
                    <a:pt x="5173" y="2666"/>
                  </a:cubicBezTo>
                  <a:cubicBezTo>
                    <a:pt x="5158" y="2666"/>
                    <a:pt x="5136" y="2659"/>
                    <a:pt x="5121" y="2659"/>
                  </a:cubicBezTo>
                  <a:cubicBezTo>
                    <a:pt x="5107" y="2659"/>
                    <a:pt x="5092" y="2659"/>
                    <a:pt x="5077" y="2681"/>
                  </a:cubicBezTo>
                  <a:cubicBezTo>
                    <a:pt x="5055" y="2710"/>
                    <a:pt x="5063" y="2710"/>
                    <a:pt x="5011" y="2732"/>
                  </a:cubicBezTo>
                  <a:cubicBezTo>
                    <a:pt x="4960" y="2747"/>
                    <a:pt x="5011" y="2784"/>
                    <a:pt x="5055" y="2791"/>
                  </a:cubicBezTo>
                  <a:cubicBezTo>
                    <a:pt x="5099" y="2798"/>
                    <a:pt x="5121" y="2798"/>
                    <a:pt x="5099" y="2842"/>
                  </a:cubicBezTo>
                  <a:cubicBezTo>
                    <a:pt x="5070" y="2879"/>
                    <a:pt x="5041" y="2872"/>
                    <a:pt x="5011" y="2879"/>
                  </a:cubicBezTo>
                  <a:cubicBezTo>
                    <a:pt x="4989" y="2894"/>
                    <a:pt x="4967" y="2916"/>
                    <a:pt x="4975" y="2959"/>
                  </a:cubicBezTo>
                  <a:cubicBezTo>
                    <a:pt x="4982" y="2974"/>
                    <a:pt x="4989" y="2982"/>
                    <a:pt x="4997" y="2982"/>
                  </a:cubicBezTo>
                  <a:cubicBezTo>
                    <a:pt x="5011" y="2982"/>
                    <a:pt x="5026" y="2959"/>
                    <a:pt x="5048" y="2952"/>
                  </a:cubicBezTo>
                  <a:cubicBezTo>
                    <a:pt x="5048" y="2945"/>
                    <a:pt x="5055" y="2945"/>
                    <a:pt x="5063" y="2945"/>
                  </a:cubicBezTo>
                  <a:cubicBezTo>
                    <a:pt x="5077" y="2945"/>
                    <a:pt x="5085" y="2974"/>
                    <a:pt x="5077" y="3004"/>
                  </a:cubicBezTo>
                  <a:cubicBezTo>
                    <a:pt x="5070" y="3033"/>
                    <a:pt x="5048" y="3033"/>
                    <a:pt x="5055" y="3069"/>
                  </a:cubicBezTo>
                  <a:cubicBezTo>
                    <a:pt x="5063" y="3106"/>
                    <a:pt x="5092" y="3121"/>
                    <a:pt x="5151" y="3128"/>
                  </a:cubicBezTo>
                  <a:cubicBezTo>
                    <a:pt x="5209" y="3135"/>
                    <a:pt x="5180" y="3216"/>
                    <a:pt x="5151" y="3231"/>
                  </a:cubicBezTo>
                  <a:cubicBezTo>
                    <a:pt x="5114" y="3245"/>
                    <a:pt x="5107" y="3245"/>
                    <a:pt x="5092" y="3275"/>
                  </a:cubicBezTo>
                  <a:cubicBezTo>
                    <a:pt x="5070" y="3297"/>
                    <a:pt x="5070" y="3304"/>
                    <a:pt x="5041" y="3319"/>
                  </a:cubicBezTo>
                  <a:cubicBezTo>
                    <a:pt x="5026" y="3319"/>
                    <a:pt x="5011" y="3319"/>
                    <a:pt x="5004" y="3319"/>
                  </a:cubicBezTo>
                  <a:cubicBezTo>
                    <a:pt x="4982" y="3319"/>
                    <a:pt x="4960" y="3319"/>
                    <a:pt x="4960" y="3319"/>
                  </a:cubicBezTo>
                  <a:cubicBezTo>
                    <a:pt x="4960" y="3319"/>
                    <a:pt x="4923" y="3348"/>
                    <a:pt x="4857" y="3355"/>
                  </a:cubicBezTo>
                  <a:cubicBezTo>
                    <a:pt x="4792" y="3370"/>
                    <a:pt x="4857" y="3355"/>
                    <a:pt x="4835" y="3392"/>
                  </a:cubicBezTo>
                  <a:cubicBezTo>
                    <a:pt x="4806" y="3428"/>
                    <a:pt x="4806" y="3428"/>
                    <a:pt x="4828" y="3458"/>
                  </a:cubicBezTo>
                  <a:cubicBezTo>
                    <a:pt x="4843" y="3495"/>
                    <a:pt x="4813" y="3516"/>
                    <a:pt x="4784" y="3538"/>
                  </a:cubicBezTo>
                  <a:cubicBezTo>
                    <a:pt x="4777" y="3538"/>
                    <a:pt x="4777" y="3538"/>
                    <a:pt x="4770" y="3538"/>
                  </a:cubicBezTo>
                  <a:cubicBezTo>
                    <a:pt x="4748" y="3538"/>
                    <a:pt x="4755" y="3495"/>
                    <a:pt x="4733" y="3495"/>
                  </a:cubicBezTo>
                  <a:cubicBezTo>
                    <a:pt x="4704" y="3495"/>
                    <a:pt x="4725" y="3538"/>
                    <a:pt x="4682" y="3582"/>
                  </a:cubicBezTo>
                  <a:cubicBezTo>
                    <a:pt x="4667" y="3590"/>
                    <a:pt x="4660" y="3597"/>
                    <a:pt x="4645" y="3597"/>
                  </a:cubicBezTo>
                  <a:cubicBezTo>
                    <a:pt x="4616" y="3597"/>
                    <a:pt x="4586" y="3553"/>
                    <a:pt x="4579" y="3538"/>
                  </a:cubicBezTo>
                  <a:cubicBezTo>
                    <a:pt x="4572" y="3509"/>
                    <a:pt x="4594" y="3473"/>
                    <a:pt x="4594" y="3473"/>
                  </a:cubicBezTo>
                  <a:cubicBezTo>
                    <a:pt x="4594" y="3473"/>
                    <a:pt x="4535" y="3407"/>
                    <a:pt x="4564" y="3385"/>
                  </a:cubicBezTo>
                  <a:cubicBezTo>
                    <a:pt x="4579" y="3370"/>
                    <a:pt x="4557" y="3348"/>
                    <a:pt x="4535" y="3348"/>
                  </a:cubicBezTo>
                  <a:cubicBezTo>
                    <a:pt x="4528" y="3348"/>
                    <a:pt x="4513" y="3355"/>
                    <a:pt x="4513" y="3370"/>
                  </a:cubicBezTo>
                  <a:cubicBezTo>
                    <a:pt x="4491" y="3399"/>
                    <a:pt x="4491" y="3392"/>
                    <a:pt x="4447" y="3421"/>
                  </a:cubicBezTo>
                  <a:cubicBezTo>
                    <a:pt x="4411" y="3443"/>
                    <a:pt x="4389" y="3450"/>
                    <a:pt x="4374" y="3502"/>
                  </a:cubicBezTo>
                  <a:cubicBezTo>
                    <a:pt x="4359" y="3553"/>
                    <a:pt x="4352" y="3590"/>
                    <a:pt x="4308" y="3597"/>
                  </a:cubicBezTo>
                  <a:cubicBezTo>
                    <a:pt x="4264" y="3604"/>
                    <a:pt x="4264" y="3648"/>
                    <a:pt x="4279" y="3700"/>
                  </a:cubicBezTo>
                  <a:cubicBezTo>
                    <a:pt x="4286" y="3722"/>
                    <a:pt x="4301" y="3729"/>
                    <a:pt x="4308" y="3729"/>
                  </a:cubicBezTo>
                  <a:cubicBezTo>
                    <a:pt x="4323" y="3729"/>
                    <a:pt x="4337" y="3722"/>
                    <a:pt x="4352" y="3707"/>
                  </a:cubicBezTo>
                  <a:cubicBezTo>
                    <a:pt x="4352" y="3700"/>
                    <a:pt x="4359" y="3700"/>
                    <a:pt x="4366" y="3700"/>
                  </a:cubicBezTo>
                  <a:cubicBezTo>
                    <a:pt x="4389" y="3700"/>
                    <a:pt x="4418" y="3736"/>
                    <a:pt x="4432" y="3780"/>
                  </a:cubicBezTo>
                  <a:cubicBezTo>
                    <a:pt x="4447" y="3846"/>
                    <a:pt x="4440" y="3861"/>
                    <a:pt x="4381" y="3897"/>
                  </a:cubicBezTo>
                  <a:cubicBezTo>
                    <a:pt x="4323" y="3927"/>
                    <a:pt x="4315" y="3934"/>
                    <a:pt x="4286" y="3978"/>
                  </a:cubicBezTo>
                  <a:cubicBezTo>
                    <a:pt x="4271" y="4015"/>
                    <a:pt x="4359" y="4044"/>
                    <a:pt x="4381" y="4051"/>
                  </a:cubicBezTo>
                  <a:cubicBezTo>
                    <a:pt x="4359" y="4059"/>
                    <a:pt x="4337" y="4066"/>
                    <a:pt x="4315" y="4081"/>
                  </a:cubicBezTo>
                  <a:cubicBezTo>
                    <a:pt x="4257" y="4110"/>
                    <a:pt x="4242" y="4110"/>
                    <a:pt x="4154" y="4110"/>
                  </a:cubicBezTo>
                  <a:cubicBezTo>
                    <a:pt x="4066" y="4110"/>
                    <a:pt x="4132" y="4081"/>
                    <a:pt x="4066" y="4081"/>
                  </a:cubicBezTo>
                  <a:cubicBezTo>
                    <a:pt x="3993" y="4081"/>
                    <a:pt x="3883" y="4125"/>
                    <a:pt x="3810" y="4161"/>
                  </a:cubicBezTo>
                  <a:cubicBezTo>
                    <a:pt x="3795" y="4169"/>
                    <a:pt x="3788" y="4169"/>
                    <a:pt x="3773" y="4169"/>
                  </a:cubicBezTo>
                  <a:cubicBezTo>
                    <a:pt x="3736" y="4169"/>
                    <a:pt x="3722" y="4132"/>
                    <a:pt x="3685" y="4110"/>
                  </a:cubicBezTo>
                  <a:cubicBezTo>
                    <a:pt x="3685" y="4110"/>
                    <a:pt x="3678" y="4110"/>
                    <a:pt x="3670" y="4110"/>
                  </a:cubicBezTo>
                  <a:cubicBezTo>
                    <a:pt x="3641" y="4110"/>
                    <a:pt x="3626" y="4161"/>
                    <a:pt x="3575" y="4205"/>
                  </a:cubicBezTo>
                  <a:cubicBezTo>
                    <a:pt x="3568" y="4213"/>
                    <a:pt x="3553" y="4213"/>
                    <a:pt x="3546" y="4213"/>
                  </a:cubicBezTo>
                  <a:cubicBezTo>
                    <a:pt x="3502" y="4213"/>
                    <a:pt x="3473" y="4147"/>
                    <a:pt x="3465" y="4110"/>
                  </a:cubicBezTo>
                  <a:cubicBezTo>
                    <a:pt x="3451" y="4066"/>
                    <a:pt x="3436" y="4029"/>
                    <a:pt x="3385" y="4022"/>
                  </a:cubicBezTo>
                  <a:cubicBezTo>
                    <a:pt x="3326" y="4007"/>
                    <a:pt x="3304" y="3919"/>
                    <a:pt x="3311" y="3883"/>
                  </a:cubicBezTo>
                  <a:cubicBezTo>
                    <a:pt x="3326" y="3854"/>
                    <a:pt x="3326" y="3751"/>
                    <a:pt x="3267" y="3751"/>
                  </a:cubicBezTo>
                  <a:cubicBezTo>
                    <a:pt x="3245" y="3751"/>
                    <a:pt x="3223" y="3751"/>
                    <a:pt x="3201" y="3751"/>
                  </a:cubicBezTo>
                  <a:cubicBezTo>
                    <a:pt x="3172" y="3751"/>
                    <a:pt x="3150" y="3751"/>
                    <a:pt x="3143" y="3773"/>
                  </a:cubicBezTo>
                  <a:cubicBezTo>
                    <a:pt x="3135" y="3809"/>
                    <a:pt x="3099" y="3832"/>
                    <a:pt x="3040" y="3861"/>
                  </a:cubicBezTo>
                  <a:cubicBezTo>
                    <a:pt x="2989" y="3897"/>
                    <a:pt x="2938" y="3934"/>
                    <a:pt x="2938" y="3934"/>
                  </a:cubicBezTo>
                  <a:cubicBezTo>
                    <a:pt x="2938" y="3934"/>
                    <a:pt x="2952" y="4066"/>
                    <a:pt x="2996" y="4147"/>
                  </a:cubicBezTo>
                  <a:cubicBezTo>
                    <a:pt x="3040" y="4227"/>
                    <a:pt x="3011" y="4330"/>
                    <a:pt x="3018" y="4462"/>
                  </a:cubicBezTo>
                  <a:cubicBezTo>
                    <a:pt x="3026" y="4564"/>
                    <a:pt x="2996" y="4579"/>
                    <a:pt x="2967" y="4579"/>
                  </a:cubicBezTo>
                  <a:cubicBezTo>
                    <a:pt x="2960" y="4579"/>
                    <a:pt x="2952" y="4579"/>
                    <a:pt x="2938" y="4579"/>
                  </a:cubicBezTo>
                  <a:cubicBezTo>
                    <a:pt x="2916" y="4579"/>
                    <a:pt x="2901" y="4550"/>
                    <a:pt x="2886" y="4550"/>
                  </a:cubicBezTo>
                  <a:cubicBezTo>
                    <a:pt x="2879" y="4550"/>
                    <a:pt x="2872" y="4557"/>
                    <a:pt x="2864" y="4564"/>
                  </a:cubicBezTo>
                  <a:cubicBezTo>
                    <a:pt x="2850" y="4579"/>
                    <a:pt x="2842" y="4579"/>
                    <a:pt x="2828" y="4579"/>
                  </a:cubicBezTo>
                  <a:cubicBezTo>
                    <a:pt x="2799" y="4579"/>
                    <a:pt x="2769" y="4557"/>
                    <a:pt x="2747" y="4535"/>
                  </a:cubicBezTo>
                  <a:cubicBezTo>
                    <a:pt x="2711" y="4498"/>
                    <a:pt x="2740" y="4440"/>
                    <a:pt x="2740" y="4440"/>
                  </a:cubicBezTo>
                  <a:cubicBezTo>
                    <a:pt x="2740" y="4440"/>
                    <a:pt x="2762" y="4352"/>
                    <a:pt x="2725" y="4315"/>
                  </a:cubicBezTo>
                  <a:cubicBezTo>
                    <a:pt x="2703" y="4293"/>
                    <a:pt x="2674" y="4293"/>
                    <a:pt x="2659" y="4293"/>
                  </a:cubicBezTo>
                  <a:cubicBezTo>
                    <a:pt x="2644" y="4293"/>
                    <a:pt x="2637" y="4293"/>
                    <a:pt x="2637" y="4293"/>
                  </a:cubicBezTo>
                  <a:cubicBezTo>
                    <a:pt x="2637" y="4293"/>
                    <a:pt x="2571" y="4330"/>
                    <a:pt x="2527" y="4330"/>
                  </a:cubicBezTo>
                  <a:cubicBezTo>
                    <a:pt x="2520" y="4330"/>
                    <a:pt x="2513" y="4330"/>
                    <a:pt x="2513" y="4330"/>
                  </a:cubicBezTo>
                  <a:cubicBezTo>
                    <a:pt x="2483" y="4315"/>
                    <a:pt x="2454" y="4293"/>
                    <a:pt x="2432" y="4293"/>
                  </a:cubicBezTo>
                  <a:cubicBezTo>
                    <a:pt x="2425" y="4293"/>
                    <a:pt x="2418" y="4293"/>
                    <a:pt x="2418" y="4308"/>
                  </a:cubicBezTo>
                  <a:cubicBezTo>
                    <a:pt x="2418" y="4315"/>
                    <a:pt x="2418" y="4323"/>
                    <a:pt x="2403" y="4323"/>
                  </a:cubicBezTo>
                  <a:cubicBezTo>
                    <a:pt x="2388" y="4323"/>
                    <a:pt x="2366" y="4300"/>
                    <a:pt x="2351" y="4271"/>
                  </a:cubicBezTo>
                  <a:cubicBezTo>
                    <a:pt x="2330" y="4227"/>
                    <a:pt x="2249" y="4213"/>
                    <a:pt x="2205" y="4213"/>
                  </a:cubicBezTo>
                  <a:cubicBezTo>
                    <a:pt x="2176" y="4213"/>
                    <a:pt x="2146" y="4205"/>
                    <a:pt x="2117" y="4205"/>
                  </a:cubicBezTo>
                  <a:cubicBezTo>
                    <a:pt x="2095" y="4205"/>
                    <a:pt x="2080" y="4205"/>
                    <a:pt x="2058" y="4213"/>
                  </a:cubicBezTo>
                  <a:cubicBezTo>
                    <a:pt x="1985" y="4235"/>
                    <a:pt x="1978" y="4249"/>
                    <a:pt x="1897" y="4308"/>
                  </a:cubicBezTo>
                  <a:cubicBezTo>
                    <a:pt x="1817" y="4359"/>
                    <a:pt x="1839" y="4396"/>
                    <a:pt x="1861" y="4462"/>
                  </a:cubicBezTo>
                  <a:cubicBezTo>
                    <a:pt x="1882" y="4535"/>
                    <a:pt x="1985" y="4542"/>
                    <a:pt x="2066" y="4586"/>
                  </a:cubicBezTo>
                  <a:cubicBezTo>
                    <a:pt x="2146" y="4630"/>
                    <a:pt x="2102" y="4711"/>
                    <a:pt x="2058" y="4711"/>
                  </a:cubicBezTo>
                  <a:cubicBezTo>
                    <a:pt x="2029" y="4711"/>
                    <a:pt x="2022" y="4704"/>
                    <a:pt x="2007" y="4704"/>
                  </a:cubicBezTo>
                  <a:cubicBezTo>
                    <a:pt x="2000" y="4704"/>
                    <a:pt x="1992" y="4704"/>
                    <a:pt x="1978" y="4726"/>
                  </a:cubicBezTo>
                  <a:cubicBezTo>
                    <a:pt x="1970" y="4740"/>
                    <a:pt x="1956" y="4740"/>
                    <a:pt x="1934" y="4740"/>
                  </a:cubicBezTo>
                  <a:cubicBezTo>
                    <a:pt x="1897" y="4740"/>
                    <a:pt x="1853" y="4711"/>
                    <a:pt x="1853" y="4711"/>
                  </a:cubicBezTo>
                  <a:cubicBezTo>
                    <a:pt x="1868" y="4784"/>
                    <a:pt x="1831" y="4799"/>
                    <a:pt x="1802" y="4799"/>
                  </a:cubicBezTo>
                  <a:cubicBezTo>
                    <a:pt x="1780" y="4799"/>
                    <a:pt x="1758" y="4791"/>
                    <a:pt x="1758" y="4791"/>
                  </a:cubicBezTo>
                  <a:cubicBezTo>
                    <a:pt x="1758" y="4791"/>
                    <a:pt x="1692" y="4784"/>
                    <a:pt x="1626" y="4755"/>
                  </a:cubicBezTo>
                  <a:cubicBezTo>
                    <a:pt x="1560" y="4733"/>
                    <a:pt x="1568" y="4659"/>
                    <a:pt x="1582" y="4586"/>
                  </a:cubicBezTo>
                  <a:cubicBezTo>
                    <a:pt x="1589" y="4520"/>
                    <a:pt x="1545" y="4498"/>
                    <a:pt x="1545" y="4432"/>
                  </a:cubicBezTo>
                  <a:cubicBezTo>
                    <a:pt x="1545" y="4359"/>
                    <a:pt x="1480" y="4352"/>
                    <a:pt x="1480" y="4352"/>
                  </a:cubicBezTo>
                  <a:cubicBezTo>
                    <a:pt x="1480" y="4352"/>
                    <a:pt x="1465" y="4352"/>
                    <a:pt x="1443" y="4352"/>
                  </a:cubicBezTo>
                  <a:cubicBezTo>
                    <a:pt x="1406" y="4352"/>
                    <a:pt x="1355" y="4345"/>
                    <a:pt x="1333" y="4330"/>
                  </a:cubicBezTo>
                  <a:cubicBezTo>
                    <a:pt x="1289" y="4293"/>
                    <a:pt x="1289" y="4235"/>
                    <a:pt x="1238" y="4235"/>
                  </a:cubicBezTo>
                  <a:lnTo>
                    <a:pt x="1230" y="4235"/>
                  </a:lnTo>
                  <a:cubicBezTo>
                    <a:pt x="1223" y="4242"/>
                    <a:pt x="1216" y="4242"/>
                    <a:pt x="1208" y="4242"/>
                  </a:cubicBezTo>
                  <a:cubicBezTo>
                    <a:pt x="1173" y="4242"/>
                    <a:pt x="1158" y="4205"/>
                    <a:pt x="1129" y="4161"/>
                  </a:cubicBezTo>
                  <a:cubicBezTo>
                    <a:pt x="1092" y="4103"/>
                    <a:pt x="1085" y="4081"/>
                    <a:pt x="1026" y="4007"/>
                  </a:cubicBezTo>
                  <a:cubicBezTo>
                    <a:pt x="968" y="3941"/>
                    <a:pt x="1004" y="3905"/>
                    <a:pt x="924" y="3897"/>
                  </a:cubicBezTo>
                  <a:cubicBezTo>
                    <a:pt x="843" y="3883"/>
                    <a:pt x="814" y="3795"/>
                    <a:pt x="755" y="3729"/>
                  </a:cubicBezTo>
                  <a:cubicBezTo>
                    <a:pt x="733" y="3707"/>
                    <a:pt x="719" y="3700"/>
                    <a:pt x="711" y="3700"/>
                  </a:cubicBezTo>
                  <a:cubicBezTo>
                    <a:pt x="682" y="3700"/>
                    <a:pt x="660" y="3729"/>
                    <a:pt x="616" y="3729"/>
                  </a:cubicBezTo>
                  <a:cubicBezTo>
                    <a:pt x="557" y="3729"/>
                    <a:pt x="564" y="3700"/>
                    <a:pt x="550" y="3700"/>
                  </a:cubicBezTo>
                  <a:cubicBezTo>
                    <a:pt x="550" y="3700"/>
                    <a:pt x="543" y="3700"/>
                    <a:pt x="535" y="3707"/>
                  </a:cubicBezTo>
                  <a:cubicBezTo>
                    <a:pt x="521" y="3714"/>
                    <a:pt x="484" y="3729"/>
                    <a:pt x="455" y="3758"/>
                  </a:cubicBezTo>
                  <a:cubicBezTo>
                    <a:pt x="440" y="3744"/>
                    <a:pt x="440" y="3744"/>
                    <a:pt x="440" y="3744"/>
                  </a:cubicBezTo>
                  <a:cubicBezTo>
                    <a:pt x="440" y="3744"/>
                    <a:pt x="425" y="3670"/>
                    <a:pt x="411" y="3612"/>
                  </a:cubicBezTo>
                  <a:cubicBezTo>
                    <a:pt x="403" y="3553"/>
                    <a:pt x="389" y="3538"/>
                    <a:pt x="411" y="3487"/>
                  </a:cubicBezTo>
                  <a:cubicBezTo>
                    <a:pt x="418" y="3473"/>
                    <a:pt x="425" y="3465"/>
                    <a:pt x="433" y="3465"/>
                  </a:cubicBezTo>
                  <a:cubicBezTo>
                    <a:pt x="440" y="3465"/>
                    <a:pt x="440" y="3480"/>
                    <a:pt x="447" y="3480"/>
                  </a:cubicBezTo>
                  <a:lnTo>
                    <a:pt x="447" y="3480"/>
                  </a:lnTo>
                  <a:cubicBezTo>
                    <a:pt x="455" y="3450"/>
                    <a:pt x="469" y="3399"/>
                    <a:pt x="440" y="3355"/>
                  </a:cubicBezTo>
                  <a:cubicBezTo>
                    <a:pt x="403" y="3319"/>
                    <a:pt x="411" y="3275"/>
                    <a:pt x="374" y="3267"/>
                  </a:cubicBezTo>
                  <a:cubicBezTo>
                    <a:pt x="367" y="3260"/>
                    <a:pt x="359" y="3260"/>
                    <a:pt x="352" y="3260"/>
                  </a:cubicBezTo>
                  <a:cubicBezTo>
                    <a:pt x="323" y="3260"/>
                    <a:pt x="301" y="3275"/>
                    <a:pt x="257" y="3297"/>
                  </a:cubicBezTo>
                  <a:cubicBezTo>
                    <a:pt x="213" y="3326"/>
                    <a:pt x="198" y="3341"/>
                    <a:pt x="228" y="3392"/>
                  </a:cubicBezTo>
                  <a:cubicBezTo>
                    <a:pt x="250" y="3443"/>
                    <a:pt x="176" y="3443"/>
                    <a:pt x="125" y="3443"/>
                  </a:cubicBezTo>
                  <a:cubicBezTo>
                    <a:pt x="74" y="3443"/>
                    <a:pt x="59" y="3407"/>
                    <a:pt x="44" y="3370"/>
                  </a:cubicBezTo>
                  <a:cubicBezTo>
                    <a:pt x="37" y="3326"/>
                    <a:pt x="22" y="3282"/>
                    <a:pt x="66" y="3282"/>
                  </a:cubicBezTo>
                  <a:cubicBezTo>
                    <a:pt x="110" y="3282"/>
                    <a:pt x="125" y="3187"/>
                    <a:pt x="147" y="3157"/>
                  </a:cubicBezTo>
                  <a:cubicBezTo>
                    <a:pt x="176" y="3121"/>
                    <a:pt x="183" y="3077"/>
                    <a:pt x="140" y="3047"/>
                  </a:cubicBezTo>
                  <a:cubicBezTo>
                    <a:pt x="96" y="3011"/>
                    <a:pt x="132" y="3018"/>
                    <a:pt x="176" y="2982"/>
                  </a:cubicBezTo>
                  <a:cubicBezTo>
                    <a:pt x="220" y="2952"/>
                    <a:pt x="169" y="2908"/>
                    <a:pt x="183" y="2857"/>
                  </a:cubicBezTo>
                  <a:cubicBezTo>
                    <a:pt x="198" y="2806"/>
                    <a:pt x="257" y="2784"/>
                    <a:pt x="323" y="2784"/>
                  </a:cubicBezTo>
                  <a:cubicBezTo>
                    <a:pt x="381" y="2784"/>
                    <a:pt x="352" y="2732"/>
                    <a:pt x="338" y="2703"/>
                  </a:cubicBezTo>
                  <a:cubicBezTo>
                    <a:pt x="323" y="2681"/>
                    <a:pt x="301" y="2645"/>
                    <a:pt x="389" y="2637"/>
                  </a:cubicBezTo>
                  <a:cubicBezTo>
                    <a:pt x="469" y="2630"/>
                    <a:pt x="411" y="2586"/>
                    <a:pt x="381" y="2549"/>
                  </a:cubicBezTo>
                  <a:cubicBezTo>
                    <a:pt x="345" y="2520"/>
                    <a:pt x="323" y="2498"/>
                    <a:pt x="286" y="2483"/>
                  </a:cubicBezTo>
                  <a:cubicBezTo>
                    <a:pt x="250" y="2469"/>
                    <a:pt x="228" y="2476"/>
                    <a:pt x="191" y="2447"/>
                  </a:cubicBezTo>
                  <a:cubicBezTo>
                    <a:pt x="162" y="2425"/>
                    <a:pt x="191" y="2403"/>
                    <a:pt x="213" y="2403"/>
                  </a:cubicBezTo>
                  <a:cubicBezTo>
                    <a:pt x="220" y="2403"/>
                    <a:pt x="220" y="2403"/>
                    <a:pt x="228" y="2403"/>
                  </a:cubicBezTo>
                  <a:cubicBezTo>
                    <a:pt x="250" y="2417"/>
                    <a:pt x="279" y="2425"/>
                    <a:pt x="374" y="2425"/>
                  </a:cubicBezTo>
                  <a:cubicBezTo>
                    <a:pt x="462" y="2425"/>
                    <a:pt x="425" y="2388"/>
                    <a:pt x="389" y="2366"/>
                  </a:cubicBezTo>
                  <a:cubicBezTo>
                    <a:pt x="352" y="2337"/>
                    <a:pt x="338" y="2271"/>
                    <a:pt x="330" y="2212"/>
                  </a:cubicBezTo>
                  <a:cubicBezTo>
                    <a:pt x="323" y="2183"/>
                    <a:pt x="338" y="2168"/>
                    <a:pt x="359" y="2168"/>
                  </a:cubicBezTo>
                  <a:cubicBezTo>
                    <a:pt x="381" y="2168"/>
                    <a:pt x="403" y="2176"/>
                    <a:pt x="411" y="2190"/>
                  </a:cubicBezTo>
                  <a:cubicBezTo>
                    <a:pt x="425" y="2205"/>
                    <a:pt x="433" y="2212"/>
                    <a:pt x="447" y="2212"/>
                  </a:cubicBezTo>
                  <a:cubicBezTo>
                    <a:pt x="469" y="2212"/>
                    <a:pt x="491" y="2190"/>
                    <a:pt x="513" y="2176"/>
                  </a:cubicBezTo>
                  <a:cubicBezTo>
                    <a:pt x="521" y="2176"/>
                    <a:pt x="528" y="2168"/>
                    <a:pt x="528" y="2168"/>
                  </a:cubicBezTo>
                  <a:cubicBezTo>
                    <a:pt x="550" y="2168"/>
                    <a:pt x="564" y="2219"/>
                    <a:pt x="616" y="2234"/>
                  </a:cubicBezTo>
                  <a:cubicBezTo>
                    <a:pt x="623" y="2241"/>
                    <a:pt x="631" y="2241"/>
                    <a:pt x="638" y="2241"/>
                  </a:cubicBezTo>
                  <a:cubicBezTo>
                    <a:pt x="674" y="2241"/>
                    <a:pt x="674" y="2205"/>
                    <a:pt x="704" y="2154"/>
                  </a:cubicBezTo>
                  <a:cubicBezTo>
                    <a:pt x="733" y="2095"/>
                    <a:pt x="704" y="2073"/>
                    <a:pt x="689" y="2051"/>
                  </a:cubicBezTo>
                  <a:cubicBezTo>
                    <a:pt x="667" y="2022"/>
                    <a:pt x="645" y="2022"/>
                    <a:pt x="609" y="1992"/>
                  </a:cubicBezTo>
                  <a:cubicBezTo>
                    <a:pt x="572" y="1956"/>
                    <a:pt x="594" y="1948"/>
                    <a:pt x="623" y="1912"/>
                  </a:cubicBezTo>
                  <a:cubicBezTo>
                    <a:pt x="660" y="1882"/>
                    <a:pt x="667" y="1860"/>
                    <a:pt x="667" y="1860"/>
                  </a:cubicBezTo>
                  <a:cubicBezTo>
                    <a:pt x="667" y="1860"/>
                    <a:pt x="616" y="1846"/>
                    <a:pt x="564" y="1816"/>
                  </a:cubicBezTo>
                  <a:cubicBezTo>
                    <a:pt x="513" y="1795"/>
                    <a:pt x="506" y="1765"/>
                    <a:pt x="550" y="1736"/>
                  </a:cubicBezTo>
                  <a:cubicBezTo>
                    <a:pt x="564" y="1721"/>
                    <a:pt x="579" y="1714"/>
                    <a:pt x="594" y="1714"/>
                  </a:cubicBezTo>
                  <a:cubicBezTo>
                    <a:pt x="609" y="1714"/>
                    <a:pt x="631" y="1728"/>
                    <a:pt x="645" y="1765"/>
                  </a:cubicBezTo>
                  <a:cubicBezTo>
                    <a:pt x="660" y="1802"/>
                    <a:pt x="667" y="1816"/>
                    <a:pt x="674" y="1816"/>
                  </a:cubicBezTo>
                  <a:cubicBezTo>
                    <a:pt x="682" y="1816"/>
                    <a:pt x="689" y="1809"/>
                    <a:pt x="697" y="1787"/>
                  </a:cubicBezTo>
                  <a:cubicBezTo>
                    <a:pt x="704" y="1736"/>
                    <a:pt x="667" y="1692"/>
                    <a:pt x="711" y="1670"/>
                  </a:cubicBezTo>
                  <a:cubicBezTo>
                    <a:pt x="755" y="1641"/>
                    <a:pt x="755" y="1598"/>
                    <a:pt x="726" y="1583"/>
                  </a:cubicBezTo>
                  <a:cubicBezTo>
                    <a:pt x="704" y="1568"/>
                    <a:pt x="587" y="1495"/>
                    <a:pt x="521" y="1488"/>
                  </a:cubicBezTo>
                  <a:cubicBezTo>
                    <a:pt x="462" y="1480"/>
                    <a:pt x="381" y="1422"/>
                    <a:pt x="359" y="1370"/>
                  </a:cubicBezTo>
                  <a:cubicBezTo>
                    <a:pt x="345" y="1319"/>
                    <a:pt x="345" y="1283"/>
                    <a:pt x="286" y="1283"/>
                  </a:cubicBezTo>
                  <a:cubicBezTo>
                    <a:pt x="228" y="1283"/>
                    <a:pt x="198" y="1260"/>
                    <a:pt x="176" y="1217"/>
                  </a:cubicBezTo>
                  <a:cubicBezTo>
                    <a:pt x="147" y="1173"/>
                    <a:pt x="169" y="1143"/>
                    <a:pt x="132" y="1114"/>
                  </a:cubicBezTo>
                  <a:cubicBezTo>
                    <a:pt x="96" y="1092"/>
                    <a:pt x="118" y="997"/>
                    <a:pt x="118" y="960"/>
                  </a:cubicBezTo>
                  <a:lnTo>
                    <a:pt x="118" y="953"/>
                  </a:lnTo>
                  <a:cubicBezTo>
                    <a:pt x="162" y="938"/>
                    <a:pt x="242" y="909"/>
                    <a:pt x="257" y="879"/>
                  </a:cubicBezTo>
                  <a:cubicBezTo>
                    <a:pt x="279" y="850"/>
                    <a:pt x="338" y="791"/>
                    <a:pt x="374" y="784"/>
                  </a:cubicBezTo>
                  <a:cubicBezTo>
                    <a:pt x="389" y="784"/>
                    <a:pt x="411" y="784"/>
                    <a:pt x="425" y="784"/>
                  </a:cubicBezTo>
                  <a:cubicBezTo>
                    <a:pt x="447" y="784"/>
                    <a:pt x="469" y="784"/>
                    <a:pt x="484" y="784"/>
                  </a:cubicBezTo>
                  <a:cubicBezTo>
                    <a:pt x="491" y="784"/>
                    <a:pt x="499" y="784"/>
                    <a:pt x="499" y="784"/>
                  </a:cubicBezTo>
                  <a:cubicBezTo>
                    <a:pt x="543" y="784"/>
                    <a:pt x="601" y="762"/>
                    <a:pt x="616" y="733"/>
                  </a:cubicBezTo>
                  <a:cubicBezTo>
                    <a:pt x="638" y="689"/>
                    <a:pt x="631" y="630"/>
                    <a:pt x="660" y="616"/>
                  </a:cubicBezTo>
                  <a:cubicBezTo>
                    <a:pt x="660" y="616"/>
                    <a:pt x="660" y="616"/>
                    <a:pt x="667" y="616"/>
                  </a:cubicBezTo>
                  <a:cubicBezTo>
                    <a:pt x="682" y="616"/>
                    <a:pt x="704" y="645"/>
                    <a:pt x="726" y="645"/>
                  </a:cubicBezTo>
                  <a:cubicBezTo>
                    <a:pt x="733" y="645"/>
                    <a:pt x="740" y="638"/>
                    <a:pt x="755" y="630"/>
                  </a:cubicBezTo>
                  <a:cubicBezTo>
                    <a:pt x="799" y="601"/>
                    <a:pt x="843" y="572"/>
                    <a:pt x="872" y="535"/>
                  </a:cubicBezTo>
                  <a:cubicBezTo>
                    <a:pt x="902" y="506"/>
                    <a:pt x="909" y="491"/>
                    <a:pt x="953" y="469"/>
                  </a:cubicBezTo>
                  <a:cubicBezTo>
                    <a:pt x="990" y="447"/>
                    <a:pt x="1004" y="440"/>
                    <a:pt x="1012" y="396"/>
                  </a:cubicBezTo>
                  <a:cubicBezTo>
                    <a:pt x="1012" y="352"/>
                    <a:pt x="1012" y="293"/>
                    <a:pt x="1048" y="279"/>
                  </a:cubicBezTo>
                  <a:cubicBezTo>
                    <a:pt x="1085" y="257"/>
                    <a:pt x="1136" y="257"/>
                    <a:pt x="1158" y="257"/>
                  </a:cubicBezTo>
                  <a:cubicBezTo>
                    <a:pt x="1187" y="257"/>
                    <a:pt x="1260" y="279"/>
                    <a:pt x="1282" y="308"/>
                  </a:cubicBezTo>
                  <a:cubicBezTo>
                    <a:pt x="1296" y="330"/>
                    <a:pt x="1340" y="374"/>
                    <a:pt x="1377" y="374"/>
                  </a:cubicBezTo>
                  <a:cubicBezTo>
                    <a:pt x="1384" y="374"/>
                    <a:pt x="1392" y="374"/>
                    <a:pt x="1399" y="367"/>
                  </a:cubicBezTo>
                  <a:cubicBezTo>
                    <a:pt x="1436" y="345"/>
                    <a:pt x="1436" y="308"/>
                    <a:pt x="1465" y="286"/>
                  </a:cubicBezTo>
                  <a:cubicBezTo>
                    <a:pt x="1480" y="279"/>
                    <a:pt x="1494" y="279"/>
                    <a:pt x="1501" y="279"/>
                  </a:cubicBezTo>
                  <a:cubicBezTo>
                    <a:pt x="1516" y="279"/>
                    <a:pt x="1531" y="286"/>
                    <a:pt x="1545" y="301"/>
                  </a:cubicBezTo>
                  <a:cubicBezTo>
                    <a:pt x="1553" y="308"/>
                    <a:pt x="1568" y="308"/>
                    <a:pt x="1582" y="308"/>
                  </a:cubicBezTo>
                  <a:cubicBezTo>
                    <a:pt x="1611" y="308"/>
                    <a:pt x="1641" y="293"/>
                    <a:pt x="1619" y="264"/>
                  </a:cubicBezTo>
                  <a:cubicBezTo>
                    <a:pt x="1589" y="227"/>
                    <a:pt x="1560" y="227"/>
                    <a:pt x="1560" y="183"/>
                  </a:cubicBezTo>
                  <a:cubicBezTo>
                    <a:pt x="1568" y="147"/>
                    <a:pt x="1589" y="132"/>
                    <a:pt x="1626" y="110"/>
                  </a:cubicBezTo>
                  <a:cubicBezTo>
                    <a:pt x="1648" y="103"/>
                    <a:pt x="1655" y="81"/>
                    <a:pt x="1663" y="66"/>
                  </a:cubicBezTo>
                  <a:cubicBezTo>
                    <a:pt x="1677" y="132"/>
                    <a:pt x="1677" y="132"/>
                    <a:pt x="1677" y="132"/>
                  </a:cubicBezTo>
                  <a:cubicBezTo>
                    <a:pt x="1663" y="66"/>
                    <a:pt x="1663" y="66"/>
                    <a:pt x="1663" y="66"/>
                  </a:cubicBezTo>
                  <a:cubicBezTo>
                    <a:pt x="1670" y="59"/>
                    <a:pt x="1677" y="51"/>
                    <a:pt x="1692" y="51"/>
                  </a:cubicBezTo>
                  <a:lnTo>
                    <a:pt x="1699" y="51"/>
                  </a:lnTo>
                  <a:cubicBezTo>
                    <a:pt x="1707" y="59"/>
                    <a:pt x="1707" y="59"/>
                    <a:pt x="1714" y="59"/>
                  </a:cubicBezTo>
                  <a:cubicBezTo>
                    <a:pt x="1758" y="59"/>
                    <a:pt x="1809" y="44"/>
                    <a:pt x="1853" y="44"/>
                  </a:cubicBezTo>
                  <a:lnTo>
                    <a:pt x="1670" y="0"/>
                  </a:lnTo>
                  <a:lnTo>
                    <a:pt x="1670" y="0"/>
                  </a:lnTo>
                  <a:cubicBezTo>
                    <a:pt x="1633" y="51"/>
                    <a:pt x="1633" y="51"/>
                    <a:pt x="1633" y="51"/>
                  </a:cubicBezTo>
                  <a:cubicBezTo>
                    <a:pt x="1626" y="66"/>
                    <a:pt x="1626" y="66"/>
                    <a:pt x="1626" y="66"/>
                  </a:cubicBezTo>
                  <a:lnTo>
                    <a:pt x="1626" y="66"/>
                  </a:lnTo>
                  <a:cubicBezTo>
                    <a:pt x="1626" y="74"/>
                    <a:pt x="1619" y="81"/>
                    <a:pt x="1611" y="88"/>
                  </a:cubicBezTo>
                  <a:cubicBezTo>
                    <a:pt x="1568" y="110"/>
                    <a:pt x="1538" y="125"/>
                    <a:pt x="1531" y="183"/>
                  </a:cubicBezTo>
                  <a:cubicBezTo>
                    <a:pt x="1523" y="227"/>
                    <a:pt x="1553" y="242"/>
                    <a:pt x="1568" y="257"/>
                  </a:cubicBezTo>
                  <a:cubicBezTo>
                    <a:pt x="1575" y="264"/>
                    <a:pt x="1582" y="271"/>
                    <a:pt x="1589" y="279"/>
                  </a:cubicBezTo>
                  <a:cubicBezTo>
                    <a:pt x="1589" y="279"/>
                    <a:pt x="1589" y="279"/>
                    <a:pt x="1582" y="279"/>
                  </a:cubicBezTo>
                  <a:cubicBezTo>
                    <a:pt x="1575" y="279"/>
                    <a:pt x="1568" y="279"/>
                    <a:pt x="1568" y="279"/>
                  </a:cubicBezTo>
                  <a:cubicBezTo>
                    <a:pt x="1553" y="264"/>
                    <a:pt x="1531" y="242"/>
                    <a:pt x="1501" y="242"/>
                  </a:cubicBezTo>
                  <a:cubicBezTo>
                    <a:pt x="1487" y="242"/>
                    <a:pt x="1465" y="249"/>
                    <a:pt x="1450" y="257"/>
                  </a:cubicBezTo>
                  <a:cubicBezTo>
                    <a:pt x="1428" y="271"/>
                    <a:pt x="1413" y="293"/>
                    <a:pt x="1406" y="308"/>
                  </a:cubicBezTo>
                  <a:cubicBezTo>
                    <a:pt x="1399" y="323"/>
                    <a:pt x="1399" y="330"/>
                    <a:pt x="1384" y="337"/>
                  </a:cubicBezTo>
                  <a:cubicBezTo>
                    <a:pt x="1384" y="337"/>
                    <a:pt x="1384" y="345"/>
                    <a:pt x="1377" y="345"/>
                  </a:cubicBezTo>
                  <a:cubicBezTo>
                    <a:pt x="1362" y="345"/>
                    <a:pt x="1326" y="315"/>
                    <a:pt x="1304" y="286"/>
                  </a:cubicBezTo>
                  <a:cubicBezTo>
                    <a:pt x="1274" y="242"/>
                    <a:pt x="1187" y="227"/>
                    <a:pt x="1158" y="227"/>
                  </a:cubicBezTo>
                  <a:cubicBezTo>
                    <a:pt x="1129" y="227"/>
                    <a:pt x="1078" y="227"/>
                    <a:pt x="1033" y="249"/>
                  </a:cubicBezTo>
                  <a:cubicBezTo>
                    <a:pt x="990" y="271"/>
                    <a:pt x="982" y="323"/>
                    <a:pt x="982" y="374"/>
                  </a:cubicBezTo>
                  <a:cubicBezTo>
                    <a:pt x="982" y="374"/>
                    <a:pt x="982" y="381"/>
                    <a:pt x="975" y="389"/>
                  </a:cubicBezTo>
                  <a:cubicBezTo>
                    <a:pt x="975" y="418"/>
                    <a:pt x="975" y="418"/>
                    <a:pt x="938" y="440"/>
                  </a:cubicBezTo>
                  <a:cubicBezTo>
                    <a:pt x="894" y="469"/>
                    <a:pt x="880" y="477"/>
                    <a:pt x="850" y="520"/>
                  </a:cubicBezTo>
                  <a:cubicBezTo>
                    <a:pt x="828" y="542"/>
                    <a:pt x="799" y="565"/>
                    <a:pt x="770" y="586"/>
                  </a:cubicBezTo>
                  <a:cubicBezTo>
                    <a:pt x="755" y="594"/>
                    <a:pt x="748" y="601"/>
                    <a:pt x="733" y="608"/>
                  </a:cubicBezTo>
                  <a:lnTo>
                    <a:pt x="726" y="616"/>
                  </a:lnTo>
                  <a:cubicBezTo>
                    <a:pt x="726" y="616"/>
                    <a:pt x="719" y="608"/>
                    <a:pt x="711" y="601"/>
                  </a:cubicBezTo>
                  <a:cubicBezTo>
                    <a:pt x="697" y="594"/>
                    <a:pt x="682" y="586"/>
                    <a:pt x="667" y="586"/>
                  </a:cubicBezTo>
                  <a:cubicBezTo>
                    <a:pt x="660" y="586"/>
                    <a:pt x="652" y="586"/>
                    <a:pt x="645" y="586"/>
                  </a:cubicBezTo>
                  <a:cubicBezTo>
                    <a:pt x="616" y="601"/>
                    <a:pt x="609" y="638"/>
                    <a:pt x="601" y="674"/>
                  </a:cubicBezTo>
                  <a:cubicBezTo>
                    <a:pt x="601" y="689"/>
                    <a:pt x="594" y="704"/>
                    <a:pt x="587" y="718"/>
                  </a:cubicBezTo>
                  <a:cubicBezTo>
                    <a:pt x="579" y="740"/>
                    <a:pt x="535" y="755"/>
                    <a:pt x="499" y="755"/>
                  </a:cubicBezTo>
                  <a:lnTo>
                    <a:pt x="491" y="755"/>
                  </a:lnTo>
                  <a:cubicBezTo>
                    <a:pt x="469" y="755"/>
                    <a:pt x="447" y="755"/>
                    <a:pt x="425" y="755"/>
                  </a:cubicBezTo>
                  <a:cubicBezTo>
                    <a:pt x="411" y="755"/>
                    <a:pt x="389" y="755"/>
                    <a:pt x="367" y="755"/>
                  </a:cubicBezTo>
                  <a:cubicBezTo>
                    <a:pt x="323" y="762"/>
                    <a:pt x="250" y="836"/>
                    <a:pt x="228" y="865"/>
                  </a:cubicBezTo>
                  <a:cubicBezTo>
                    <a:pt x="220" y="872"/>
                    <a:pt x="183" y="894"/>
                    <a:pt x="103" y="924"/>
                  </a:cubicBezTo>
                  <a:cubicBezTo>
                    <a:pt x="81" y="931"/>
                    <a:pt x="81" y="931"/>
                    <a:pt x="81" y="931"/>
                  </a:cubicBezTo>
                  <a:cubicBezTo>
                    <a:pt x="81" y="953"/>
                    <a:pt x="81" y="953"/>
                    <a:pt x="81" y="953"/>
                  </a:cubicBezTo>
                  <a:cubicBezTo>
                    <a:pt x="88" y="960"/>
                    <a:pt x="88" y="960"/>
                    <a:pt x="88" y="960"/>
                  </a:cubicBezTo>
                  <a:cubicBezTo>
                    <a:pt x="88" y="967"/>
                    <a:pt x="88" y="975"/>
                    <a:pt x="81" y="989"/>
                  </a:cubicBezTo>
                  <a:cubicBezTo>
                    <a:pt x="81" y="1041"/>
                    <a:pt x="74" y="1107"/>
                    <a:pt x="118" y="1136"/>
                  </a:cubicBezTo>
                  <a:cubicBezTo>
                    <a:pt x="125" y="1143"/>
                    <a:pt x="125" y="1150"/>
                    <a:pt x="132" y="1173"/>
                  </a:cubicBezTo>
                  <a:cubicBezTo>
                    <a:pt x="132" y="1187"/>
                    <a:pt x="132" y="1209"/>
                    <a:pt x="147" y="1231"/>
                  </a:cubicBezTo>
                  <a:cubicBezTo>
                    <a:pt x="176" y="1283"/>
                    <a:pt x="213" y="1312"/>
                    <a:pt x="286" y="1312"/>
                  </a:cubicBezTo>
                  <a:cubicBezTo>
                    <a:pt x="315" y="1312"/>
                    <a:pt x="315" y="1319"/>
                    <a:pt x="330" y="1356"/>
                  </a:cubicBezTo>
                  <a:cubicBezTo>
                    <a:pt x="330" y="1363"/>
                    <a:pt x="330" y="1370"/>
                    <a:pt x="330" y="1378"/>
                  </a:cubicBezTo>
                  <a:cubicBezTo>
                    <a:pt x="352" y="1444"/>
                    <a:pt x="455" y="1510"/>
                    <a:pt x="521" y="1517"/>
                  </a:cubicBezTo>
                  <a:cubicBezTo>
                    <a:pt x="572" y="1524"/>
                    <a:pt x="682" y="1590"/>
                    <a:pt x="711" y="1605"/>
                  </a:cubicBezTo>
                  <a:cubicBezTo>
                    <a:pt x="711" y="1612"/>
                    <a:pt x="719" y="1612"/>
                    <a:pt x="719" y="1619"/>
                  </a:cubicBezTo>
                  <a:cubicBezTo>
                    <a:pt x="719" y="1627"/>
                    <a:pt x="711" y="1634"/>
                    <a:pt x="697" y="1641"/>
                  </a:cubicBezTo>
                  <a:cubicBezTo>
                    <a:pt x="652" y="1670"/>
                    <a:pt x="660" y="1707"/>
                    <a:pt x="660" y="1736"/>
                  </a:cubicBezTo>
                  <a:cubicBezTo>
                    <a:pt x="652" y="1714"/>
                    <a:pt x="631" y="1685"/>
                    <a:pt x="594" y="1685"/>
                  </a:cubicBezTo>
                  <a:cubicBezTo>
                    <a:pt x="572" y="1685"/>
                    <a:pt x="550" y="1692"/>
                    <a:pt x="528" y="1714"/>
                  </a:cubicBezTo>
                  <a:cubicBezTo>
                    <a:pt x="521" y="1721"/>
                    <a:pt x="491" y="1743"/>
                    <a:pt x="491" y="1780"/>
                  </a:cubicBezTo>
                  <a:cubicBezTo>
                    <a:pt x="499" y="1816"/>
                    <a:pt x="528" y="1831"/>
                    <a:pt x="550" y="1846"/>
                  </a:cubicBezTo>
                  <a:cubicBezTo>
                    <a:pt x="579" y="1860"/>
                    <a:pt x="601" y="1868"/>
                    <a:pt x="616" y="1875"/>
                  </a:cubicBezTo>
                  <a:cubicBezTo>
                    <a:pt x="616" y="1882"/>
                    <a:pt x="609" y="1882"/>
                    <a:pt x="601" y="1890"/>
                  </a:cubicBezTo>
                  <a:cubicBezTo>
                    <a:pt x="594" y="1904"/>
                    <a:pt x="594" y="1904"/>
                    <a:pt x="594" y="1904"/>
                  </a:cubicBezTo>
                  <a:cubicBezTo>
                    <a:pt x="579" y="1919"/>
                    <a:pt x="557" y="1934"/>
                    <a:pt x="557" y="1956"/>
                  </a:cubicBezTo>
                  <a:cubicBezTo>
                    <a:pt x="557" y="1978"/>
                    <a:pt x="572" y="2000"/>
                    <a:pt x="587" y="2014"/>
                  </a:cubicBezTo>
                  <a:cubicBezTo>
                    <a:pt x="609" y="2029"/>
                    <a:pt x="623" y="2044"/>
                    <a:pt x="638" y="2051"/>
                  </a:cubicBezTo>
                  <a:cubicBezTo>
                    <a:pt x="652" y="2058"/>
                    <a:pt x="652" y="2058"/>
                    <a:pt x="660" y="2066"/>
                  </a:cubicBezTo>
                  <a:cubicBezTo>
                    <a:pt x="667" y="2073"/>
                    <a:pt x="667" y="2080"/>
                    <a:pt x="674" y="2080"/>
                  </a:cubicBezTo>
                  <a:cubicBezTo>
                    <a:pt x="689" y="2102"/>
                    <a:pt x="697" y="2109"/>
                    <a:pt x="674" y="2139"/>
                  </a:cubicBezTo>
                  <a:cubicBezTo>
                    <a:pt x="667" y="2154"/>
                    <a:pt x="660" y="2168"/>
                    <a:pt x="652" y="2183"/>
                  </a:cubicBezTo>
                  <a:cubicBezTo>
                    <a:pt x="652" y="2197"/>
                    <a:pt x="645" y="2205"/>
                    <a:pt x="638" y="2212"/>
                  </a:cubicBezTo>
                  <a:cubicBezTo>
                    <a:pt x="638" y="2212"/>
                    <a:pt x="631" y="2212"/>
                    <a:pt x="623" y="2205"/>
                  </a:cubicBezTo>
                  <a:cubicBezTo>
                    <a:pt x="609" y="2205"/>
                    <a:pt x="594" y="2190"/>
                    <a:pt x="579" y="2176"/>
                  </a:cubicBezTo>
                  <a:cubicBezTo>
                    <a:pt x="572" y="2161"/>
                    <a:pt x="557" y="2139"/>
                    <a:pt x="528" y="2139"/>
                  </a:cubicBezTo>
                  <a:cubicBezTo>
                    <a:pt x="521" y="2139"/>
                    <a:pt x="506" y="2146"/>
                    <a:pt x="499" y="2154"/>
                  </a:cubicBezTo>
                  <a:cubicBezTo>
                    <a:pt x="477" y="2168"/>
                    <a:pt x="455" y="2183"/>
                    <a:pt x="447" y="2183"/>
                  </a:cubicBezTo>
                  <a:cubicBezTo>
                    <a:pt x="440" y="2183"/>
                    <a:pt x="440" y="2183"/>
                    <a:pt x="440" y="2176"/>
                  </a:cubicBezTo>
                  <a:cubicBezTo>
                    <a:pt x="418" y="2154"/>
                    <a:pt x="389" y="2139"/>
                    <a:pt x="359" y="2139"/>
                  </a:cubicBezTo>
                  <a:cubicBezTo>
                    <a:pt x="345" y="2139"/>
                    <a:pt x="323" y="2146"/>
                    <a:pt x="315" y="2161"/>
                  </a:cubicBezTo>
                  <a:cubicBezTo>
                    <a:pt x="301" y="2168"/>
                    <a:pt x="293" y="2183"/>
                    <a:pt x="301" y="2212"/>
                  </a:cubicBezTo>
                  <a:cubicBezTo>
                    <a:pt x="308" y="2307"/>
                    <a:pt x="338" y="2359"/>
                    <a:pt x="367" y="2388"/>
                  </a:cubicBezTo>
                  <a:cubicBezTo>
                    <a:pt x="374" y="2388"/>
                    <a:pt x="374" y="2388"/>
                    <a:pt x="374" y="2395"/>
                  </a:cubicBezTo>
                  <a:lnTo>
                    <a:pt x="374" y="2395"/>
                  </a:lnTo>
                  <a:cubicBezTo>
                    <a:pt x="286" y="2395"/>
                    <a:pt x="257" y="2388"/>
                    <a:pt x="235" y="2381"/>
                  </a:cubicBezTo>
                  <a:cubicBezTo>
                    <a:pt x="228" y="2373"/>
                    <a:pt x="220" y="2373"/>
                    <a:pt x="213" y="2373"/>
                  </a:cubicBezTo>
                  <a:cubicBezTo>
                    <a:pt x="191" y="2373"/>
                    <a:pt x="162" y="2388"/>
                    <a:pt x="154" y="2417"/>
                  </a:cubicBezTo>
                  <a:cubicBezTo>
                    <a:pt x="147" y="2425"/>
                    <a:pt x="140" y="2447"/>
                    <a:pt x="176" y="2476"/>
                  </a:cubicBezTo>
                  <a:cubicBezTo>
                    <a:pt x="198" y="2491"/>
                    <a:pt x="220" y="2498"/>
                    <a:pt x="242" y="2498"/>
                  </a:cubicBezTo>
                  <a:cubicBezTo>
                    <a:pt x="250" y="2505"/>
                    <a:pt x="264" y="2505"/>
                    <a:pt x="271" y="2513"/>
                  </a:cubicBezTo>
                  <a:cubicBezTo>
                    <a:pt x="301" y="2527"/>
                    <a:pt x="323" y="2542"/>
                    <a:pt x="359" y="2571"/>
                  </a:cubicBezTo>
                  <a:cubicBezTo>
                    <a:pt x="359" y="2578"/>
                    <a:pt x="367" y="2578"/>
                    <a:pt x="374" y="2586"/>
                  </a:cubicBezTo>
                  <a:cubicBezTo>
                    <a:pt x="381" y="2593"/>
                    <a:pt x="389" y="2600"/>
                    <a:pt x="389" y="2608"/>
                  </a:cubicBezTo>
                  <a:lnTo>
                    <a:pt x="389" y="2608"/>
                  </a:lnTo>
                  <a:cubicBezTo>
                    <a:pt x="352" y="2608"/>
                    <a:pt x="315" y="2615"/>
                    <a:pt x="301" y="2645"/>
                  </a:cubicBezTo>
                  <a:cubicBezTo>
                    <a:pt x="286" y="2681"/>
                    <a:pt x="301" y="2710"/>
                    <a:pt x="308" y="2718"/>
                  </a:cubicBezTo>
                  <a:cubicBezTo>
                    <a:pt x="323" y="2732"/>
                    <a:pt x="323" y="2747"/>
                    <a:pt x="323" y="2747"/>
                  </a:cubicBezTo>
                  <a:lnTo>
                    <a:pt x="323" y="2747"/>
                  </a:lnTo>
                  <a:cubicBezTo>
                    <a:pt x="242" y="2747"/>
                    <a:pt x="176" y="2791"/>
                    <a:pt x="154" y="2850"/>
                  </a:cubicBezTo>
                  <a:cubicBezTo>
                    <a:pt x="147" y="2879"/>
                    <a:pt x="154" y="2908"/>
                    <a:pt x="154" y="2923"/>
                  </a:cubicBezTo>
                  <a:cubicBezTo>
                    <a:pt x="162" y="2952"/>
                    <a:pt x="162" y="2952"/>
                    <a:pt x="154" y="2959"/>
                  </a:cubicBezTo>
                  <a:cubicBezTo>
                    <a:pt x="147" y="2967"/>
                    <a:pt x="132" y="2974"/>
                    <a:pt x="125" y="2982"/>
                  </a:cubicBezTo>
                  <a:cubicBezTo>
                    <a:pt x="110" y="2989"/>
                    <a:pt x="96" y="2996"/>
                    <a:pt x="88" y="3018"/>
                  </a:cubicBezTo>
                  <a:cubicBezTo>
                    <a:pt x="88" y="3040"/>
                    <a:pt x="110" y="3055"/>
                    <a:pt x="125" y="3069"/>
                  </a:cubicBezTo>
                  <a:cubicBezTo>
                    <a:pt x="132" y="3077"/>
                    <a:pt x="154" y="3091"/>
                    <a:pt x="125" y="3135"/>
                  </a:cubicBezTo>
                  <a:cubicBezTo>
                    <a:pt x="118" y="3150"/>
                    <a:pt x="103" y="3172"/>
                    <a:pt x="96" y="3194"/>
                  </a:cubicBezTo>
                  <a:cubicBezTo>
                    <a:pt x="88" y="3209"/>
                    <a:pt x="74" y="3245"/>
                    <a:pt x="66" y="3253"/>
                  </a:cubicBezTo>
                  <a:lnTo>
                    <a:pt x="66" y="3253"/>
                  </a:lnTo>
                  <a:cubicBezTo>
                    <a:pt x="37" y="3253"/>
                    <a:pt x="22" y="3260"/>
                    <a:pt x="15" y="3267"/>
                  </a:cubicBezTo>
                  <a:cubicBezTo>
                    <a:pt x="0" y="3297"/>
                    <a:pt x="8" y="3326"/>
                    <a:pt x="15" y="3355"/>
                  </a:cubicBezTo>
                  <a:cubicBezTo>
                    <a:pt x="15" y="3363"/>
                    <a:pt x="15" y="3370"/>
                    <a:pt x="15" y="3370"/>
                  </a:cubicBezTo>
                  <a:cubicBezTo>
                    <a:pt x="22" y="3399"/>
                    <a:pt x="37" y="3473"/>
                    <a:pt x="125" y="3473"/>
                  </a:cubicBezTo>
                  <a:cubicBezTo>
                    <a:pt x="176" y="3473"/>
                    <a:pt x="235" y="3473"/>
                    <a:pt x="257" y="3436"/>
                  </a:cubicBezTo>
                  <a:cubicBezTo>
                    <a:pt x="264" y="3428"/>
                    <a:pt x="264" y="3407"/>
                    <a:pt x="257" y="3377"/>
                  </a:cubicBezTo>
                  <a:cubicBezTo>
                    <a:pt x="242" y="3355"/>
                    <a:pt x="242" y="3348"/>
                    <a:pt x="242" y="3348"/>
                  </a:cubicBezTo>
                  <a:cubicBezTo>
                    <a:pt x="242" y="3348"/>
                    <a:pt x="250" y="3341"/>
                    <a:pt x="271" y="3326"/>
                  </a:cubicBezTo>
                  <a:cubicBezTo>
                    <a:pt x="286" y="3319"/>
                    <a:pt x="293" y="3319"/>
                    <a:pt x="301" y="3311"/>
                  </a:cubicBezTo>
                  <a:cubicBezTo>
                    <a:pt x="323" y="3297"/>
                    <a:pt x="338" y="3297"/>
                    <a:pt x="352" y="3297"/>
                  </a:cubicBezTo>
                  <a:cubicBezTo>
                    <a:pt x="352" y="3297"/>
                    <a:pt x="359" y="3297"/>
                    <a:pt x="367" y="3297"/>
                  </a:cubicBezTo>
                  <a:cubicBezTo>
                    <a:pt x="374" y="3297"/>
                    <a:pt x="374" y="3297"/>
                    <a:pt x="381" y="3319"/>
                  </a:cubicBezTo>
                  <a:cubicBezTo>
                    <a:pt x="389" y="3341"/>
                    <a:pt x="396" y="3355"/>
                    <a:pt x="418" y="3377"/>
                  </a:cubicBezTo>
                  <a:cubicBezTo>
                    <a:pt x="433" y="3392"/>
                    <a:pt x="433" y="3414"/>
                    <a:pt x="425" y="3436"/>
                  </a:cubicBezTo>
                  <a:cubicBezTo>
                    <a:pt x="403" y="3436"/>
                    <a:pt x="389" y="3465"/>
                    <a:pt x="389" y="3473"/>
                  </a:cubicBezTo>
                  <a:cubicBezTo>
                    <a:pt x="359" y="3516"/>
                    <a:pt x="367" y="3546"/>
                    <a:pt x="374" y="3582"/>
                  </a:cubicBezTo>
                  <a:cubicBezTo>
                    <a:pt x="381" y="3590"/>
                    <a:pt x="381" y="3604"/>
                    <a:pt x="381" y="3619"/>
                  </a:cubicBezTo>
                  <a:cubicBezTo>
                    <a:pt x="389" y="3678"/>
                    <a:pt x="411" y="3744"/>
                    <a:pt x="411" y="3751"/>
                  </a:cubicBezTo>
                  <a:cubicBezTo>
                    <a:pt x="411" y="3758"/>
                    <a:pt x="411" y="3758"/>
                    <a:pt x="411" y="3758"/>
                  </a:cubicBezTo>
                  <a:cubicBezTo>
                    <a:pt x="418" y="3758"/>
                    <a:pt x="418" y="3758"/>
                    <a:pt x="418" y="3758"/>
                  </a:cubicBezTo>
                  <a:cubicBezTo>
                    <a:pt x="425" y="3773"/>
                    <a:pt x="425" y="3773"/>
                    <a:pt x="425" y="3773"/>
                  </a:cubicBezTo>
                  <a:cubicBezTo>
                    <a:pt x="447" y="3802"/>
                    <a:pt x="447" y="3802"/>
                    <a:pt x="447" y="3802"/>
                  </a:cubicBezTo>
                  <a:cubicBezTo>
                    <a:pt x="469" y="3780"/>
                    <a:pt x="469" y="3780"/>
                    <a:pt x="469" y="3780"/>
                  </a:cubicBezTo>
                  <a:cubicBezTo>
                    <a:pt x="499" y="3758"/>
                    <a:pt x="528" y="3736"/>
                    <a:pt x="543" y="3736"/>
                  </a:cubicBezTo>
                  <a:cubicBezTo>
                    <a:pt x="557" y="3744"/>
                    <a:pt x="579" y="3758"/>
                    <a:pt x="616" y="3758"/>
                  </a:cubicBezTo>
                  <a:cubicBezTo>
                    <a:pt x="652" y="3758"/>
                    <a:pt x="674" y="3744"/>
                    <a:pt x="689" y="3736"/>
                  </a:cubicBezTo>
                  <a:cubicBezTo>
                    <a:pt x="697" y="3729"/>
                    <a:pt x="704" y="3729"/>
                    <a:pt x="711" y="3729"/>
                  </a:cubicBezTo>
                  <a:cubicBezTo>
                    <a:pt x="711" y="3729"/>
                    <a:pt x="711" y="3729"/>
                    <a:pt x="733" y="3744"/>
                  </a:cubicBezTo>
                  <a:cubicBezTo>
                    <a:pt x="748" y="3766"/>
                    <a:pt x="755" y="3788"/>
                    <a:pt x="770" y="3802"/>
                  </a:cubicBezTo>
                  <a:cubicBezTo>
                    <a:pt x="806" y="3861"/>
                    <a:pt x="850" y="3919"/>
                    <a:pt x="916" y="3927"/>
                  </a:cubicBezTo>
                  <a:cubicBezTo>
                    <a:pt x="953" y="3934"/>
                    <a:pt x="953" y="3934"/>
                    <a:pt x="960" y="3956"/>
                  </a:cubicBezTo>
                  <a:cubicBezTo>
                    <a:pt x="968" y="3978"/>
                    <a:pt x="975" y="4000"/>
                    <a:pt x="1004" y="4029"/>
                  </a:cubicBezTo>
                  <a:cubicBezTo>
                    <a:pt x="1048" y="4088"/>
                    <a:pt x="1063" y="4110"/>
                    <a:pt x="1092" y="4154"/>
                  </a:cubicBezTo>
                  <a:cubicBezTo>
                    <a:pt x="1099" y="4176"/>
                    <a:pt x="1099" y="4176"/>
                    <a:pt x="1099" y="4176"/>
                  </a:cubicBezTo>
                  <a:cubicBezTo>
                    <a:pt x="1107" y="4183"/>
                    <a:pt x="1107" y="4183"/>
                    <a:pt x="1114" y="4191"/>
                  </a:cubicBezTo>
                  <a:cubicBezTo>
                    <a:pt x="1136" y="4235"/>
                    <a:pt x="1158" y="4271"/>
                    <a:pt x="1208" y="4271"/>
                  </a:cubicBezTo>
                  <a:cubicBezTo>
                    <a:pt x="1216" y="4271"/>
                    <a:pt x="1223" y="4271"/>
                    <a:pt x="1238" y="4264"/>
                  </a:cubicBezTo>
                  <a:lnTo>
                    <a:pt x="1238" y="4264"/>
                  </a:lnTo>
                  <a:cubicBezTo>
                    <a:pt x="1245" y="4264"/>
                    <a:pt x="1252" y="4271"/>
                    <a:pt x="1267" y="4293"/>
                  </a:cubicBezTo>
                  <a:cubicBezTo>
                    <a:pt x="1274" y="4315"/>
                    <a:pt x="1289" y="4337"/>
                    <a:pt x="1311" y="4352"/>
                  </a:cubicBezTo>
                  <a:cubicBezTo>
                    <a:pt x="1340" y="4374"/>
                    <a:pt x="1384" y="4381"/>
                    <a:pt x="1443" y="4381"/>
                  </a:cubicBezTo>
                  <a:cubicBezTo>
                    <a:pt x="1458" y="4381"/>
                    <a:pt x="1472" y="4381"/>
                    <a:pt x="1480" y="4381"/>
                  </a:cubicBezTo>
                  <a:cubicBezTo>
                    <a:pt x="1487" y="4381"/>
                    <a:pt x="1516" y="4396"/>
                    <a:pt x="1516" y="4432"/>
                  </a:cubicBezTo>
                  <a:cubicBezTo>
                    <a:pt x="1516" y="4469"/>
                    <a:pt x="1523" y="4491"/>
                    <a:pt x="1538" y="4513"/>
                  </a:cubicBezTo>
                  <a:cubicBezTo>
                    <a:pt x="1545" y="4542"/>
                    <a:pt x="1553" y="4557"/>
                    <a:pt x="1553" y="4586"/>
                  </a:cubicBezTo>
                  <a:cubicBezTo>
                    <a:pt x="1538" y="4645"/>
                    <a:pt x="1523" y="4755"/>
                    <a:pt x="1619" y="4784"/>
                  </a:cubicBezTo>
                  <a:cubicBezTo>
                    <a:pt x="1677" y="4806"/>
                    <a:pt x="1736" y="4821"/>
                    <a:pt x="1751" y="4821"/>
                  </a:cubicBezTo>
                  <a:cubicBezTo>
                    <a:pt x="1758" y="4828"/>
                    <a:pt x="1780" y="4828"/>
                    <a:pt x="1802" y="4828"/>
                  </a:cubicBezTo>
                  <a:cubicBezTo>
                    <a:pt x="1839" y="4828"/>
                    <a:pt x="1853" y="4814"/>
                    <a:pt x="1868" y="4806"/>
                  </a:cubicBezTo>
                  <a:cubicBezTo>
                    <a:pt x="1875" y="4791"/>
                    <a:pt x="1882" y="4777"/>
                    <a:pt x="1882" y="4762"/>
                  </a:cubicBezTo>
                  <a:cubicBezTo>
                    <a:pt x="1897" y="4769"/>
                    <a:pt x="1919" y="4769"/>
                    <a:pt x="1934" y="4769"/>
                  </a:cubicBezTo>
                  <a:cubicBezTo>
                    <a:pt x="1970" y="4769"/>
                    <a:pt x="1992" y="4755"/>
                    <a:pt x="2000" y="4740"/>
                  </a:cubicBezTo>
                  <a:cubicBezTo>
                    <a:pt x="2007" y="4740"/>
                    <a:pt x="2007" y="4733"/>
                    <a:pt x="2007" y="4733"/>
                  </a:cubicBezTo>
                  <a:lnTo>
                    <a:pt x="2007" y="4733"/>
                  </a:lnTo>
                  <a:cubicBezTo>
                    <a:pt x="2022" y="4740"/>
                    <a:pt x="2036" y="4740"/>
                    <a:pt x="2058" y="4740"/>
                  </a:cubicBezTo>
                  <a:cubicBezTo>
                    <a:pt x="2095" y="4740"/>
                    <a:pt x="2124" y="4711"/>
                    <a:pt x="2139" y="4674"/>
                  </a:cubicBezTo>
                  <a:cubicBezTo>
                    <a:pt x="2146" y="4630"/>
                    <a:pt x="2132" y="4586"/>
                    <a:pt x="2080" y="4564"/>
                  </a:cubicBezTo>
                  <a:cubicBezTo>
                    <a:pt x="2051" y="4542"/>
                    <a:pt x="2022" y="4535"/>
                    <a:pt x="2000" y="4520"/>
                  </a:cubicBezTo>
                  <a:cubicBezTo>
                    <a:pt x="1949" y="4506"/>
                    <a:pt x="1904" y="4484"/>
                    <a:pt x="1890" y="4454"/>
                  </a:cubicBezTo>
                  <a:cubicBezTo>
                    <a:pt x="1890" y="4447"/>
                    <a:pt x="1890" y="4440"/>
                    <a:pt x="1882" y="4432"/>
                  </a:cubicBezTo>
                  <a:cubicBezTo>
                    <a:pt x="1868" y="4381"/>
                    <a:pt x="1861" y="4366"/>
                    <a:pt x="1912" y="4330"/>
                  </a:cubicBezTo>
                  <a:cubicBezTo>
                    <a:pt x="1941" y="4315"/>
                    <a:pt x="1941" y="4315"/>
                    <a:pt x="1941" y="4315"/>
                  </a:cubicBezTo>
                  <a:cubicBezTo>
                    <a:pt x="2000" y="4271"/>
                    <a:pt x="2007" y="4264"/>
                    <a:pt x="2066" y="4242"/>
                  </a:cubicBezTo>
                  <a:cubicBezTo>
                    <a:pt x="2080" y="4235"/>
                    <a:pt x="2102" y="4235"/>
                    <a:pt x="2117" y="4235"/>
                  </a:cubicBezTo>
                  <a:cubicBezTo>
                    <a:pt x="2132" y="4235"/>
                    <a:pt x="2139" y="4235"/>
                    <a:pt x="2154" y="4242"/>
                  </a:cubicBezTo>
                  <a:cubicBezTo>
                    <a:pt x="2168" y="4242"/>
                    <a:pt x="2183" y="4242"/>
                    <a:pt x="2205" y="4242"/>
                  </a:cubicBezTo>
                  <a:cubicBezTo>
                    <a:pt x="2256" y="4242"/>
                    <a:pt x="2308" y="4257"/>
                    <a:pt x="2322" y="4286"/>
                  </a:cubicBezTo>
                  <a:cubicBezTo>
                    <a:pt x="2337" y="4315"/>
                    <a:pt x="2373" y="4352"/>
                    <a:pt x="2403" y="4352"/>
                  </a:cubicBezTo>
                  <a:cubicBezTo>
                    <a:pt x="2425" y="4352"/>
                    <a:pt x="2439" y="4345"/>
                    <a:pt x="2447" y="4323"/>
                  </a:cubicBezTo>
                  <a:cubicBezTo>
                    <a:pt x="2454" y="4330"/>
                    <a:pt x="2469" y="4337"/>
                    <a:pt x="2491" y="4352"/>
                  </a:cubicBezTo>
                  <a:cubicBezTo>
                    <a:pt x="2505" y="4359"/>
                    <a:pt x="2513" y="4366"/>
                    <a:pt x="2527" y="4366"/>
                  </a:cubicBezTo>
                  <a:cubicBezTo>
                    <a:pt x="2571" y="4366"/>
                    <a:pt x="2630" y="4337"/>
                    <a:pt x="2644" y="4323"/>
                  </a:cubicBezTo>
                  <a:cubicBezTo>
                    <a:pt x="2644" y="4323"/>
                    <a:pt x="2652" y="4323"/>
                    <a:pt x="2659" y="4323"/>
                  </a:cubicBezTo>
                  <a:cubicBezTo>
                    <a:pt x="2674" y="4323"/>
                    <a:pt x="2689" y="4323"/>
                    <a:pt x="2703" y="4337"/>
                  </a:cubicBezTo>
                  <a:cubicBezTo>
                    <a:pt x="2718" y="4352"/>
                    <a:pt x="2718" y="4403"/>
                    <a:pt x="2711" y="4432"/>
                  </a:cubicBezTo>
                  <a:cubicBezTo>
                    <a:pt x="2696" y="4462"/>
                    <a:pt x="2689" y="4513"/>
                    <a:pt x="2725" y="4550"/>
                  </a:cubicBezTo>
                  <a:cubicBezTo>
                    <a:pt x="2762" y="4594"/>
                    <a:pt x="2799" y="4608"/>
                    <a:pt x="2828" y="4608"/>
                  </a:cubicBezTo>
                  <a:cubicBezTo>
                    <a:pt x="2850" y="4608"/>
                    <a:pt x="2864" y="4601"/>
                    <a:pt x="2879" y="4586"/>
                  </a:cubicBezTo>
                  <a:cubicBezTo>
                    <a:pt x="2886" y="4586"/>
                    <a:pt x="2886" y="4586"/>
                    <a:pt x="2886" y="4586"/>
                  </a:cubicBezTo>
                  <a:cubicBezTo>
                    <a:pt x="2886" y="4586"/>
                    <a:pt x="2886" y="4586"/>
                    <a:pt x="2894" y="4586"/>
                  </a:cubicBezTo>
                  <a:cubicBezTo>
                    <a:pt x="2901" y="4594"/>
                    <a:pt x="2916" y="4608"/>
                    <a:pt x="2938" y="4608"/>
                  </a:cubicBezTo>
                  <a:cubicBezTo>
                    <a:pt x="2945" y="4608"/>
                    <a:pt x="2945" y="4608"/>
                    <a:pt x="2952" y="4608"/>
                  </a:cubicBezTo>
                  <a:cubicBezTo>
                    <a:pt x="2960" y="4608"/>
                    <a:pt x="2960" y="4608"/>
                    <a:pt x="2967" y="4608"/>
                  </a:cubicBezTo>
                  <a:cubicBezTo>
                    <a:pt x="2974" y="4608"/>
                    <a:pt x="3004" y="4608"/>
                    <a:pt x="3026" y="4586"/>
                  </a:cubicBezTo>
                  <a:cubicBezTo>
                    <a:pt x="3048" y="4564"/>
                    <a:pt x="3055" y="4520"/>
                    <a:pt x="3048" y="4462"/>
                  </a:cubicBezTo>
                  <a:cubicBezTo>
                    <a:pt x="3048" y="4410"/>
                    <a:pt x="3048" y="4366"/>
                    <a:pt x="3048" y="4323"/>
                  </a:cubicBezTo>
                  <a:cubicBezTo>
                    <a:pt x="3055" y="4249"/>
                    <a:pt x="3055" y="4191"/>
                    <a:pt x="3026" y="4132"/>
                  </a:cubicBezTo>
                  <a:cubicBezTo>
                    <a:pt x="2989" y="4073"/>
                    <a:pt x="2974" y="3985"/>
                    <a:pt x="2974" y="3941"/>
                  </a:cubicBezTo>
                  <a:cubicBezTo>
                    <a:pt x="2989" y="3934"/>
                    <a:pt x="3018" y="3912"/>
                    <a:pt x="3055" y="3890"/>
                  </a:cubicBezTo>
                  <a:cubicBezTo>
                    <a:pt x="3121" y="3854"/>
                    <a:pt x="3158" y="3824"/>
                    <a:pt x="3172" y="3780"/>
                  </a:cubicBezTo>
                  <a:cubicBezTo>
                    <a:pt x="3172" y="3780"/>
                    <a:pt x="3180" y="3780"/>
                    <a:pt x="3201" y="3780"/>
                  </a:cubicBezTo>
                  <a:cubicBezTo>
                    <a:pt x="3216" y="3780"/>
                    <a:pt x="3223" y="3780"/>
                    <a:pt x="3231" y="3780"/>
                  </a:cubicBezTo>
                  <a:cubicBezTo>
                    <a:pt x="3245" y="3780"/>
                    <a:pt x="3260" y="3780"/>
                    <a:pt x="3267" y="3780"/>
                  </a:cubicBezTo>
                  <a:cubicBezTo>
                    <a:pt x="3275" y="3780"/>
                    <a:pt x="3275" y="3780"/>
                    <a:pt x="3275" y="3788"/>
                  </a:cubicBezTo>
                  <a:cubicBezTo>
                    <a:pt x="3297" y="3802"/>
                    <a:pt x="3289" y="3854"/>
                    <a:pt x="3282" y="3876"/>
                  </a:cubicBezTo>
                  <a:cubicBezTo>
                    <a:pt x="3275" y="3905"/>
                    <a:pt x="3282" y="3956"/>
                    <a:pt x="3304" y="3993"/>
                  </a:cubicBezTo>
                  <a:cubicBezTo>
                    <a:pt x="3326" y="4029"/>
                    <a:pt x="3348" y="4044"/>
                    <a:pt x="3377" y="4051"/>
                  </a:cubicBezTo>
                  <a:cubicBezTo>
                    <a:pt x="3414" y="4059"/>
                    <a:pt x="3421" y="4073"/>
                    <a:pt x="3436" y="4117"/>
                  </a:cubicBezTo>
                  <a:cubicBezTo>
                    <a:pt x="3443" y="4161"/>
                    <a:pt x="3480" y="4249"/>
                    <a:pt x="3546" y="4249"/>
                  </a:cubicBezTo>
                  <a:cubicBezTo>
                    <a:pt x="3561" y="4249"/>
                    <a:pt x="3575" y="4242"/>
                    <a:pt x="3597" y="4227"/>
                  </a:cubicBezTo>
                  <a:cubicBezTo>
                    <a:pt x="3619" y="4205"/>
                    <a:pt x="3634" y="4183"/>
                    <a:pt x="3649" y="4169"/>
                  </a:cubicBezTo>
                  <a:cubicBezTo>
                    <a:pt x="3656" y="4154"/>
                    <a:pt x="3670" y="4139"/>
                    <a:pt x="3670" y="4139"/>
                  </a:cubicBezTo>
                  <a:cubicBezTo>
                    <a:pt x="3670" y="4139"/>
                    <a:pt x="3670" y="4139"/>
                    <a:pt x="3678" y="4139"/>
                  </a:cubicBezTo>
                  <a:cubicBezTo>
                    <a:pt x="3685" y="4147"/>
                    <a:pt x="3692" y="4154"/>
                    <a:pt x="3700" y="4161"/>
                  </a:cubicBezTo>
                  <a:cubicBezTo>
                    <a:pt x="3722" y="4176"/>
                    <a:pt x="3744" y="4198"/>
                    <a:pt x="3773" y="4198"/>
                  </a:cubicBezTo>
                  <a:cubicBezTo>
                    <a:pt x="3795" y="4198"/>
                    <a:pt x="3810" y="4191"/>
                    <a:pt x="3824" y="4183"/>
                  </a:cubicBezTo>
                  <a:cubicBezTo>
                    <a:pt x="3898" y="4147"/>
                    <a:pt x="4008" y="4110"/>
                    <a:pt x="4066" y="4110"/>
                  </a:cubicBezTo>
                  <a:lnTo>
                    <a:pt x="4073" y="4110"/>
                  </a:lnTo>
                  <a:cubicBezTo>
                    <a:pt x="4088" y="4139"/>
                    <a:pt x="4110" y="4139"/>
                    <a:pt x="4154" y="4139"/>
                  </a:cubicBezTo>
                  <a:cubicBezTo>
                    <a:pt x="4242" y="4139"/>
                    <a:pt x="4264" y="4139"/>
                    <a:pt x="4330" y="4103"/>
                  </a:cubicBezTo>
                  <a:cubicBezTo>
                    <a:pt x="4344" y="4095"/>
                    <a:pt x="4366" y="4088"/>
                    <a:pt x="4389" y="4081"/>
                  </a:cubicBezTo>
                  <a:cubicBezTo>
                    <a:pt x="4396" y="4022"/>
                    <a:pt x="4396" y="4022"/>
                    <a:pt x="4396" y="4022"/>
                  </a:cubicBezTo>
                  <a:cubicBezTo>
                    <a:pt x="4352" y="4015"/>
                    <a:pt x="4330" y="4000"/>
                    <a:pt x="4315" y="3993"/>
                  </a:cubicBezTo>
                  <a:cubicBezTo>
                    <a:pt x="4337" y="3956"/>
                    <a:pt x="4344" y="3949"/>
                    <a:pt x="4396" y="3919"/>
                  </a:cubicBezTo>
                  <a:cubicBezTo>
                    <a:pt x="4469" y="3883"/>
                    <a:pt x="4484" y="3846"/>
                    <a:pt x="4462" y="3773"/>
                  </a:cubicBezTo>
                  <a:cubicBezTo>
                    <a:pt x="4447" y="3722"/>
                    <a:pt x="4411" y="3670"/>
                    <a:pt x="4366" y="3670"/>
                  </a:cubicBezTo>
                  <a:cubicBezTo>
                    <a:pt x="4352" y="3670"/>
                    <a:pt x="4337" y="3678"/>
                    <a:pt x="4330" y="3685"/>
                  </a:cubicBezTo>
                  <a:cubicBezTo>
                    <a:pt x="4323" y="3692"/>
                    <a:pt x="4315" y="3692"/>
                    <a:pt x="4315" y="3700"/>
                  </a:cubicBezTo>
                  <a:cubicBezTo>
                    <a:pt x="4315" y="3692"/>
                    <a:pt x="4308" y="3692"/>
                    <a:pt x="4308" y="3692"/>
                  </a:cubicBezTo>
                  <a:cubicBezTo>
                    <a:pt x="4293" y="3648"/>
                    <a:pt x="4301" y="3634"/>
                    <a:pt x="4301" y="3634"/>
                  </a:cubicBezTo>
                  <a:cubicBezTo>
                    <a:pt x="4301" y="3634"/>
                    <a:pt x="4308" y="3626"/>
                    <a:pt x="4315" y="3626"/>
                  </a:cubicBezTo>
                  <a:cubicBezTo>
                    <a:pt x="4366" y="3612"/>
                    <a:pt x="4381" y="3568"/>
                    <a:pt x="4403" y="3524"/>
                  </a:cubicBezTo>
                  <a:cubicBezTo>
                    <a:pt x="4403" y="3509"/>
                    <a:pt x="4403" y="3509"/>
                    <a:pt x="4403" y="3509"/>
                  </a:cubicBezTo>
                  <a:cubicBezTo>
                    <a:pt x="4418" y="3473"/>
                    <a:pt x="4425" y="3473"/>
                    <a:pt x="4462" y="3450"/>
                  </a:cubicBezTo>
                  <a:cubicBezTo>
                    <a:pt x="4469" y="3443"/>
                    <a:pt x="4469" y="3443"/>
                    <a:pt x="4469" y="3443"/>
                  </a:cubicBezTo>
                  <a:cubicBezTo>
                    <a:pt x="4476" y="3436"/>
                    <a:pt x="4484" y="3436"/>
                    <a:pt x="4491" y="3428"/>
                  </a:cubicBezTo>
                  <a:cubicBezTo>
                    <a:pt x="4506" y="3421"/>
                    <a:pt x="4513" y="3414"/>
                    <a:pt x="4528" y="3407"/>
                  </a:cubicBezTo>
                  <a:cubicBezTo>
                    <a:pt x="4528" y="3428"/>
                    <a:pt x="4542" y="3458"/>
                    <a:pt x="4557" y="3473"/>
                  </a:cubicBezTo>
                  <a:cubicBezTo>
                    <a:pt x="4550" y="3495"/>
                    <a:pt x="4542" y="3524"/>
                    <a:pt x="4550" y="3546"/>
                  </a:cubicBezTo>
                  <a:cubicBezTo>
                    <a:pt x="4557" y="3575"/>
                    <a:pt x="4594" y="3626"/>
                    <a:pt x="4645" y="3626"/>
                  </a:cubicBezTo>
                  <a:cubicBezTo>
                    <a:pt x="4667" y="3626"/>
                    <a:pt x="4689" y="3619"/>
                    <a:pt x="4704" y="3604"/>
                  </a:cubicBezTo>
                  <a:cubicBezTo>
                    <a:pt x="4718" y="3582"/>
                    <a:pt x="4725" y="3568"/>
                    <a:pt x="4733" y="3553"/>
                  </a:cubicBezTo>
                  <a:cubicBezTo>
                    <a:pt x="4740" y="3560"/>
                    <a:pt x="4755" y="3568"/>
                    <a:pt x="4770" y="3568"/>
                  </a:cubicBezTo>
                  <a:cubicBezTo>
                    <a:pt x="4777" y="3568"/>
                    <a:pt x="4784" y="3568"/>
                    <a:pt x="4799" y="3568"/>
                  </a:cubicBezTo>
                  <a:cubicBezTo>
                    <a:pt x="4880" y="3524"/>
                    <a:pt x="4857" y="3465"/>
                    <a:pt x="4850" y="3443"/>
                  </a:cubicBezTo>
                  <a:cubicBezTo>
                    <a:pt x="4850" y="3443"/>
                    <a:pt x="4843" y="3436"/>
                    <a:pt x="4843" y="3428"/>
                  </a:cubicBezTo>
                  <a:cubicBezTo>
                    <a:pt x="4850" y="3428"/>
                    <a:pt x="4850" y="3421"/>
                    <a:pt x="4857" y="3414"/>
                  </a:cubicBezTo>
                  <a:cubicBezTo>
                    <a:pt x="4865" y="3407"/>
                    <a:pt x="4865" y="3392"/>
                    <a:pt x="4872" y="3385"/>
                  </a:cubicBezTo>
                  <a:cubicBezTo>
                    <a:pt x="4916" y="3377"/>
                    <a:pt x="4953" y="3363"/>
                    <a:pt x="4967" y="3348"/>
                  </a:cubicBezTo>
                  <a:cubicBezTo>
                    <a:pt x="4982" y="3348"/>
                    <a:pt x="4989" y="3348"/>
                    <a:pt x="5004" y="3348"/>
                  </a:cubicBezTo>
                  <a:cubicBezTo>
                    <a:pt x="5019" y="3348"/>
                    <a:pt x="5033" y="3348"/>
                    <a:pt x="5048" y="3348"/>
                  </a:cubicBezTo>
                  <a:cubicBezTo>
                    <a:pt x="5085" y="3333"/>
                    <a:pt x="5092" y="3319"/>
                    <a:pt x="5107" y="3304"/>
                  </a:cubicBezTo>
                  <a:cubicBezTo>
                    <a:pt x="5107" y="3297"/>
                    <a:pt x="5114" y="3297"/>
                    <a:pt x="5114" y="3289"/>
                  </a:cubicBezTo>
                  <a:cubicBezTo>
                    <a:pt x="5121" y="3275"/>
                    <a:pt x="5129" y="3275"/>
                    <a:pt x="5143" y="3267"/>
                  </a:cubicBezTo>
                  <a:cubicBezTo>
                    <a:pt x="5151" y="3267"/>
                    <a:pt x="5158" y="3260"/>
                    <a:pt x="5158" y="3260"/>
                  </a:cubicBezTo>
                  <a:cubicBezTo>
                    <a:pt x="5194" y="3238"/>
                    <a:pt x="5216" y="3194"/>
                    <a:pt x="5216" y="3157"/>
                  </a:cubicBezTo>
                  <a:cubicBezTo>
                    <a:pt x="5209" y="3128"/>
                    <a:pt x="5187" y="3106"/>
                    <a:pt x="5151" y="3099"/>
                  </a:cubicBezTo>
                  <a:cubicBezTo>
                    <a:pt x="5092" y="3091"/>
                    <a:pt x="5085" y="3077"/>
                    <a:pt x="5085" y="3062"/>
                  </a:cubicBezTo>
                  <a:cubicBezTo>
                    <a:pt x="5085" y="3055"/>
                    <a:pt x="5085" y="3055"/>
                    <a:pt x="5085" y="3055"/>
                  </a:cubicBezTo>
                  <a:cubicBezTo>
                    <a:pt x="5085" y="3055"/>
                    <a:pt x="5085" y="3055"/>
                    <a:pt x="5085" y="3047"/>
                  </a:cubicBezTo>
                  <a:cubicBezTo>
                    <a:pt x="5092" y="3040"/>
                    <a:pt x="5107" y="3033"/>
                    <a:pt x="5107" y="3011"/>
                  </a:cubicBezTo>
                  <a:cubicBezTo>
                    <a:pt x="5114" y="2982"/>
                    <a:pt x="5114" y="2952"/>
                    <a:pt x="5099" y="2938"/>
                  </a:cubicBezTo>
                  <a:cubicBezTo>
                    <a:pt x="5085" y="2923"/>
                    <a:pt x="5077" y="2916"/>
                    <a:pt x="5063" y="2916"/>
                  </a:cubicBezTo>
                  <a:cubicBezTo>
                    <a:pt x="5048" y="2916"/>
                    <a:pt x="5041" y="2916"/>
                    <a:pt x="5026" y="2923"/>
                  </a:cubicBezTo>
                  <a:cubicBezTo>
                    <a:pt x="5026" y="2930"/>
                    <a:pt x="5019" y="2930"/>
                    <a:pt x="5019" y="2938"/>
                  </a:cubicBezTo>
                  <a:cubicBezTo>
                    <a:pt x="5011" y="2938"/>
                    <a:pt x="5011" y="2938"/>
                    <a:pt x="5004" y="2945"/>
                  </a:cubicBezTo>
                  <a:cubicBezTo>
                    <a:pt x="5004" y="2930"/>
                    <a:pt x="5011" y="2916"/>
                    <a:pt x="5019" y="2908"/>
                  </a:cubicBezTo>
                  <a:cubicBezTo>
                    <a:pt x="5026" y="2908"/>
                    <a:pt x="5033" y="2908"/>
                    <a:pt x="5041" y="2908"/>
                  </a:cubicBezTo>
                  <a:cubicBezTo>
                    <a:pt x="5063" y="2901"/>
                    <a:pt x="5099" y="2901"/>
                    <a:pt x="5121" y="2857"/>
                  </a:cubicBezTo>
                  <a:cubicBezTo>
                    <a:pt x="5136" y="2842"/>
                    <a:pt x="5143" y="2813"/>
                    <a:pt x="5136" y="2798"/>
                  </a:cubicBezTo>
                  <a:cubicBezTo>
                    <a:pt x="5121" y="2769"/>
                    <a:pt x="5099" y="2769"/>
                    <a:pt x="5070" y="2762"/>
                  </a:cubicBezTo>
                  <a:cubicBezTo>
                    <a:pt x="5063" y="2762"/>
                    <a:pt x="5063" y="2762"/>
                    <a:pt x="5063" y="2762"/>
                  </a:cubicBezTo>
                  <a:cubicBezTo>
                    <a:pt x="5055" y="2754"/>
                    <a:pt x="5048" y="2754"/>
                    <a:pt x="5041" y="2754"/>
                  </a:cubicBezTo>
                  <a:cubicBezTo>
                    <a:pt x="5070" y="2740"/>
                    <a:pt x="5077" y="2732"/>
                    <a:pt x="5092" y="2710"/>
                  </a:cubicBezTo>
                  <a:cubicBezTo>
                    <a:pt x="5099" y="2710"/>
                    <a:pt x="5099" y="2703"/>
                    <a:pt x="5107" y="2696"/>
                  </a:cubicBezTo>
                  <a:cubicBezTo>
                    <a:pt x="5107" y="2688"/>
                    <a:pt x="5114" y="2688"/>
                    <a:pt x="5121" y="2688"/>
                  </a:cubicBezTo>
                  <a:cubicBezTo>
                    <a:pt x="5129" y="2688"/>
                    <a:pt x="5136" y="2688"/>
                    <a:pt x="5151" y="2696"/>
                  </a:cubicBezTo>
                  <a:cubicBezTo>
                    <a:pt x="5158" y="2696"/>
                    <a:pt x="5158" y="2696"/>
                    <a:pt x="5165" y="2696"/>
                  </a:cubicBezTo>
                  <a:cubicBezTo>
                    <a:pt x="5173" y="2703"/>
                    <a:pt x="5180" y="2703"/>
                    <a:pt x="5187" y="2703"/>
                  </a:cubicBezTo>
                  <a:cubicBezTo>
                    <a:pt x="5231" y="2703"/>
                    <a:pt x="5239" y="2666"/>
                    <a:pt x="5246" y="2645"/>
                  </a:cubicBezTo>
                  <a:cubicBezTo>
                    <a:pt x="5246" y="2637"/>
                    <a:pt x="5246" y="2637"/>
                    <a:pt x="5246" y="2637"/>
                  </a:cubicBezTo>
                  <a:cubicBezTo>
                    <a:pt x="5246" y="2630"/>
                    <a:pt x="5261" y="2630"/>
                    <a:pt x="5268" y="2623"/>
                  </a:cubicBezTo>
                  <a:cubicBezTo>
                    <a:pt x="5282" y="2623"/>
                    <a:pt x="5297" y="2623"/>
                    <a:pt x="5312" y="2615"/>
                  </a:cubicBezTo>
                  <a:cubicBezTo>
                    <a:pt x="5319" y="2608"/>
                    <a:pt x="5326" y="2608"/>
                    <a:pt x="5334" y="2600"/>
                  </a:cubicBezTo>
                  <a:cubicBezTo>
                    <a:pt x="5341" y="2637"/>
                    <a:pt x="5356" y="2652"/>
                    <a:pt x="5378" y="2652"/>
                  </a:cubicBezTo>
                  <a:cubicBezTo>
                    <a:pt x="5385" y="2652"/>
                    <a:pt x="5385" y="2652"/>
                    <a:pt x="5385" y="2652"/>
                  </a:cubicBezTo>
                  <a:cubicBezTo>
                    <a:pt x="5392" y="2645"/>
                    <a:pt x="5392" y="2645"/>
                    <a:pt x="5392" y="2645"/>
                  </a:cubicBezTo>
                  <a:cubicBezTo>
                    <a:pt x="5414" y="2637"/>
                    <a:pt x="5414" y="2608"/>
                    <a:pt x="5422" y="2586"/>
                  </a:cubicBezTo>
                  <a:cubicBezTo>
                    <a:pt x="5422" y="2564"/>
                    <a:pt x="5429" y="2542"/>
                    <a:pt x="5436" y="2527"/>
                  </a:cubicBezTo>
                  <a:cubicBezTo>
                    <a:pt x="5444" y="2513"/>
                    <a:pt x="5451" y="2505"/>
                    <a:pt x="5451" y="2491"/>
                  </a:cubicBezTo>
                  <a:cubicBezTo>
                    <a:pt x="5473" y="2461"/>
                    <a:pt x="5480" y="2439"/>
                    <a:pt x="5517" y="2425"/>
                  </a:cubicBezTo>
                  <a:cubicBezTo>
                    <a:pt x="5524" y="2425"/>
                    <a:pt x="5539" y="2417"/>
                    <a:pt x="5575" y="2417"/>
                  </a:cubicBezTo>
                  <a:cubicBezTo>
                    <a:pt x="5598" y="2417"/>
                    <a:pt x="5620" y="2417"/>
                    <a:pt x="5649" y="2425"/>
                  </a:cubicBezTo>
                  <a:cubicBezTo>
                    <a:pt x="5678" y="2425"/>
                    <a:pt x="5700" y="2425"/>
                    <a:pt x="5722" y="2425"/>
                  </a:cubicBezTo>
                  <a:cubicBezTo>
                    <a:pt x="5773" y="2425"/>
                    <a:pt x="5803" y="2417"/>
                    <a:pt x="5825" y="2403"/>
                  </a:cubicBezTo>
                  <a:cubicBezTo>
                    <a:pt x="5876" y="2366"/>
                    <a:pt x="5869" y="2337"/>
                    <a:pt x="5854" y="2285"/>
                  </a:cubicBezTo>
                  <a:cubicBezTo>
                    <a:pt x="5847" y="2264"/>
                    <a:pt x="5847" y="2264"/>
                    <a:pt x="5847" y="2264"/>
                  </a:cubicBezTo>
                  <a:cubicBezTo>
                    <a:pt x="5832" y="2205"/>
                    <a:pt x="5817" y="2176"/>
                    <a:pt x="5810" y="2139"/>
                  </a:cubicBezTo>
                  <a:cubicBezTo>
                    <a:pt x="5803" y="2132"/>
                    <a:pt x="5803" y="2124"/>
                    <a:pt x="5795" y="2117"/>
                  </a:cubicBezTo>
                  <a:cubicBezTo>
                    <a:pt x="5795" y="2109"/>
                    <a:pt x="5788" y="2102"/>
                    <a:pt x="5788" y="2095"/>
                  </a:cubicBezTo>
                  <a:cubicBezTo>
                    <a:pt x="5781" y="2066"/>
                    <a:pt x="5766" y="2029"/>
                    <a:pt x="5730" y="2029"/>
                  </a:cubicBezTo>
                  <a:cubicBezTo>
                    <a:pt x="5722" y="2029"/>
                    <a:pt x="5707" y="2036"/>
                    <a:pt x="5700" y="2036"/>
                  </a:cubicBezTo>
                  <a:cubicBezTo>
                    <a:pt x="5693" y="2036"/>
                    <a:pt x="5693" y="2036"/>
                    <a:pt x="5693" y="2036"/>
                  </a:cubicBezTo>
                  <a:cubicBezTo>
                    <a:pt x="5685" y="2044"/>
                    <a:pt x="5685" y="2044"/>
                    <a:pt x="5678" y="2044"/>
                  </a:cubicBezTo>
                  <a:lnTo>
                    <a:pt x="5678" y="2044"/>
                  </a:lnTo>
                  <a:cubicBezTo>
                    <a:pt x="5671" y="2044"/>
                    <a:pt x="5656" y="2036"/>
                    <a:pt x="5634" y="2029"/>
                  </a:cubicBezTo>
                  <a:cubicBezTo>
                    <a:pt x="5605" y="2022"/>
                    <a:pt x="5605" y="2014"/>
                    <a:pt x="5598" y="1985"/>
                  </a:cubicBezTo>
                  <a:cubicBezTo>
                    <a:pt x="5598" y="1970"/>
                    <a:pt x="5590" y="1948"/>
                    <a:pt x="5583" y="1926"/>
                  </a:cubicBezTo>
                  <a:cubicBezTo>
                    <a:pt x="5554" y="1860"/>
                    <a:pt x="5524" y="1838"/>
                    <a:pt x="5466" y="1824"/>
                  </a:cubicBezTo>
                  <a:cubicBezTo>
                    <a:pt x="5458" y="1824"/>
                    <a:pt x="5458" y="1816"/>
                    <a:pt x="5451" y="1809"/>
                  </a:cubicBezTo>
                  <a:cubicBezTo>
                    <a:pt x="5444" y="1802"/>
                    <a:pt x="5429" y="1780"/>
                    <a:pt x="5400" y="1780"/>
                  </a:cubicBezTo>
                  <a:cubicBezTo>
                    <a:pt x="5385" y="1780"/>
                    <a:pt x="5378" y="1787"/>
                    <a:pt x="5370" y="1787"/>
                  </a:cubicBezTo>
                  <a:cubicBezTo>
                    <a:pt x="5363" y="1787"/>
                    <a:pt x="5348" y="1795"/>
                    <a:pt x="5312" y="1795"/>
                  </a:cubicBezTo>
                  <a:cubicBezTo>
                    <a:pt x="5297" y="1802"/>
                    <a:pt x="5282" y="1802"/>
                    <a:pt x="5275" y="1802"/>
                  </a:cubicBezTo>
                  <a:cubicBezTo>
                    <a:pt x="5239" y="1802"/>
                    <a:pt x="5209" y="1795"/>
                    <a:pt x="5194" y="1773"/>
                  </a:cubicBezTo>
                  <a:cubicBezTo>
                    <a:pt x="5173" y="1743"/>
                    <a:pt x="5143" y="1728"/>
                    <a:pt x="5099" y="1728"/>
                  </a:cubicBezTo>
                  <a:cubicBezTo>
                    <a:pt x="5085" y="1728"/>
                    <a:pt x="5077" y="1728"/>
                    <a:pt x="5055" y="1728"/>
                  </a:cubicBezTo>
                  <a:lnTo>
                    <a:pt x="5055" y="1728"/>
                  </a:lnTo>
                  <a:cubicBezTo>
                    <a:pt x="5048" y="1736"/>
                    <a:pt x="5048" y="1736"/>
                    <a:pt x="5048" y="1736"/>
                  </a:cubicBezTo>
                  <a:cubicBezTo>
                    <a:pt x="5041" y="1736"/>
                    <a:pt x="5041" y="1736"/>
                    <a:pt x="5041" y="1736"/>
                  </a:cubicBezTo>
                  <a:cubicBezTo>
                    <a:pt x="5033" y="1743"/>
                    <a:pt x="5033" y="1743"/>
                    <a:pt x="5033" y="1743"/>
                  </a:cubicBezTo>
                  <a:cubicBezTo>
                    <a:pt x="5019" y="1780"/>
                    <a:pt x="4997" y="1809"/>
                    <a:pt x="4982" y="1824"/>
                  </a:cubicBezTo>
                  <a:cubicBezTo>
                    <a:pt x="4953" y="1868"/>
                    <a:pt x="4967" y="1912"/>
                    <a:pt x="4975" y="1948"/>
                  </a:cubicBezTo>
                  <a:cubicBezTo>
                    <a:pt x="4982" y="1956"/>
                    <a:pt x="4982" y="1956"/>
                    <a:pt x="4982" y="1956"/>
                  </a:cubicBezTo>
                  <a:cubicBezTo>
                    <a:pt x="4989" y="1985"/>
                    <a:pt x="5011" y="2000"/>
                    <a:pt x="5033" y="2007"/>
                  </a:cubicBezTo>
                  <a:lnTo>
                    <a:pt x="5048" y="2014"/>
                  </a:lnTo>
                  <a:cubicBezTo>
                    <a:pt x="5048" y="2036"/>
                    <a:pt x="5033" y="2058"/>
                    <a:pt x="5004" y="2080"/>
                  </a:cubicBezTo>
                  <a:cubicBezTo>
                    <a:pt x="4975" y="2109"/>
                    <a:pt x="4967" y="2124"/>
                    <a:pt x="4953" y="2154"/>
                  </a:cubicBezTo>
                  <a:cubicBezTo>
                    <a:pt x="4945" y="2168"/>
                    <a:pt x="4945" y="2168"/>
                    <a:pt x="4945" y="2168"/>
                  </a:cubicBezTo>
                  <a:cubicBezTo>
                    <a:pt x="4938" y="2190"/>
                    <a:pt x="4938" y="2205"/>
                    <a:pt x="4938" y="2212"/>
                  </a:cubicBezTo>
                  <a:lnTo>
                    <a:pt x="4938" y="2219"/>
                  </a:lnTo>
                  <a:lnTo>
                    <a:pt x="4938" y="2219"/>
                  </a:lnTo>
                  <a:cubicBezTo>
                    <a:pt x="4938" y="2219"/>
                    <a:pt x="4931" y="2219"/>
                    <a:pt x="4923" y="2227"/>
                  </a:cubicBezTo>
                  <a:lnTo>
                    <a:pt x="4923" y="2227"/>
                  </a:lnTo>
                  <a:cubicBezTo>
                    <a:pt x="4923" y="2227"/>
                    <a:pt x="4916" y="2219"/>
                    <a:pt x="4909" y="2197"/>
                  </a:cubicBezTo>
                  <a:cubicBezTo>
                    <a:pt x="4901" y="2168"/>
                    <a:pt x="4872" y="2139"/>
                    <a:pt x="4835" y="2139"/>
                  </a:cubicBezTo>
                  <a:cubicBezTo>
                    <a:pt x="4806" y="2139"/>
                    <a:pt x="4784" y="2161"/>
                    <a:pt x="4770" y="2183"/>
                  </a:cubicBezTo>
                  <a:cubicBezTo>
                    <a:pt x="4770" y="2183"/>
                    <a:pt x="4762" y="2190"/>
                    <a:pt x="4755" y="2197"/>
                  </a:cubicBezTo>
                  <a:cubicBezTo>
                    <a:pt x="4755" y="2190"/>
                    <a:pt x="4748" y="2183"/>
                    <a:pt x="4733" y="2161"/>
                  </a:cubicBezTo>
                  <a:cubicBezTo>
                    <a:pt x="4718" y="2139"/>
                    <a:pt x="4696" y="2132"/>
                    <a:pt x="4674" y="2132"/>
                  </a:cubicBezTo>
                  <a:cubicBezTo>
                    <a:pt x="4652" y="2132"/>
                    <a:pt x="4623" y="2139"/>
                    <a:pt x="4594" y="2154"/>
                  </a:cubicBezTo>
                  <a:cubicBezTo>
                    <a:pt x="4586" y="2161"/>
                    <a:pt x="4579" y="2161"/>
                    <a:pt x="4572" y="2161"/>
                  </a:cubicBezTo>
                  <a:cubicBezTo>
                    <a:pt x="4564" y="2161"/>
                    <a:pt x="4557" y="2161"/>
                    <a:pt x="4542" y="2154"/>
                  </a:cubicBezTo>
                  <a:cubicBezTo>
                    <a:pt x="4535" y="2154"/>
                    <a:pt x="4520" y="2154"/>
                    <a:pt x="4506" y="2146"/>
                  </a:cubicBezTo>
                  <a:cubicBezTo>
                    <a:pt x="4484" y="2146"/>
                    <a:pt x="4462" y="2102"/>
                    <a:pt x="4447" y="2073"/>
                  </a:cubicBezTo>
                  <a:cubicBezTo>
                    <a:pt x="4447" y="2066"/>
                    <a:pt x="4447" y="2066"/>
                    <a:pt x="4447" y="2066"/>
                  </a:cubicBezTo>
                  <a:cubicBezTo>
                    <a:pt x="4425" y="2014"/>
                    <a:pt x="4389" y="1992"/>
                    <a:pt x="4330" y="1992"/>
                  </a:cubicBezTo>
                  <a:cubicBezTo>
                    <a:pt x="4308" y="1992"/>
                    <a:pt x="4293" y="1963"/>
                    <a:pt x="4271" y="1941"/>
                  </a:cubicBezTo>
                  <a:cubicBezTo>
                    <a:pt x="4264" y="1926"/>
                    <a:pt x="4249" y="1912"/>
                    <a:pt x="4242" y="1897"/>
                  </a:cubicBezTo>
                  <a:cubicBezTo>
                    <a:pt x="4227" y="1890"/>
                    <a:pt x="4213" y="1882"/>
                    <a:pt x="4198" y="1882"/>
                  </a:cubicBezTo>
                  <a:cubicBezTo>
                    <a:pt x="4169" y="1882"/>
                    <a:pt x="4147" y="1904"/>
                    <a:pt x="4125" y="1912"/>
                  </a:cubicBezTo>
                  <a:cubicBezTo>
                    <a:pt x="4125" y="1919"/>
                    <a:pt x="4117" y="1919"/>
                    <a:pt x="4117" y="1919"/>
                  </a:cubicBezTo>
                  <a:cubicBezTo>
                    <a:pt x="4103" y="1926"/>
                    <a:pt x="4059" y="1926"/>
                    <a:pt x="4030" y="1934"/>
                  </a:cubicBezTo>
                  <a:cubicBezTo>
                    <a:pt x="4008" y="1934"/>
                    <a:pt x="3985" y="1934"/>
                    <a:pt x="3971" y="1934"/>
                  </a:cubicBezTo>
                  <a:cubicBezTo>
                    <a:pt x="3963" y="1934"/>
                    <a:pt x="3963" y="1934"/>
                    <a:pt x="3963" y="1934"/>
                  </a:cubicBezTo>
                  <a:cubicBezTo>
                    <a:pt x="3956" y="1934"/>
                    <a:pt x="3956" y="1934"/>
                    <a:pt x="3949" y="1926"/>
                  </a:cubicBezTo>
                  <a:cubicBezTo>
                    <a:pt x="3942" y="1912"/>
                    <a:pt x="3934" y="1897"/>
                    <a:pt x="3905" y="1890"/>
                  </a:cubicBezTo>
                  <a:cubicBezTo>
                    <a:pt x="3890" y="1882"/>
                    <a:pt x="3868" y="1860"/>
                    <a:pt x="3846" y="1831"/>
                  </a:cubicBezTo>
                  <a:cubicBezTo>
                    <a:pt x="3839" y="1824"/>
                    <a:pt x="3832" y="1816"/>
                    <a:pt x="3832" y="1809"/>
                  </a:cubicBezTo>
                  <a:cubicBezTo>
                    <a:pt x="3817" y="1780"/>
                    <a:pt x="3802" y="1743"/>
                    <a:pt x="3773" y="1743"/>
                  </a:cubicBezTo>
                  <a:cubicBezTo>
                    <a:pt x="3766" y="1743"/>
                    <a:pt x="3766" y="1743"/>
                    <a:pt x="3758" y="1750"/>
                  </a:cubicBezTo>
                  <a:cubicBezTo>
                    <a:pt x="3736" y="1750"/>
                    <a:pt x="3700" y="1758"/>
                    <a:pt x="3670" y="1758"/>
                  </a:cubicBezTo>
                  <a:cubicBezTo>
                    <a:pt x="3663" y="1758"/>
                    <a:pt x="3656" y="1750"/>
                    <a:pt x="3649" y="1743"/>
                  </a:cubicBezTo>
                  <a:cubicBezTo>
                    <a:pt x="3634" y="1736"/>
                    <a:pt x="3612" y="1721"/>
                    <a:pt x="3590" y="1721"/>
                  </a:cubicBezTo>
                  <a:cubicBezTo>
                    <a:pt x="3553" y="1721"/>
                    <a:pt x="3494" y="1736"/>
                    <a:pt x="3443" y="1750"/>
                  </a:cubicBezTo>
                  <a:cubicBezTo>
                    <a:pt x="3436" y="1758"/>
                    <a:pt x="3436" y="1758"/>
                    <a:pt x="3436" y="1758"/>
                  </a:cubicBezTo>
                  <a:cubicBezTo>
                    <a:pt x="3421" y="1758"/>
                    <a:pt x="3392" y="1743"/>
                    <a:pt x="3363" y="1721"/>
                  </a:cubicBezTo>
                  <a:cubicBezTo>
                    <a:pt x="3341" y="1707"/>
                    <a:pt x="3333" y="1692"/>
                    <a:pt x="3326" y="1670"/>
                  </a:cubicBezTo>
                  <a:cubicBezTo>
                    <a:pt x="3326" y="1663"/>
                    <a:pt x="3341" y="1655"/>
                    <a:pt x="3348" y="1655"/>
                  </a:cubicBezTo>
                  <a:cubicBezTo>
                    <a:pt x="3355" y="1648"/>
                    <a:pt x="3363" y="1641"/>
                    <a:pt x="3370" y="1634"/>
                  </a:cubicBezTo>
                  <a:cubicBezTo>
                    <a:pt x="3414" y="1605"/>
                    <a:pt x="3392" y="1554"/>
                    <a:pt x="3377" y="1524"/>
                  </a:cubicBezTo>
                  <a:cubicBezTo>
                    <a:pt x="3370" y="1517"/>
                    <a:pt x="3370" y="1510"/>
                    <a:pt x="3363" y="1502"/>
                  </a:cubicBezTo>
                  <a:cubicBezTo>
                    <a:pt x="3348" y="1458"/>
                    <a:pt x="3297" y="1429"/>
                    <a:pt x="3253" y="1422"/>
                  </a:cubicBezTo>
                  <a:cubicBezTo>
                    <a:pt x="3223" y="1415"/>
                    <a:pt x="3180" y="1407"/>
                    <a:pt x="3150" y="1378"/>
                  </a:cubicBezTo>
                  <a:lnTo>
                    <a:pt x="3150" y="1378"/>
                  </a:lnTo>
                  <a:cubicBezTo>
                    <a:pt x="3150" y="1370"/>
                    <a:pt x="3158" y="1370"/>
                    <a:pt x="3165" y="1363"/>
                  </a:cubicBezTo>
                  <a:cubicBezTo>
                    <a:pt x="3172" y="1356"/>
                    <a:pt x="3180" y="1356"/>
                    <a:pt x="3187" y="1356"/>
                  </a:cubicBezTo>
                  <a:cubicBezTo>
                    <a:pt x="3187" y="1356"/>
                    <a:pt x="3194" y="1356"/>
                    <a:pt x="3201" y="1356"/>
                  </a:cubicBezTo>
                  <a:cubicBezTo>
                    <a:pt x="3209" y="1363"/>
                    <a:pt x="3216" y="1363"/>
                    <a:pt x="3223" y="1363"/>
                  </a:cubicBezTo>
                  <a:cubicBezTo>
                    <a:pt x="3260" y="1363"/>
                    <a:pt x="3275" y="1326"/>
                    <a:pt x="3289" y="1290"/>
                  </a:cubicBezTo>
                  <a:cubicBezTo>
                    <a:pt x="3304" y="1268"/>
                    <a:pt x="3311" y="1239"/>
                    <a:pt x="3333" y="1217"/>
                  </a:cubicBezTo>
                  <a:cubicBezTo>
                    <a:pt x="3355" y="1195"/>
                    <a:pt x="3370" y="1173"/>
                    <a:pt x="3370" y="1150"/>
                  </a:cubicBezTo>
                  <a:cubicBezTo>
                    <a:pt x="3363" y="1129"/>
                    <a:pt x="3348" y="1114"/>
                    <a:pt x="3333" y="1107"/>
                  </a:cubicBezTo>
                  <a:cubicBezTo>
                    <a:pt x="3326" y="1099"/>
                    <a:pt x="3326" y="1099"/>
                    <a:pt x="3326" y="1099"/>
                  </a:cubicBezTo>
                  <a:cubicBezTo>
                    <a:pt x="3297" y="1077"/>
                    <a:pt x="3289" y="1070"/>
                    <a:pt x="3275" y="1048"/>
                  </a:cubicBezTo>
                  <a:cubicBezTo>
                    <a:pt x="3253" y="1004"/>
                    <a:pt x="3245" y="997"/>
                    <a:pt x="3194" y="975"/>
                  </a:cubicBezTo>
                  <a:cubicBezTo>
                    <a:pt x="3187" y="967"/>
                    <a:pt x="3180" y="967"/>
                    <a:pt x="3180" y="960"/>
                  </a:cubicBezTo>
                  <a:cubicBezTo>
                    <a:pt x="3180" y="960"/>
                    <a:pt x="3180" y="960"/>
                    <a:pt x="3180" y="953"/>
                  </a:cubicBezTo>
                  <a:cubicBezTo>
                    <a:pt x="3194" y="931"/>
                    <a:pt x="3201" y="901"/>
                    <a:pt x="3187" y="879"/>
                  </a:cubicBezTo>
                  <a:cubicBezTo>
                    <a:pt x="3180" y="850"/>
                    <a:pt x="3158" y="836"/>
                    <a:pt x="3128" y="836"/>
                  </a:cubicBezTo>
                  <a:cubicBezTo>
                    <a:pt x="3099" y="836"/>
                    <a:pt x="3084" y="828"/>
                    <a:pt x="3070" y="828"/>
                  </a:cubicBezTo>
                  <a:cubicBezTo>
                    <a:pt x="3055" y="821"/>
                    <a:pt x="3040" y="821"/>
                    <a:pt x="3026" y="821"/>
                  </a:cubicBezTo>
                  <a:lnTo>
                    <a:pt x="3026" y="821"/>
                  </a:lnTo>
                  <a:lnTo>
                    <a:pt x="3026" y="821"/>
                  </a:lnTo>
                  <a:cubicBezTo>
                    <a:pt x="3026" y="814"/>
                    <a:pt x="3026" y="814"/>
                    <a:pt x="3018" y="814"/>
                  </a:cubicBezTo>
                  <a:cubicBezTo>
                    <a:pt x="3018" y="806"/>
                    <a:pt x="3011" y="770"/>
                    <a:pt x="2974" y="770"/>
                  </a:cubicBezTo>
                  <a:cubicBezTo>
                    <a:pt x="2952" y="770"/>
                    <a:pt x="2938" y="784"/>
                    <a:pt x="2930" y="784"/>
                  </a:cubicBezTo>
                  <a:cubicBezTo>
                    <a:pt x="2923" y="791"/>
                    <a:pt x="2908" y="799"/>
                    <a:pt x="2894" y="799"/>
                  </a:cubicBezTo>
                  <a:cubicBezTo>
                    <a:pt x="2886" y="806"/>
                    <a:pt x="2886" y="806"/>
                    <a:pt x="2886" y="806"/>
                  </a:cubicBezTo>
                  <a:cubicBezTo>
                    <a:pt x="2879" y="806"/>
                    <a:pt x="2872" y="799"/>
                    <a:pt x="2864" y="791"/>
                  </a:cubicBezTo>
                  <a:cubicBezTo>
                    <a:pt x="2850" y="784"/>
                    <a:pt x="2835" y="777"/>
                    <a:pt x="2813" y="770"/>
                  </a:cubicBezTo>
                  <a:cubicBezTo>
                    <a:pt x="2806" y="770"/>
                    <a:pt x="2806" y="770"/>
                    <a:pt x="2799" y="770"/>
                  </a:cubicBezTo>
                  <a:cubicBezTo>
                    <a:pt x="2769" y="770"/>
                    <a:pt x="2754" y="784"/>
                    <a:pt x="2747" y="791"/>
                  </a:cubicBezTo>
                  <a:cubicBezTo>
                    <a:pt x="2740" y="799"/>
                    <a:pt x="2740" y="799"/>
                    <a:pt x="2732" y="799"/>
                  </a:cubicBezTo>
                  <a:cubicBezTo>
                    <a:pt x="2740" y="799"/>
                    <a:pt x="2732" y="799"/>
                    <a:pt x="2732" y="799"/>
                  </a:cubicBezTo>
                  <a:cubicBezTo>
                    <a:pt x="2725" y="791"/>
                    <a:pt x="2718" y="784"/>
                    <a:pt x="2696" y="784"/>
                  </a:cubicBezTo>
                  <a:cubicBezTo>
                    <a:pt x="2689" y="784"/>
                    <a:pt x="2681" y="784"/>
                    <a:pt x="2667" y="791"/>
                  </a:cubicBezTo>
                  <a:cubicBezTo>
                    <a:pt x="2659" y="799"/>
                    <a:pt x="2652" y="799"/>
                    <a:pt x="2652" y="799"/>
                  </a:cubicBezTo>
                  <a:cubicBezTo>
                    <a:pt x="2637" y="799"/>
                    <a:pt x="2630" y="799"/>
                    <a:pt x="2615" y="791"/>
                  </a:cubicBezTo>
                  <a:cubicBezTo>
                    <a:pt x="2601" y="784"/>
                    <a:pt x="2571" y="770"/>
                    <a:pt x="2549" y="755"/>
                  </a:cubicBezTo>
                  <a:cubicBezTo>
                    <a:pt x="2527" y="740"/>
                    <a:pt x="2513" y="733"/>
                    <a:pt x="2498" y="726"/>
                  </a:cubicBezTo>
                  <a:cubicBezTo>
                    <a:pt x="2483" y="718"/>
                    <a:pt x="2469" y="718"/>
                    <a:pt x="2454" y="718"/>
                  </a:cubicBezTo>
                  <a:cubicBezTo>
                    <a:pt x="2439" y="718"/>
                    <a:pt x="2425" y="718"/>
                    <a:pt x="2418" y="726"/>
                  </a:cubicBezTo>
                  <a:cubicBezTo>
                    <a:pt x="2410" y="733"/>
                    <a:pt x="2395" y="733"/>
                    <a:pt x="2388" y="740"/>
                  </a:cubicBezTo>
                  <a:cubicBezTo>
                    <a:pt x="2366" y="748"/>
                    <a:pt x="2351" y="755"/>
                    <a:pt x="2337" y="755"/>
                  </a:cubicBezTo>
                  <a:cubicBezTo>
                    <a:pt x="2322" y="755"/>
                    <a:pt x="2315" y="748"/>
                    <a:pt x="2308" y="748"/>
                  </a:cubicBezTo>
                  <a:cubicBezTo>
                    <a:pt x="2293" y="740"/>
                    <a:pt x="2278" y="718"/>
                    <a:pt x="2278" y="689"/>
                  </a:cubicBezTo>
                  <a:cubicBezTo>
                    <a:pt x="2278" y="579"/>
                    <a:pt x="2278" y="579"/>
                    <a:pt x="2278" y="579"/>
                  </a:cubicBezTo>
                  <a:cubicBezTo>
                    <a:pt x="2278" y="535"/>
                    <a:pt x="2234" y="477"/>
                    <a:pt x="2212" y="455"/>
                  </a:cubicBezTo>
                  <a:cubicBezTo>
                    <a:pt x="2212" y="447"/>
                    <a:pt x="2220" y="432"/>
                    <a:pt x="2220" y="432"/>
                  </a:cubicBezTo>
                  <a:cubicBezTo>
                    <a:pt x="2220" y="418"/>
                    <a:pt x="2227" y="396"/>
                    <a:pt x="2220" y="381"/>
                  </a:cubicBezTo>
                  <a:cubicBezTo>
                    <a:pt x="2220" y="359"/>
                    <a:pt x="2198" y="345"/>
                    <a:pt x="2176" y="323"/>
                  </a:cubicBezTo>
                  <a:cubicBezTo>
                    <a:pt x="2161" y="308"/>
                    <a:pt x="2139" y="286"/>
                    <a:pt x="2132" y="279"/>
                  </a:cubicBezTo>
                  <a:cubicBezTo>
                    <a:pt x="2132" y="271"/>
                    <a:pt x="2124" y="264"/>
                    <a:pt x="2124" y="264"/>
                  </a:cubicBezTo>
                  <a:cubicBezTo>
                    <a:pt x="2132" y="264"/>
                    <a:pt x="2132" y="264"/>
                    <a:pt x="2146" y="264"/>
                  </a:cubicBezTo>
                  <a:cubicBezTo>
                    <a:pt x="2183" y="257"/>
                    <a:pt x="2205" y="227"/>
                    <a:pt x="2205" y="191"/>
                  </a:cubicBezTo>
                  <a:cubicBezTo>
                    <a:pt x="2205" y="154"/>
                    <a:pt x="2176" y="117"/>
                    <a:pt x="2139" y="117"/>
                  </a:cubicBezTo>
                  <a:cubicBezTo>
                    <a:pt x="2132" y="117"/>
                    <a:pt x="2132" y="117"/>
                    <a:pt x="2124" y="110"/>
                  </a:cubicBezTo>
                  <a:cubicBezTo>
                    <a:pt x="2117" y="110"/>
                    <a:pt x="2102" y="110"/>
                    <a:pt x="2088" y="110"/>
                  </a:cubicBezTo>
                  <a:cubicBezTo>
                    <a:pt x="2088" y="110"/>
                    <a:pt x="2080" y="110"/>
                    <a:pt x="2066" y="110"/>
                  </a:cubicBezTo>
                  <a:lnTo>
                    <a:pt x="2066" y="110"/>
                  </a:lnTo>
                  <a:cubicBezTo>
                    <a:pt x="2058" y="110"/>
                    <a:pt x="2044" y="96"/>
                    <a:pt x="2036" y="81"/>
                  </a:cubicBezTo>
                  <a:cubicBezTo>
                    <a:pt x="2029" y="74"/>
                    <a:pt x="2014" y="66"/>
                    <a:pt x="2007" y="51"/>
                  </a:cubicBezTo>
                  <a:cubicBezTo>
                    <a:pt x="1985" y="37"/>
                    <a:pt x="1949" y="29"/>
                    <a:pt x="1919" y="22"/>
                  </a:cubicBezTo>
                  <a:cubicBezTo>
                    <a:pt x="1904" y="22"/>
                    <a:pt x="1897" y="15"/>
                    <a:pt x="1882" y="15"/>
                  </a:cubicBezTo>
                  <a:cubicBezTo>
                    <a:pt x="1875" y="15"/>
                    <a:pt x="1861" y="8"/>
                    <a:pt x="1853" y="8"/>
                  </a:cubicBezTo>
                  <a:lnTo>
                    <a:pt x="1853" y="8"/>
                  </a:lnTo>
                  <a:lnTo>
                    <a:pt x="1853" y="8"/>
                  </a:lnTo>
                  <a:cubicBezTo>
                    <a:pt x="1831" y="8"/>
                    <a:pt x="1802" y="15"/>
                    <a:pt x="1780" y="15"/>
                  </a:cubicBezTo>
                  <a:cubicBezTo>
                    <a:pt x="1758" y="22"/>
                    <a:pt x="1736" y="22"/>
                    <a:pt x="1714" y="22"/>
                  </a:cubicBezTo>
                  <a:cubicBezTo>
                    <a:pt x="1707" y="22"/>
                    <a:pt x="1707" y="22"/>
                    <a:pt x="1699" y="22"/>
                  </a:cubicBezTo>
                  <a:lnTo>
                    <a:pt x="1692" y="22"/>
                  </a:lnTo>
                  <a:cubicBezTo>
                    <a:pt x="1685" y="22"/>
                    <a:pt x="1685" y="22"/>
                    <a:pt x="1677" y="22"/>
                  </a:cubicBezTo>
                  <a:cubicBezTo>
                    <a:pt x="1670" y="0"/>
                    <a:pt x="1670" y="0"/>
                    <a:pt x="1670" y="0"/>
                  </a:cubicBezTo>
                  <a:lnTo>
                    <a:pt x="1853" y="4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3" name="Freeform 22"/>
            <p:cNvSpPr>
              <a:spLocks noChangeArrowheads="1"/>
            </p:cNvSpPr>
            <p:nvPr/>
          </p:nvSpPr>
          <p:spPr bwMode="auto">
            <a:xfrm>
              <a:off x="7107476" y="5115086"/>
              <a:ext cx="2106610" cy="2630072"/>
            </a:xfrm>
            <a:custGeom>
              <a:avLst/>
              <a:gdLst>
                <a:gd name="T0" fmla="*/ 1824 w 5482"/>
                <a:gd name="T1" fmla="*/ 271 h 6924"/>
                <a:gd name="T2" fmla="*/ 1443 w 5482"/>
                <a:gd name="T3" fmla="*/ 571 h 6924"/>
                <a:gd name="T4" fmla="*/ 1040 w 5482"/>
                <a:gd name="T5" fmla="*/ 468 h 6924"/>
                <a:gd name="T6" fmla="*/ 461 w 5482"/>
                <a:gd name="T7" fmla="*/ 703 h 6924"/>
                <a:gd name="T8" fmla="*/ 644 w 5482"/>
                <a:gd name="T9" fmla="*/ 1341 h 6924"/>
                <a:gd name="T10" fmla="*/ 813 w 5482"/>
                <a:gd name="T11" fmla="*/ 1758 h 6924"/>
                <a:gd name="T12" fmla="*/ 886 w 5482"/>
                <a:gd name="T13" fmla="*/ 2124 h 6924"/>
                <a:gd name="T14" fmla="*/ 945 w 5482"/>
                <a:gd name="T15" fmla="*/ 2572 h 6924"/>
                <a:gd name="T16" fmla="*/ 1003 w 5482"/>
                <a:gd name="T17" fmla="*/ 2931 h 6924"/>
                <a:gd name="T18" fmla="*/ 813 w 5482"/>
                <a:gd name="T19" fmla="*/ 3326 h 6924"/>
                <a:gd name="T20" fmla="*/ 95 w 5482"/>
                <a:gd name="T21" fmla="*/ 3495 h 6924"/>
                <a:gd name="T22" fmla="*/ 212 w 5482"/>
                <a:gd name="T23" fmla="*/ 3810 h 6924"/>
                <a:gd name="T24" fmla="*/ 241 w 5482"/>
                <a:gd name="T25" fmla="*/ 4440 h 6924"/>
                <a:gd name="T26" fmla="*/ 527 w 5482"/>
                <a:gd name="T27" fmla="*/ 4689 h 6924"/>
                <a:gd name="T28" fmla="*/ 791 w 5482"/>
                <a:gd name="T29" fmla="*/ 4872 h 6924"/>
                <a:gd name="T30" fmla="*/ 901 w 5482"/>
                <a:gd name="T31" fmla="*/ 5224 h 6924"/>
                <a:gd name="T32" fmla="*/ 1135 w 5482"/>
                <a:gd name="T33" fmla="*/ 5400 h 6924"/>
                <a:gd name="T34" fmla="*/ 1465 w 5482"/>
                <a:gd name="T35" fmla="*/ 5451 h 6924"/>
                <a:gd name="T36" fmla="*/ 1773 w 5482"/>
                <a:gd name="T37" fmla="*/ 5510 h 6924"/>
                <a:gd name="T38" fmla="*/ 1963 w 5482"/>
                <a:gd name="T39" fmla="*/ 5774 h 6924"/>
                <a:gd name="T40" fmla="*/ 1787 w 5482"/>
                <a:gd name="T41" fmla="*/ 6052 h 6924"/>
                <a:gd name="T42" fmla="*/ 1949 w 5482"/>
                <a:gd name="T43" fmla="*/ 6322 h 6924"/>
                <a:gd name="T44" fmla="*/ 2322 w 5482"/>
                <a:gd name="T45" fmla="*/ 6432 h 6924"/>
                <a:gd name="T46" fmla="*/ 2623 w 5482"/>
                <a:gd name="T47" fmla="*/ 6608 h 6924"/>
                <a:gd name="T48" fmla="*/ 3070 w 5482"/>
                <a:gd name="T49" fmla="*/ 6725 h 6924"/>
                <a:gd name="T50" fmla="*/ 3422 w 5482"/>
                <a:gd name="T51" fmla="*/ 6872 h 6924"/>
                <a:gd name="T52" fmla="*/ 3627 w 5482"/>
                <a:gd name="T53" fmla="*/ 6828 h 6924"/>
                <a:gd name="T54" fmla="*/ 3663 w 5482"/>
                <a:gd name="T55" fmla="*/ 6491 h 6924"/>
                <a:gd name="T56" fmla="*/ 3517 w 5482"/>
                <a:gd name="T57" fmla="*/ 6133 h 6924"/>
                <a:gd name="T58" fmla="*/ 3407 w 5482"/>
                <a:gd name="T59" fmla="*/ 5686 h 6924"/>
                <a:gd name="T60" fmla="*/ 3392 w 5482"/>
                <a:gd name="T61" fmla="*/ 5224 h 6924"/>
                <a:gd name="T62" fmla="*/ 3561 w 5482"/>
                <a:gd name="T63" fmla="*/ 4843 h 6924"/>
                <a:gd name="T64" fmla="*/ 3927 w 5482"/>
                <a:gd name="T65" fmla="*/ 4741 h 6924"/>
                <a:gd name="T66" fmla="*/ 4227 w 5482"/>
                <a:gd name="T67" fmla="*/ 4660 h 6924"/>
                <a:gd name="T68" fmla="*/ 4594 w 5482"/>
                <a:gd name="T69" fmla="*/ 4521 h 6924"/>
                <a:gd name="T70" fmla="*/ 4997 w 5482"/>
                <a:gd name="T71" fmla="*/ 4491 h 6924"/>
                <a:gd name="T72" fmla="*/ 5283 w 5482"/>
                <a:gd name="T73" fmla="*/ 4447 h 6924"/>
                <a:gd name="T74" fmla="*/ 5400 w 5482"/>
                <a:gd name="T75" fmla="*/ 3949 h 6924"/>
                <a:gd name="T76" fmla="*/ 5034 w 5482"/>
                <a:gd name="T77" fmla="*/ 3641 h 6924"/>
                <a:gd name="T78" fmla="*/ 4653 w 5482"/>
                <a:gd name="T79" fmla="*/ 3473 h 6924"/>
                <a:gd name="T80" fmla="*/ 4242 w 5482"/>
                <a:gd name="T81" fmla="*/ 3422 h 6924"/>
                <a:gd name="T82" fmla="*/ 3876 w 5482"/>
                <a:gd name="T83" fmla="*/ 3348 h 6924"/>
                <a:gd name="T84" fmla="*/ 3429 w 5482"/>
                <a:gd name="T85" fmla="*/ 2901 h 6924"/>
                <a:gd name="T86" fmla="*/ 3465 w 5482"/>
                <a:gd name="T87" fmla="*/ 2462 h 6924"/>
                <a:gd name="T88" fmla="*/ 3590 w 5482"/>
                <a:gd name="T89" fmla="*/ 1817 h 6924"/>
                <a:gd name="T90" fmla="*/ 3268 w 5482"/>
                <a:gd name="T91" fmla="*/ 1736 h 6924"/>
                <a:gd name="T92" fmla="*/ 3268 w 5482"/>
                <a:gd name="T93" fmla="*/ 1384 h 6924"/>
                <a:gd name="T94" fmla="*/ 3290 w 5482"/>
                <a:gd name="T95" fmla="*/ 879 h 6924"/>
                <a:gd name="T96" fmla="*/ 3165 w 5482"/>
                <a:gd name="T97" fmla="*/ 586 h 6924"/>
                <a:gd name="T98" fmla="*/ 2689 w 5482"/>
                <a:gd name="T99" fmla="*/ 483 h 6924"/>
                <a:gd name="T100" fmla="*/ 2396 w 5482"/>
                <a:gd name="T101" fmla="*/ 205 h 6924"/>
                <a:gd name="T102" fmla="*/ 2125 w 5482"/>
                <a:gd name="T103" fmla="*/ 43 h 69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482" h="6924">
                  <a:moveTo>
                    <a:pt x="1956" y="146"/>
                  </a:moveTo>
                  <a:lnTo>
                    <a:pt x="1956" y="146"/>
                  </a:lnTo>
                  <a:cubicBezTo>
                    <a:pt x="1927" y="168"/>
                    <a:pt x="1890" y="124"/>
                    <a:pt x="1890" y="124"/>
                  </a:cubicBezTo>
                  <a:cubicBezTo>
                    <a:pt x="1890" y="124"/>
                    <a:pt x="1861" y="219"/>
                    <a:pt x="1824" y="271"/>
                  </a:cubicBezTo>
                  <a:cubicBezTo>
                    <a:pt x="1795" y="322"/>
                    <a:pt x="1861" y="351"/>
                    <a:pt x="1817" y="359"/>
                  </a:cubicBezTo>
                  <a:cubicBezTo>
                    <a:pt x="1780" y="373"/>
                    <a:pt x="1751" y="395"/>
                    <a:pt x="1707" y="432"/>
                  </a:cubicBezTo>
                  <a:cubicBezTo>
                    <a:pt x="1663" y="461"/>
                    <a:pt x="1612" y="491"/>
                    <a:pt x="1582" y="520"/>
                  </a:cubicBezTo>
                  <a:cubicBezTo>
                    <a:pt x="1546" y="556"/>
                    <a:pt x="1502" y="556"/>
                    <a:pt x="1443" y="571"/>
                  </a:cubicBezTo>
                  <a:cubicBezTo>
                    <a:pt x="1384" y="593"/>
                    <a:pt x="1392" y="586"/>
                    <a:pt x="1363" y="593"/>
                  </a:cubicBezTo>
                  <a:cubicBezTo>
                    <a:pt x="1326" y="600"/>
                    <a:pt x="1260" y="534"/>
                    <a:pt x="1209" y="505"/>
                  </a:cubicBezTo>
                  <a:cubicBezTo>
                    <a:pt x="1157" y="483"/>
                    <a:pt x="1150" y="505"/>
                    <a:pt x="1121" y="520"/>
                  </a:cubicBezTo>
                  <a:cubicBezTo>
                    <a:pt x="1099" y="542"/>
                    <a:pt x="1040" y="468"/>
                    <a:pt x="1040" y="468"/>
                  </a:cubicBezTo>
                  <a:cubicBezTo>
                    <a:pt x="1040" y="468"/>
                    <a:pt x="915" y="491"/>
                    <a:pt x="857" y="498"/>
                  </a:cubicBezTo>
                  <a:cubicBezTo>
                    <a:pt x="798" y="505"/>
                    <a:pt x="806" y="571"/>
                    <a:pt x="784" y="615"/>
                  </a:cubicBezTo>
                  <a:cubicBezTo>
                    <a:pt x="754" y="659"/>
                    <a:pt x="740" y="666"/>
                    <a:pt x="681" y="696"/>
                  </a:cubicBezTo>
                  <a:cubicBezTo>
                    <a:pt x="622" y="718"/>
                    <a:pt x="542" y="696"/>
                    <a:pt x="461" y="703"/>
                  </a:cubicBezTo>
                  <a:cubicBezTo>
                    <a:pt x="373" y="710"/>
                    <a:pt x="373" y="776"/>
                    <a:pt x="366" y="850"/>
                  </a:cubicBezTo>
                  <a:cubicBezTo>
                    <a:pt x="359" y="915"/>
                    <a:pt x="417" y="1040"/>
                    <a:pt x="425" y="1084"/>
                  </a:cubicBezTo>
                  <a:cubicBezTo>
                    <a:pt x="432" y="1128"/>
                    <a:pt x="527" y="1179"/>
                    <a:pt x="534" y="1209"/>
                  </a:cubicBezTo>
                  <a:cubicBezTo>
                    <a:pt x="534" y="1209"/>
                    <a:pt x="622" y="1289"/>
                    <a:pt x="644" y="1341"/>
                  </a:cubicBezTo>
                  <a:cubicBezTo>
                    <a:pt x="674" y="1392"/>
                    <a:pt x="688" y="1487"/>
                    <a:pt x="747" y="1450"/>
                  </a:cubicBezTo>
                  <a:cubicBezTo>
                    <a:pt x="806" y="1414"/>
                    <a:pt x="857" y="1443"/>
                    <a:pt x="842" y="1465"/>
                  </a:cubicBezTo>
                  <a:cubicBezTo>
                    <a:pt x="828" y="1494"/>
                    <a:pt x="791" y="1560"/>
                    <a:pt x="784" y="1604"/>
                  </a:cubicBezTo>
                  <a:cubicBezTo>
                    <a:pt x="776" y="1648"/>
                    <a:pt x="791" y="1700"/>
                    <a:pt x="813" y="1758"/>
                  </a:cubicBezTo>
                  <a:cubicBezTo>
                    <a:pt x="842" y="1817"/>
                    <a:pt x="915" y="1861"/>
                    <a:pt x="915" y="1861"/>
                  </a:cubicBezTo>
                  <a:cubicBezTo>
                    <a:pt x="915" y="1861"/>
                    <a:pt x="886" y="1861"/>
                    <a:pt x="828" y="1868"/>
                  </a:cubicBezTo>
                  <a:cubicBezTo>
                    <a:pt x="762" y="1875"/>
                    <a:pt x="776" y="1883"/>
                    <a:pt x="762" y="1949"/>
                  </a:cubicBezTo>
                  <a:cubicBezTo>
                    <a:pt x="754" y="2022"/>
                    <a:pt x="828" y="2088"/>
                    <a:pt x="886" y="2124"/>
                  </a:cubicBezTo>
                  <a:cubicBezTo>
                    <a:pt x="945" y="2154"/>
                    <a:pt x="974" y="2198"/>
                    <a:pt x="1040" y="2234"/>
                  </a:cubicBezTo>
                  <a:cubicBezTo>
                    <a:pt x="1099" y="2264"/>
                    <a:pt x="1040" y="2352"/>
                    <a:pt x="960" y="2366"/>
                  </a:cubicBezTo>
                  <a:cubicBezTo>
                    <a:pt x="886" y="2388"/>
                    <a:pt x="879" y="2403"/>
                    <a:pt x="923" y="2425"/>
                  </a:cubicBezTo>
                  <a:cubicBezTo>
                    <a:pt x="974" y="2454"/>
                    <a:pt x="952" y="2527"/>
                    <a:pt x="945" y="2572"/>
                  </a:cubicBezTo>
                  <a:cubicBezTo>
                    <a:pt x="938" y="2615"/>
                    <a:pt x="967" y="2645"/>
                    <a:pt x="1018" y="2689"/>
                  </a:cubicBezTo>
                  <a:cubicBezTo>
                    <a:pt x="1070" y="2733"/>
                    <a:pt x="1091" y="2747"/>
                    <a:pt x="1077" y="2777"/>
                  </a:cubicBezTo>
                  <a:cubicBezTo>
                    <a:pt x="1070" y="2799"/>
                    <a:pt x="996" y="2799"/>
                    <a:pt x="967" y="2828"/>
                  </a:cubicBezTo>
                  <a:cubicBezTo>
                    <a:pt x="945" y="2850"/>
                    <a:pt x="923" y="2909"/>
                    <a:pt x="1003" y="2931"/>
                  </a:cubicBezTo>
                  <a:cubicBezTo>
                    <a:pt x="1077" y="2945"/>
                    <a:pt x="1040" y="3011"/>
                    <a:pt x="1003" y="3062"/>
                  </a:cubicBezTo>
                  <a:cubicBezTo>
                    <a:pt x="967" y="3114"/>
                    <a:pt x="952" y="3136"/>
                    <a:pt x="886" y="3143"/>
                  </a:cubicBezTo>
                  <a:cubicBezTo>
                    <a:pt x="813" y="3150"/>
                    <a:pt x="798" y="3187"/>
                    <a:pt x="842" y="3224"/>
                  </a:cubicBezTo>
                  <a:cubicBezTo>
                    <a:pt x="886" y="3268"/>
                    <a:pt x="886" y="3297"/>
                    <a:pt x="813" y="3326"/>
                  </a:cubicBezTo>
                  <a:cubicBezTo>
                    <a:pt x="747" y="3363"/>
                    <a:pt x="703" y="3334"/>
                    <a:pt x="637" y="3355"/>
                  </a:cubicBezTo>
                  <a:cubicBezTo>
                    <a:pt x="571" y="3370"/>
                    <a:pt x="425" y="3363"/>
                    <a:pt x="351" y="3370"/>
                  </a:cubicBezTo>
                  <a:cubicBezTo>
                    <a:pt x="271" y="3377"/>
                    <a:pt x="249" y="3400"/>
                    <a:pt x="205" y="3458"/>
                  </a:cubicBezTo>
                  <a:cubicBezTo>
                    <a:pt x="161" y="3517"/>
                    <a:pt x="161" y="3495"/>
                    <a:pt x="95" y="3495"/>
                  </a:cubicBezTo>
                  <a:cubicBezTo>
                    <a:pt x="22" y="3495"/>
                    <a:pt x="36" y="3465"/>
                    <a:pt x="14" y="3524"/>
                  </a:cubicBezTo>
                  <a:cubicBezTo>
                    <a:pt x="0" y="3583"/>
                    <a:pt x="88" y="3612"/>
                    <a:pt x="146" y="3634"/>
                  </a:cubicBezTo>
                  <a:cubicBezTo>
                    <a:pt x="205" y="3663"/>
                    <a:pt x="197" y="3678"/>
                    <a:pt x="161" y="3722"/>
                  </a:cubicBezTo>
                  <a:cubicBezTo>
                    <a:pt x="124" y="3759"/>
                    <a:pt x="161" y="3773"/>
                    <a:pt x="212" y="3810"/>
                  </a:cubicBezTo>
                  <a:cubicBezTo>
                    <a:pt x="263" y="3854"/>
                    <a:pt x="220" y="3912"/>
                    <a:pt x="168" y="3964"/>
                  </a:cubicBezTo>
                  <a:cubicBezTo>
                    <a:pt x="117" y="4015"/>
                    <a:pt x="110" y="4015"/>
                    <a:pt x="88" y="4088"/>
                  </a:cubicBezTo>
                  <a:cubicBezTo>
                    <a:pt x="58" y="4154"/>
                    <a:pt x="102" y="4250"/>
                    <a:pt x="117" y="4301"/>
                  </a:cubicBezTo>
                  <a:cubicBezTo>
                    <a:pt x="139" y="4345"/>
                    <a:pt x="190" y="4396"/>
                    <a:pt x="241" y="4440"/>
                  </a:cubicBezTo>
                  <a:cubicBezTo>
                    <a:pt x="285" y="4484"/>
                    <a:pt x="278" y="4565"/>
                    <a:pt x="285" y="4638"/>
                  </a:cubicBezTo>
                  <a:cubicBezTo>
                    <a:pt x="315" y="4711"/>
                    <a:pt x="315" y="4711"/>
                    <a:pt x="315" y="4711"/>
                  </a:cubicBezTo>
                  <a:cubicBezTo>
                    <a:pt x="322" y="4704"/>
                    <a:pt x="329" y="4696"/>
                    <a:pt x="351" y="4696"/>
                  </a:cubicBezTo>
                  <a:cubicBezTo>
                    <a:pt x="403" y="4704"/>
                    <a:pt x="491" y="4674"/>
                    <a:pt x="527" y="4689"/>
                  </a:cubicBezTo>
                  <a:cubicBezTo>
                    <a:pt x="564" y="4696"/>
                    <a:pt x="615" y="4696"/>
                    <a:pt x="637" y="4726"/>
                  </a:cubicBezTo>
                  <a:cubicBezTo>
                    <a:pt x="666" y="4748"/>
                    <a:pt x="688" y="4792"/>
                    <a:pt x="725" y="4784"/>
                  </a:cubicBezTo>
                  <a:cubicBezTo>
                    <a:pt x="762" y="4777"/>
                    <a:pt x="762" y="4792"/>
                    <a:pt x="791" y="4792"/>
                  </a:cubicBezTo>
                  <a:cubicBezTo>
                    <a:pt x="820" y="4792"/>
                    <a:pt x="857" y="4872"/>
                    <a:pt x="791" y="4872"/>
                  </a:cubicBezTo>
                  <a:cubicBezTo>
                    <a:pt x="732" y="4880"/>
                    <a:pt x="740" y="4902"/>
                    <a:pt x="762" y="4938"/>
                  </a:cubicBezTo>
                  <a:cubicBezTo>
                    <a:pt x="784" y="4975"/>
                    <a:pt x="842" y="5012"/>
                    <a:pt x="842" y="5034"/>
                  </a:cubicBezTo>
                  <a:cubicBezTo>
                    <a:pt x="850" y="5055"/>
                    <a:pt x="820" y="5100"/>
                    <a:pt x="842" y="5122"/>
                  </a:cubicBezTo>
                  <a:cubicBezTo>
                    <a:pt x="864" y="5143"/>
                    <a:pt x="901" y="5195"/>
                    <a:pt x="901" y="5224"/>
                  </a:cubicBezTo>
                  <a:cubicBezTo>
                    <a:pt x="901" y="5253"/>
                    <a:pt x="901" y="5297"/>
                    <a:pt x="901" y="5334"/>
                  </a:cubicBezTo>
                  <a:cubicBezTo>
                    <a:pt x="901" y="5378"/>
                    <a:pt x="915" y="5407"/>
                    <a:pt x="945" y="5422"/>
                  </a:cubicBezTo>
                  <a:cubicBezTo>
                    <a:pt x="974" y="5429"/>
                    <a:pt x="1003" y="5429"/>
                    <a:pt x="1047" y="5415"/>
                  </a:cubicBezTo>
                  <a:cubicBezTo>
                    <a:pt x="1091" y="5400"/>
                    <a:pt x="1099" y="5378"/>
                    <a:pt x="1135" y="5400"/>
                  </a:cubicBezTo>
                  <a:cubicBezTo>
                    <a:pt x="1165" y="5415"/>
                    <a:pt x="1231" y="5451"/>
                    <a:pt x="1260" y="5466"/>
                  </a:cubicBezTo>
                  <a:cubicBezTo>
                    <a:pt x="1289" y="5473"/>
                    <a:pt x="1311" y="5481"/>
                    <a:pt x="1341" y="5466"/>
                  </a:cubicBezTo>
                  <a:cubicBezTo>
                    <a:pt x="1363" y="5451"/>
                    <a:pt x="1363" y="5481"/>
                    <a:pt x="1392" y="5473"/>
                  </a:cubicBezTo>
                  <a:cubicBezTo>
                    <a:pt x="1421" y="5473"/>
                    <a:pt x="1421" y="5444"/>
                    <a:pt x="1465" y="5451"/>
                  </a:cubicBezTo>
                  <a:cubicBezTo>
                    <a:pt x="1502" y="5451"/>
                    <a:pt x="1509" y="5488"/>
                    <a:pt x="1553" y="5473"/>
                  </a:cubicBezTo>
                  <a:cubicBezTo>
                    <a:pt x="1597" y="5466"/>
                    <a:pt x="1597" y="5451"/>
                    <a:pt x="1626" y="5451"/>
                  </a:cubicBezTo>
                  <a:cubicBezTo>
                    <a:pt x="1656" y="5451"/>
                    <a:pt x="1634" y="5488"/>
                    <a:pt x="1670" y="5495"/>
                  </a:cubicBezTo>
                  <a:cubicBezTo>
                    <a:pt x="1714" y="5502"/>
                    <a:pt x="1729" y="5502"/>
                    <a:pt x="1773" y="5510"/>
                  </a:cubicBezTo>
                  <a:cubicBezTo>
                    <a:pt x="1817" y="5517"/>
                    <a:pt x="1824" y="5554"/>
                    <a:pt x="1810" y="5583"/>
                  </a:cubicBezTo>
                  <a:cubicBezTo>
                    <a:pt x="1787" y="5612"/>
                    <a:pt x="1795" y="5627"/>
                    <a:pt x="1839" y="5649"/>
                  </a:cubicBezTo>
                  <a:cubicBezTo>
                    <a:pt x="1875" y="5664"/>
                    <a:pt x="1883" y="5671"/>
                    <a:pt x="1897" y="5700"/>
                  </a:cubicBezTo>
                  <a:cubicBezTo>
                    <a:pt x="1912" y="5737"/>
                    <a:pt x="1927" y="5752"/>
                    <a:pt x="1963" y="5774"/>
                  </a:cubicBezTo>
                  <a:cubicBezTo>
                    <a:pt x="1993" y="5795"/>
                    <a:pt x="2007" y="5795"/>
                    <a:pt x="1963" y="5847"/>
                  </a:cubicBezTo>
                  <a:cubicBezTo>
                    <a:pt x="1912" y="5898"/>
                    <a:pt x="1905" y="5979"/>
                    <a:pt x="1875" y="5979"/>
                  </a:cubicBezTo>
                  <a:cubicBezTo>
                    <a:pt x="1846" y="5979"/>
                    <a:pt x="1832" y="5964"/>
                    <a:pt x="1795" y="5986"/>
                  </a:cubicBezTo>
                  <a:cubicBezTo>
                    <a:pt x="1765" y="6008"/>
                    <a:pt x="1751" y="6023"/>
                    <a:pt x="1787" y="6052"/>
                  </a:cubicBezTo>
                  <a:cubicBezTo>
                    <a:pt x="1817" y="6074"/>
                    <a:pt x="1861" y="6089"/>
                    <a:pt x="1897" y="6096"/>
                  </a:cubicBezTo>
                  <a:cubicBezTo>
                    <a:pt x="1934" y="6103"/>
                    <a:pt x="1978" y="6125"/>
                    <a:pt x="1993" y="6155"/>
                  </a:cubicBezTo>
                  <a:cubicBezTo>
                    <a:pt x="2000" y="6191"/>
                    <a:pt x="2037" y="6235"/>
                    <a:pt x="2007" y="6257"/>
                  </a:cubicBezTo>
                  <a:cubicBezTo>
                    <a:pt x="1978" y="6279"/>
                    <a:pt x="1941" y="6286"/>
                    <a:pt x="1949" y="6322"/>
                  </a:cubicBezTo>
                  <a:cubicBezTo>
                    <a:pt x="1956" y="6352"/>
                    <a:pt x="1971" y="6373"/>
                    <a:pt x="1993" y="6388"/>
                  </a:cubicBezTo>
                  <a:cubicBezTo>
                    <a:pt x="2015" y="6403"/>
                    <a:pt x="2066" y="6440"/>
                    <a:pt x="2103" y="6425"/>
                  </a:cubicBezTo>
                  <a:cubicBezTo>
                    <a:pt x="2139" y="6418"/>
                    <a:pt x="2205" y="6395"/>
                    <a:pt x="2242" y="6395"/>
                  </a:cubicBezTo>
                  <a:cubicBezTo>
                    <a:pt x="2271" y="6395"/>
                    <a:pt x="2293" y="6432"/>
                    <a:pt x="2322" y="6432"/>
                  </a:cubicBezTo>
                  <a:cubicBezTo>
                    <a:pt x="2359" y="6432"/>
                    <a:pt x="2396" y="6425"/>
                    <a:pt x="2418" y="6425"/>
                  </a:cubicBezTo>
                  <a:cubicBezTo>
                    <a:pt x="2440" y="6418"/>
                    <a:pt x="2454" y="6476"/>
                    <a:pt x="2469" y="6498"/>
                  </a:cubicBezTo>
                  <a:cubicBezTo>
                    <a:pt x="2491" y="6520"/>
                    <a:pt x="2513" y="6549"/>
                    <a:pt x="2550" y="6564"/>
                  </a:cubicBezTo>
                  <a:cubicBezTo>
                    <a:pt x="2586" y="6571"/>
                    <a:pt x="2579" y="6615"/>
                    <a:pt x="2623" y="6608"/>
                  </a:cubicBezTo>
                  <a:cubicBezTo>
                    <a:pt x="2667" y="6601"/>
                    <a:pt x="2755" y="6608"/>
                    <a:pt x="2784" y="6593"/>
                  </a:cubicBezTo>
                  <a:cubicBezTo>
                    <a:pt x="2813" y="6571"/>
                    <a:pt x="2843" y="6549"/>
                    <a:pt x="2872" y="6571"/>
                  </a:cubicBezTo>
                  <a:cubicBezTo>
                    <a:pt x="2901" y="6593"/>
                    <a:pt x="2931" y="6667"/>
                    <a:pt x="2982" y="6667"/>
                  </a:cubicBezTo>
                  <a:cubicBezTo>
                    <a:pt x="3033" y="6667"/>
                    <a:pt x="3055" y="6681"/>
                    <a:pt x="3070" y="6725"/>
                  </a:cubicBezTo>
                  <a:cubicBezTo>
                    <a:pt x="3092" y="6762"/>
                    <a:pt x="3114" y="6821"/>
                    <a:pt x="3158" y="6828"/>
                  </a:cubicBezTo>
                  <a:cubicBezTo>
                    <a:pt x="3202" y="6828"/>
                    <a:pt x="3224" y="6850"/>
                    <a:pt x="3268" y="6828"/>
                  </a:cubicBezTo>
                  <a:cubicBezTo>
                    <a:pt x="3304" y="6799"/>
                    <a:pt x="3341" y="6799"/>
                    <a:pt x="3363" y="6828"/>
                  </a:cubicBezTo>
                  <a:cubicBezTo>
                    <a:pt x="3377" y="6850"/>
                    <a:pt x="3400" y="6886"/>
                    <a:pt x="3422" y="6872"/>
                  </a:cubicBezTo>
                  <a:cubicBezTo>
                    <a:pt x="3444" y="6850"/>
                    <a:pt x="3465" y="6813"/>
                    <a:pt x="3487" y="6813"/>
                  </a:cubicBezTo>
                  <a:cubicBezTo>
                    <a:pt x="3509" y="6813"/>
                    <a:pt x="3524" y="6835"/>
                    <a:pt x="3532" y="6850"/>
                  </a:cubicBezTo>
                  <a:cubicBezTo>
                    <a:pt x="3539" y="6872"/>
                    <a:pt x="3553" y="6923"/>
                    <a:pt x="3590" y="6901"/>
                  </a:cubicBezTo>
                  <a:cubicBezTo>
                    <a:pt x="3634" y="6872"/>
                    <a:pt x="3612" y="6864"/>
                    <a:pt x="3627" y="6828"/>
                  </a:cubicBezTo>
                  <a:cubicBezTo>
                    <a:pt x="3641" y="6784"/>
                    <a:pt x="3641" y="6777"/>
                    <a:pt x="3678" y="6747"/>
                  </a:cubicBezTo>
                  <a:cubicBezTo>
                    <a:pt x="3715" y="6725"/>
                    <a:pt x="3737" y="6689"/>
                    <a:pt x="3729" y="6652"/>
                  </a:cubicBezTo>
                  <a:cubicBezTo>
                    <a:pt x="3722" y="6623"/>
                    <a:pt x="3671" y="6623"/>
                    <a:pt x="3663" y="6593"/>
                  </a:cubicBezTo>
                  <a:cubicBezTo>
                    <a:pt x="3649" y="6557"/>
                    <a:pt x="3634" y="6527"/>
                    <a:pt x="3663" y="6491"/>
                  </a:cubicBezTo>
                  <a:cubicBezTo>
                    <a:pt x="3678" y="6469"/>
                    <a:pt x="3700" y="6432"/>
                    <a:pt x="3715" y="6403"/>
                  </a:cubicBezTo>
                  <a:cubicBezTo>
                    <a:pt x="3656" y="6410"/>
                    <a:pt x="3546" y="6388"/>
                    <a:pt x="3568" y="6352"/>
                  </a:cubicBezTo>
                  <a:cubicBezTo>
                    <a:pt x="3597" y="6322"/>
                    <a:pt x="3568" y="6279"/>
                    <a:pt x="3539" y="6279"/>
                  </a:cubicBezTo>
                  <a:cubicBezTo>
                    <a:pt x="3502" y="6279"/>
                    <a:pt x="3561" y="6184"/>
                    <a:pt x="3517" y="6133"/>
                  </a:cubicBezTo>
                  <a:cubicBezTo>
                    <a:pt x="3480" y="6081"/>
                    <a:pt x="3487" y="6052"/>
                    <a:pt x="3509" y="6023"/>
                  </a:cubicBezTo>
                  <a:cubicBezTo>
                    <a:pt x="3539" y="6001"/>
                    <a:pt x="3517" y="5964"/>
                    <a:pt x="3502" y="5928"/>
                  </a:cubicBezTo>
                  <a:cubicBezTo>
                    <a:pt x="3487" y="5898"/>
                    <a:pt x="3444" y="5928"/>
                    <a:pt x="3429" y="5847"/>
                  </a:cubicBezTo>
                  <a:cubicBezTo>
                    <a:pt x="3407" y="5759"/>
                    <a:pt x="3356" y="5708"/>
                    <a:pt x="3407" y="5686"/>
                  </a:cubicBezTo>
                  <a:cubicBezTo>
                    <a:pt x="3458" y="5656"/>
                    <a:pt x="3502" y="5649"/>
                    <a:pt x="3480" y="5576"/>
                  </a:cubicBezTo>
                  <a:cubicBezTo>
                    <a:pt x="3451" y="5495"/>
                    <a:pt x="3400" y="5429"/>
                    <a:pt x="3436" y="5393"/>
                  </a:cubicBezTo>
                  <a:cubicBezTo>
                    <a:pt x="3465" y="5363"/>
                    <a:pt x="3451" y="5312"/>
                    <a:pt x="3407" y="5312"/>
                  </a:cubicBezTo>
                  <a:cubicBezTo>
                    <a:pt x="3363" y="5312"/>
                    <a:pt x="3363" y="5283"/>
                    <a:pt x="3392" y="5224"/>
                  </a:cubicBezTo>
                  <a:cubicBezTo>
                    <a:pt x="3414" y="5165"/>
                    <a:pt x="3436" y="5165"/>
                    <a:pt x="3451" y="5136"/>
                  </a:cubicBezTo>
                  <a:cubicBezTo>
                    <a:pt x="3465" y="5114"/>
                    <a:pt x="3480" y="5048"/>
                    <a:pt x="3465" y="5012"/>
                  </a:cubicBezTo>
                  <a:cubicBezTo>
                    <a:pt x="3458" y="4975"/>
                    <a:pt x="3517" y="4953"/>
                    <a:pt x="3532" y="4924"/>
                  </a:cubicBezTo>
                  <a:cubicBezTo>
                    <a:pt x="3539" y="4902"/>
                    <a:pt x="3539" y="4858"/>
                    <a:pt x="3561" y="4843"/>
                  </a:cubicBezTo>
                  <a:cubicBezTo>
                    <a:pt x="3590" y="4828"/>
                    <a:pt x="3568" y="4887"/>
                    <a:pt x="3612" y="4872"/>
                  </a:cubicBezTo>
                  <a:cubicBezTo>
                    <a:pt x="3656" y="4865"/>
                    <a:pt x="3656" y="4850"/>
                    <a:pt x="3678" y="4828"/>
                  </a:cubicBezTo>
                  <a:cubicBezTo>
                    <a:pt x="3707" y="4799"/>
                    <a:pt x="3722" y="4755"/>
                    <a:pt x="3781" y="4755"/>
                  </a:cubicBezTo>
                  <a:cubicBezTo>
                    <a:pt x="3839" y="4755"/>
                    <a:pt x="3927" y="4741"/>
                    <a:pt x="3927" y="4741"/>
                  </a:cubicBezTo>
                  <a:cubicBezTo>
                    <a:pt x="3927" y="4741"/>
                    <a:pt x="3942" y="4704"/>
                    <a:pt x="3993" y="4704"/>
                  </a:cubicBezTo>
                  <a:cubicBezTo>
                    <a:pt x="4044" y="4704"/>
                    <a:pt x="4044" y="4741"/>
                    <a:pt x="4074" y="4741"/>
                  </a:cubicBezTo>
                  <a:cubicBezTo>
                    <a:pt x="4096" y="4741"/>
                    <a:pt x="4118" y="4726"/>
                    <a:pt x="4147" y="4696"/>
                  </a:cubicBezTo>
                  <a:cubicBezTo>
                    <a:pt x="4184" y="4674"/>
                    <a:pt x="4191" y="4674"/>
                    <a:pt x="4227" y="4660"/>
                  </a:cubicBezTo>
                  <a:cubicBezTo>
                    <a:pt x="4257" y="4653"/>
                    <a:pt x="4286" y="4653"/>
                    <a:pt x="4315" y="4653"/>
                  </a:cubicBezTo>
                  <a:cubicBezTo>
                    <a:pt x="4352" y="4653"/>
                    <a:pt x="4367" y="4653"/>
                    <a:pt x="4403" y="4601"/>
                  </a:cubicBezTo>
                  <a:cubicBezTo>
                    <a:pt x="4440" y="4550"/>
                    <a:pt x="4455" y="4499"/>
                    <a:pt x="4499" y="4491"/>
                  </a:cubicBezTo>
                  <a:cubicBezTo>
                    <a:pt x="4543" y="4484"/>
                    <a:pt x="4543" y="4528"/>
                    <a:pt x="4594" y="4521"/>
                  </a:cubicBezTo>
                  <a:cubicBezTo>
                    <a:pt x="4645" y="4513"/>
                    <a:pt x="4660" y="4499"/>
                    <a:pt x="4689" y="4462"/>
                  </a:cubicBezTo>
                  <a:cubicBezTo>
                    <a:pt x="4726" y="4418"/>
                    <a:pt x="4770" y="4396"/>
                    <a:pt x="4814" y="4418"/>
                  </a:cubicBezTo>
                  <a:cubicBezTo>
                    <a:pt x="4858" y="4433"/>
                    <a:pt x="4828" y="4499"/>
                    <a:pt x="4872" y="4499"/>
                  </a:cubicBezTo>
                  <a:cubicBezTo>
                    <a:pt x="4916" y="4499"/>
                    <a:pt x="4953" y="4535"/>
                    <a:pt x="4997" y="4491"/>
                  </a:cubicBezTo>
                  <a:cubicBezTo>
                    <a:pt x="5041" y="4447"/>
                    <a:pt x="5070" y="4411"/>
                    <a:pt x="5092" y="4418"/>
                  </a:cubicBezTo>
                  <a:cubicBezTo>
                    <a:pt x="5122" y="4425"/>
                    <a:pt x="5107" y="4499"/>
                    <a:pt x="5143" y="4499"/>
                  </a:cubicBezTo>
                  <a:cubicBezTo>
                    <a:pt x="5173" y="4499"/>
                    <a:pt x="5180" y="4491"/>
                    <a:pt x="5202" y="4513"/>
                  </a:cubicBezTo>
                  <a:cubicBezTo>
                    <a:pt x="5224" y="4491"/>
                    <a:pt x="5246" y="4469"/>
                    <a:pt x="5283" y="4447"/>
                  </a:cubicBezTo>
                  <a:cubicBezTo>
                    <a:pt x="5349" y="4411"/>
                    <a:pt x="5393" y="4396"/>
                    <a:pt x="5422" y="4345"/>
                  </a:cubicBezTo>
                  <a:cubicBezTo>
                    <a:pt x="5458" y="4301"/>
                    <a:pt x="5481" y="4227"/>
                    <a:pt x="5444" y="4205"/>
                  </a:cubicBezTo>
                  <a:cubicBezTo>
                    <a:pt x="5400" y="4176"/>
                    <a:pt x="5371" y="4125"/>
                    <a:pt x="5400" y="4074"/>
                  </a:cubicBezTo>
                  <a:cubicBezTo>
                    <a:pt x="5422" y="4022"/>
                    <a:pt x="5429" y="3971"/>
                    <a:pt x="5400" y="3949"/>
                  </a:cubicBezTo>
                  <a:cubicBezTo>
                    <a:pt x="5363" y="3920"/>
                    <a:pt x="5319" y="3898"/>
                    <a:pt x="5334" y="3854"/>
                  </a:cubicBezTo>
                  <a:cubicBezTo>
                    <a:pt x="5341" y="3810"/>
                    <a:pt x="5356" y="3700"/>
                    <a:pt x="5246" y="3736"/>
                  </a:cubicBezTo>
                  <a:cubicBezTo>
                    <a:pt x="5136" y="3773"/>
                    <a:pt x="5056" y="3722"/>
                    <a:pt x="5092" y="3685"/>
                  </a:cubicBezTo>
                  <a:cubicBezTo>
                    <a:pt x="5129" y="3649"/>
                    <a:pt x="5085" y="3641"/>
                    <a:pt x="5034" y="3641"/>
                  </a:cubicBezTo>
                  <a:cubicBezTo>
                    <a:pt x="4982" y="3641"/>
                    <a:pt x="4968" y="3634"/>
                    <a:pt x="4953" y="3590"/>
                  </a:cubicBezTo>
                  <a:cubicBezTo>
                    <a:pt x="4946" y="3546"/>
                    <a:pt x="4931" y="3510"/>
                    <a:pt x="4887" y="3539"/>
                  </a:cubicBezTo>
                  <a:cubicBezTo>
                    <a:pt x="4843" y="3575"/>
                    <a:pt x="4770" y="3612"/>
                    <a:pt x="4741" y="3531"/>
                  </a:cubicBezTo>
                  <a:cubicBezTo>
                    <a:pt x="4718" y="3458"/>
                    <a:pt x="4689" y="3465"/>
                    <a:pt x="4653" y="3473"/>
                  </a:cubicBezTo>
                  <a:cubicBezTo>
                    <a:pt x="4608" y="3480"/>
                    <a:pt x="4557" y="3451"/>
                    <a:pt x="4528" y="3414"/>
                  </a:cubicBezTo>
                  <a:cubicBezTo>
                    <a:pt x="4506" y="3377"/>
                    <a:pt x="4469" y="3422"/>
                    <a:pt x="4447" y="3385"/>
                  </a:cubicBezTo>
                  <a:cubicBezTo>
                    <a:pt x="4418" y="3355"/>
                    <a:pt x="4455" y="3312"/>
                    <a:pt x="4403" y="3326"/>
                  </a:cubicBezTo>
                  <a:cubicBezTo>
                    <a:pt x="4352" y="3348"/>
                    <a:pt x="4308" y="3385"/>
                    <a:pt x="4242" y="3422"/>
                  </a:cubicBezTo>
                  <a:cubicBezTo>
                    <a:pt x="4176" y="3458"/>
                    <a:pt x="4132" y="3487"/>
                    <a:pt x="4088" y="3429"/>
                  </a:cubicBezTo>
                  <a:cubicBezTo>
                    <a:pt x="4044" y="3370"/>
                    <a:pt x="4000" y="3334"/>
                    <a:pt x="3986" y="3304"/>
                  </a:cubicBezTo>
                  <a:cubicBezTo>
                    <a:pt x="3971" y="3268"/>
                    <a:pt x="3920" y="3282"/>
                    <a:pt x="3920" y="3282"/>
                  </a:cubicBezTo>
                  <a:cubicBezTo>
                    <a:pt x="3920" y="3282"/>
                    <a:pt x="3913" y="3363"/>
                    <a:pt x="3876" y="3348"/>
                  </a:cubicBezTo>
                  <a:cubicBezTo>
                    <a:pt x="3839" y="3326"/>
                    <a:pt x="3700" y="3238"/>
                    <a:pt x="3700" y="3238"/>
                  </a:cubicBezTo>
                  <a:cubicBezTo>
                    <a:pt x="3700" y="3238"/>
                    <a:pt x="3663" y="3224"/>
                    <a:pt x="3641" y="3158"/>
                  </a:cubicBezTo>
                  <a:cubicBezTo>
                    <a:pt x="3612" y="3092"/>
                    <a:pt x="3553" y="3084"/>
                    <a:pt x="3532" y="3048"/>
                  </a:cubicBezTo>
                  <a:cubicBezTo>
                    <a:pt x="3502" y="3011"/>
                    <a:pt x="3444" y="2960"/>
                    <a:pt x="3429" y="2901"/>
                  </a:cubicBezTo>
                  <a:cubicBezTo>
                    <a:pt x="3407" y="2843"/>
                    <a:pt x="3407" y="2799"/>
                    <a:pt x="3451" y="2747"/>
                  </a:cubicBezTo>
                  <a:cubicBezTo>
                    <a:pt x="3495" y="2696"/>
                    <a:pt x="3502" y="2725"/>
                    <a:pt x="3539" y="2696"/>
                  </a:cubicBezTo>
                  <a:cubicBezTo>
                    <a:pt x="3568" y="2674"/>
                    <a:pt x="3509" y="2645"/>
                    <a:pt x="3480" y="2615"/>
                  </a:cubicBezTo>
                  <a:cubicBezTo>
                    <a:pt x="3444" y="2579"/>
                    <a:pt x="3451" y="2550"/>
                    <a:pt x="3465" y="2462"/>
                  </a:cubicBezTo>
                  <a:cubicBezTo>
                    <a:pt x="3487" y="2374"/>
                    <a:pt x="3546" y="2352"/>
                    <a:pt x="3553" y="2308"/>
                  </a:cubicBezTo>
                  <a:cubicBezTo>
                    <a:pt x="3561" y="2264"/>
                    <a:pt x="3539" y="2234"/>
                    <a:pt x="3532" y="2183"/>
                  </a:cubicBezTo>
                  <a:cubicBezTo>
                    <a:pt x="3517" y="2132"/>
                    <a:pt x="3509" y="1985"/>
                    <a:pt x="3546" y="1941"/>
                  </a:cubicBezTo>
                  <a:cubicBezTo>
                    <a:pt x="3575" y="1897"/>
                    <a:pt x="3619" y="1846"/>
                    <a:pt x="3590" y="1817"/>
                  </a:cubicBezTo>
                  <a:cubicBezTo>
                    <a:pt x="3553" y="1780"/>
                    <a:pt x="3517" y="1824"/>
                    <a:pt x="3480" y="1795"/>
                  </a:cubicBezTo>
                  <a:cubicBezTo>
                    <a:pt x="3436" y="1773"/>
                    <a:pt x="3451" y="1685"/>
                    <a:pt x="3429" y="1677"/>
                  </a:cubicBezTo>
                  <a:cubicBezTo>
                    <a:pt x="3400" y="1670"/>
                    <a:pt x="3400" y="1670"/>
                    <a:pt x="3363" y="1707"/>
                  </a:cubicBezTo>
                  <a:cubicBezTo>
                    <a:pt x="3334" y="1736"/>
                    <a:pt x="3275" y="1787"/>
                    <a:pt x="3268" y="1736"/>
                  </a:cubicBezTo>
                  <a:cubicBezTo>
                    <a:pt x="3253" y="1685"/>
                    <a:pt x="3275" y="1685"/>
                    <a:pt x="3290" y="1663"/>
                  </a:cubicBezTo>
                  <a:cubicBezTo>
                    <a:pt x="3304" y="1634"/>
                    <a:pt x="3224" y="1626"/>
                    <a:pt x="3224" y="1626"/>
                  </a:cubicBezTo>
                  <a:cubicBezTo>
                    <a:pt x="3224" y="1626"/>
                    <a:pt x="3231" y="1597"/>
                    <a:pt x="3246" y="1546"/>
                  </a:cubicBezTo>
                  <a:cubicBezTo>
                    <a:pt x="3268" y="1494"/>
                    <a:pt x="3246" y="1406"/>
                    <a:pt x="3268" y="1384"/>
                  </a:cubicBezTo>
                  <a:cubicBezTo>
                    <a:pt x="3282" y="1355"/>
                    <a:pt x="3334" y="1348"/>
                    <a:pt x="3348" y="1318"/>
                  </a:cubicBezTo>
                  <a:cubicBezTo>
                    <a:pt x="3363" y="1296"/>
                    <a:pt x="3392" y="1231"/>
                    <a:pt x="3348" y="1143"/>
                  </a:cubicBezTo>
                  <a:cubicBezTo>
                    <a:pt x="3304" y="1055"/>
                    <a:pt x="3275" y="1025"/>
                    <a:pt x="3297" y="981"/>
                  </a:cubicBezTo>
                  <a:cubicBezTo>
                    <a:pt x="3326" y="937"/>
                    <a:pt x="3297" y="915"/>
                    <a:pt x="3290" y="879"/>
                  </a:cubicBezTo>
                  <a:cubicBezTo>
                    <a:pt x="3282" y="850"/>
                    <a:pt x="3312" y="813"/>
                    <a:pt x="3356" y="784"/>
                  </a:cubicBezTo>
                  <a:cubicBezTo>
                    <a:pt x="3400" y="762"/>
                    <a:pt x="3385" y="710"/>
                    <a:pt x="3363" y="666"/>
                  </a:cubicBezTo>
                  <a:cubicBezTo>
                    <a:pt x="3348" y="622"/>
                    <a:pt x="3275" y="534"/>
                    <a:pt x="3238" y="520"/>
                  </a:cubicBezTo>
                  <a:cubicBezTo>
                    <a:pt x="3202" y="512"/>
                    <a:pt x="3202" y="564"/>
                    <a:pt x="3165" y="586"/>
                  </a:cubicBezTo>
                  <a:cubicBezTo>
                    <a:pt x="3121" y="600"/>
                    <a:pt x="3128" y="542"/>
                    <a:pt x="3114" y="505"/>
                  </a:cubicBezTo>
                  <a:cubicBezTo>
                    <a:pt x="3092" y="468"/>
                    <a:pt x="3092" y="520"/>
                    <a:pt x="3041" y="512"/>
                  </a:cubicBezTo>
                  <a:cubicBezTo>
                    <a:pt x="2989" y="505"/>
                    <a:pt x="2916" y="491"/>
                    <a:pt x="2887" y="498"/>
                  </a:cubicBezTo>
                  <a:cubicBezTo>
                    <a:pt x="2865" y="505"/>
                    <a:pt x="2755" y="512"/>
                    <a:pt x="2689" y="483"/>
                  </a:cubicBezTo>
                  <a:cubicBezTo>
                    <a:pt x="2615" y="446"/>
                    <a:pt x="2542" y="432"/>
                    <a:pt x="2527" y="403"/>
                  </a:cubicBezTo>
                  <a:cubicBezTo>
                    <a:pt x="2506" y="381"/>
                    <a:pt x="2527" y="344"/>
                    <a:pt x="2542" y="307"/>
                  </a:cubicBezTo>
                  <a:cubicBezTo>
                    <a:pt x="2557" y="278"/>
                    <a:pt x="2506" y="249"/>
                    <a:pt x="2462" y="278"/>
                  </a:cubicBezTo>
                  <a:cubicBezTo>
                    <a:pt x="2425" y="300"/>
                    <a:pt x="2396" y="205"/>
                    <a:pt x="2396" y="205"/>
                  </a:cubicBezTo>
                  <a:cubicBezTo>
                    <a:pt x="2352" y="153"/>
                    <a:pt x="2337" y="146"/>
                    <a:pt x="2293" y="175"/>
                  </a:cubicBezTo>
                  <a:cubicBezTo>
                    <a:pt x="2249" y="197"/>
                    <a:pt x="2220" y="227"/>
                    <a:pt x="2213" y="175"/>
                  </a:cubicBezTo>
                  <a:cubicBezTo>
                    <a:pt x="2205" y="124"/>
                    <a:pt x="2191" y="124"/>
                    <a:pt x="2154" y="117"/>
                  </a:cubicBezTo>
                  <a:cubicBezTo>
                    <a:pt x="2110" y="109"/>
                    <a:pt x="2110" y="80"/>
                    <a:pt x="2125" y="43"/>
                  </a:cubicBezTo>
                  <a:cubicBezTo>
                    <a:pt x="2139" y="14"/>
                    <a:pt x="2117" y="0"/>
                    <a:pt x="2073" y="0"/>
                  </a:cubicBezTo>
                  <a:cubicBezTo>
                    <a:pt x="2051" y="22"/>
                    <a:pt x="2022" y="51"/>
                    <a:pt x="2022" y="73"/>
                  </a:cubicBezTo>
                  <a:cubicBezTo>
                    <a:pt x="2022" y="109"/>
                    <a:pt x="1978" y="131"/>
                    <a:pt x="1956" y="14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4" name="Freeform 16"/>
            <p:cNvSpPr>
              <a:spLocks noChangeArrowheads="1"/>
            </p:cNvSpPr>
            <p:nvPr/>
          </p:nvSpPr>
          <p:spPr bwMode="auto">
            <a:xfrm>
              <a:off x="4094384" y="4059044"/>
              <a:ext cx="3810138" cy="3310390"/>
            </a:xfrm>
            <a:custGeom>
              <a:avLst/>
              <a:gdLst>
                <a:gd name="T0" fmla="*/ 3153683 w 9914"/>
                <a:gd name="T1" fmla="*/ 905904 h 8714"/>
                <a:gd name="T2" fmla="*/ 2982120 w 9914"/>
                <a:gd name="T3" fmla="*/ 765721 h 8714"/>
                <a:gd name="T4" fmla="*/ 2759055 w 9914"/>
                <a:gd name="T5" fmla="*/ 647027 h 8714"/>
                <a:gd name="T6" fmla="*/ 2575118 w 9914"/>
                <a:gd name="T7" fmla="*/ 578919 h 8714"/>
                <a:gd name="T8" fmla="*/ 2345364 w 9914"/>
                <a:gd name="T9" fmla="*/ 557098 h 8714"/>
                <a:gd name="T10" fmla="*/ 2163768 w 9914"/>
                <a:gd name="T11" fmla="*/ 501554 h 8714"/>
                <a:gd name="T12" fmla="*/ 1980165 w 9914"/>
                <a:gd name="T13" fmla="*/ 361039 h 8714"/>
                <a:gd name="T14" fmla="*/ 1759441 w 9914"/>
                <a:gd name="T15" fmla="*/ 82325 h 8714"/>
                <a:gd name="T16" fmla="*/ 1313645 w 9914"/>
                <a:gd name="T17" fmla="*/ 31409 h 8714"/>
                <a:gd name="T18" fmla="*/ 1262142 w 9914"/>
                <a:gd name="T19" fmla="*/ 438405 h 8714"/>
                <a:gd name="T20" fmla="*/ 1058808 w 9914"/>
                <a:gd name="T21" fmla="*/ 356080 h 8714"/>
                <a:gd name="T22" fmla="*/ 1024362 w 9914"/>
                <a:gd name="T23" fmla="*/ 547510 h 8714"/>
                <a:gd name="T24" fmla="*/ 967843 w 9914"/>
                <a:gd name="T25" fmla="*/ 297890 h 8714"/>
                <a:gd name="T26" fmla="*/ 700967 w 9914"/>
                <a:gd name="T27" fmla="*/ 225154 h 8714"/>
                <a:gd name="T28" fmla="*/ 318713 w 9914"/>
                <a:gd name="T29" fmla="*/ 387489 h 8714"/>
                <a:gd name="T30" fmla="*/ 387271 w 9914"/>
                <a:gd name="T31" fmla="*/ 622561 h 8714"/>
                <a:gd name="T32" fmla="*/ 357841 w 9914"/>
                <a:gd name="T33" fmla="*/ 881769 h 8714"/>
                <a:gd name="T34" fmla="*/ 220724 w 9914"/>
                <a:gd name="T35" fmla="*/ 1388282 h 8714"/>
                <a:gd name="T36" fmla="*/ 27089 w 9914"/>
                <a:gd name="T37" fmla="*/ 1463333 h 8714"/>
                <a:gd name="T38" fmla="*/ 206009 w 9914"/>
                <a:gd name="T39" fmla="*/ 1574753 h 8714"/>
                <a:gd name="T40" fmla="*/ 240121 w 9914"/>
                <a:gd name="T41" fmla="*/ 1821727 h 8714"/>
                <a:gd name="T42" fmla="*/ 580906 w 9914"/>
                <a:gd name="T43" fmla="*/ 1678898 h 8714"/>
                <a:gd name="T44" fmla="*/ 671537 w 9914"/>
                <a:gd name="T45" fmla="*/ 1598888 h 8714"/>
                <a:gd name="T46" fmla="*/ 833402 w 9914"/>
                <a:gd name="T47" fmla="*/ 1688486 h 8714"/>
                <a:gd name="T48" fmla="*/ 823369 w 9914"/>
                <a:gd name="T49" fmla="*/ 1858096 h 8714"/>
                <a:gd name="T50" fmla="*/ 816011 w 9914"/>
                <a:gd name="T51" fmla="*/ 1996296 h 8714"/>
                <a:gd name="T52" fmla="*/ 994932 w 9914"/>
                <a:gd name="T53" fmla="*/ 2015802 h 8714"/>
                <a:gd name="T54" fmla="*/ 1181210 w 9914"/>
                <a:gd name="T55" fmla="*/ 1933147 h 8714"/>
                <a:gd name="T56" fmla="*/ 1183551 w 9914"/>
                <a:gd name="T57" fmla="*/ 1710308 h 8714"/>
                <a:gd name="T58" fmla="*/ 1195925 w 9914"/>
                <a:gd name="T59" fmla="*/ 1591614 h 8714"/>
                <a:gd name="T60" fmla="*/ 1345416 w 9914"/>
                <a:gd name="T61" fmla="*/ 1523837 h 8714"/>
                <a:gd name="T62" fmla="*/ 1539051 w 9914"/>
                <a:gd name="T63" fmla="*/ 1637571 h 8714"/>
                <a:gd name="T64" fmla="*/ 1639380 w 9914"/>
                <a:gd name="T65" fmla="*/ 1627983 h 8714"/>
                <a:gd name="T66" fmla="*/ 1580520 w 9914"/>
                <a:gd name="T67" fmla="*/ 1824372 h 8714"/>
                <a:gd name="T68" fmla="*/ 1609950 w 9914"/>
                <a:gd name="T69" fmla="*/ 1945380 h 8714"/>
                <a:gd name="T70" fmla="*/ 1688542 w 9914"/>
                <a:gd name="T71" fmla="*/ 2110030 h 8714"/>
                <a:gd name="T72" fmla="*/ 1847731 w 9914"/>
                <a:gd name="T73" fmla="*/ 2250544 h 8714"/>
                <a:gd name="T74" fmla="*/ 1838032 w 9914"/>
                <a:gd name="T75" fmla="*/ 2444619 h 8714"/>
                <a:gd name="T76" fmla="*/ 1958093 w 9914"/>
                <a:gd name="T77" fmla="*/ 2505123 h 8714"/>
                <a:gd name="T78" fmla="*/ 1994880 w 9914"/>
                <a:gd name="T79" fmla="*/ 2592076 h 8714"/>
                <a:gd name="T80" fmla="*/ 1980165 w 9914"/>
                <a:gd name="T81" fmla="*/ 2754412 h 8714"/>
                <a:gd name="T82" fmla="*/ 2085511 w 9914"/>
                <a:gd name="T83" fmla="*/ 2836737 h 8714"/>
                <a:gd name="T84" fmla="*/ 2154069 w 9914"/>
                <a:gd name="T85" fmla="*/ 2769290 h 8714"/>
                <a:gd name="T86" fmla="*/ 2296203 w 9914"/>
                <a:gd name="T87" fmla="*/ 2715729 h 8714"/>
                <a:gd name="T88" fmla="*/ 2462749 w 9914"/>
                <a:gd name="T89" fmla="*/ 2633404 h 8714"/>
                <a:gd name="T90" fmla="*/ 2599866 w 9914"/>
                <a:gd name="T91" fmla="*/ 2558353 h 8714"/>
                <a:gd name="T92" fmla="*/ 2692838 w 9914"/>
                <a:gd name="T93" fmla="*/ 2517025 h 8714"/>
                <a:gd name="T94" fmla="*/ 2661067 w 9914"/>
                <a:gd name="T95" fmla="*/ 2342787 h 8714"/>
                <a:gd name="T96" fmla="*/ 2670765 w 9914"/>
                <a:gd name="T97" fmla="*/ 2122263 h 8714"/>
                <a:gd name="T98" fmla="*/ 2834971 w 9914"/>
                <a:gd name="T99" fmla="*/ 2030019 h 8714"/>
                <a:gd name="T100" fmla="*/ 2957372 w 9914"/>
                <a:gd name="T101" fmla="*/ 1889835 h 8714"/>
                <a:gd name="T102" fmla="*/ 2930618 w 9914"/>
                <a:gd name="T103" fmla="*/ 1722541 h 8714"/>
                <a:gd name="T104" fmla="*/ 2898847 w 9914"/>
                <a:gd name="T105" fmla="*/ 1538384 h 8714"/>
                <a:gd name="T106" fmla="*/ 2871758 w 9914"/>
                <a:gd name="T107" fmla="*/ 1400184 h 8714"/>
                <a:gd name="T108" fmla="*/ 2776111 w 9914"/>
                <a:gd name="T109" fmla="*/ 1153209 h 8714"/>
                <a:gd name="T110" fmla="*/ 2996835 w 9914"/>
                <a:gd name="T111" fmla="*/ 1092706 h 8714"/>
                <a:gd name="T112" fmla="*/ 3192812 w 9914"/>
                <a:gd name="T113" fmla="*/ 1063611 h 8714"/>
                <a:gd name="T114" fmla="*/ 3298158 w 9914"/>
                <a:gd name="T115" fmla="*/ 944918 h 871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9914" h="8714">
                  <a:moveTo>
                    <a:pt x="9906" y="2777"/>
                  </a:moveTo>
                  <a:lnTo>
                    <a:pt x="9906" y="2777"/>
                  </a:lnTo>
                  <a:cubicBezTo>
                    <a:pt x="9855" y="2777"/>
                    <a:pt x="9833" y="2799"/>
                    <a:pt x="9767" y="2792"/>
                  </a:cubicBezTo>
                  <a:cubicBezTo>
                    <a:pt x="9708" y="2777"/>
                    <a:pt x="9664" y="2733"/>
                    <a:pt x="9598" y="2704"/>
                  </a:cubicBezTo>
                  <a:cubicBezTo>
                    <a:pt x="9532" y="2682"/>
                    <a:pt x="9474" y="2719"/>
                    <a:pt x="9430" y="2740"/>
                  </a:cubicBezTo>
                  <a:cubicBezTo>
                    <a:pt x="9386" y="2755"/>
                    <a:pt x="9342" y="2755"/>
                    <a:pt x="9305" y="2704"/>
                  </a:cubicBezTo>
                  <a:cubicBezTo>
                    <a:pt x="9261" y="2653"/>
                    <a:pt x="9195" y="2565"/>
                    <a:pt x="9239" y="2557"/>
                  </a:cubicBezTo>
                  <a:cubicBezTo>
                    <a:pt x="9195" y="2521"/>
                    <a:pt x="9115" y="2491"/>
                    <a:pt x="9056" y="2506"/>
                  </a:cubicBezTo>
                  <a:cubicBezTo>
                    <a:pt x="8975" y="2528"/>
                    <a:pt x="8975" y="2447"/>
                    <a:pt x="9027" y="2418"/>
                  </a:cubicBezTo>
                  <a:cubicBezTo>
                    <a:pt x="9078" y="2381"/>
                    <a:pt x="8968" y="2330"/>
                    <a:pt x="8917" y="2316"/>
                  </a:cubicBezTo>
                  <a:cubicBezTo>
                    <a:pt x="8865" y="2294"/>
                    <a:pt x="8778" y="2176"/>
                    <a:pt x="8755" y="2132"/>
                  </a:cubicBezTo>
                  <a:cubicBezTo>
                    <a:pt x="8741" y="2088"/>
                    <a:pt x="8682" y="2015"/>
                    <a:pt x="8638" y="1942"/>
                  </a:cubicBezTo>
                  <a:cubicBezTo>
                    <a:pt x="8594" y="1861"/>
                    <a:pt x="8572" y="1847"/>
                    <a:pt x="8506" y="1839"/>
                  </a:cubicBezTo>
                  <a:cubicBezTo>
                    <a:pt x="8433" y="1832"/>
                    <a:pt x="8426" y="1869"/>
                    <a:pt x="8382" y="1920"/>
                  </a:cubicBezTo>
                  <a:cubicBezTo>
                    <a:pt x="8338" y="1971"/>
                    <a:pt x="8294" y="1971"/>
                    <a:pt x="8250" y="1957"/>
                  </a:cubicBezTo>
                  <a:cubicBezTo>
                    <a:pt x="8206" y="1942"/>
                    <a:pt x="8140" y="1854"/>
                    <a:pt x="8111" y="1810"/>
                  </a:cubicBezTo>
                  <a:cubicBezTo>
                    <a:pt x="8089" y="1766"/>
                    <a:pt x="8060" y="1759"/>
                    <a:pt x="8015" y="1781"/>
                  </a:cubicBezTo>
                  <a:cubicBezTo>
                    <a:pt x="7986" y="1788"/>
                    <a:pt x="7935" y="1766"/>
                    <a:pt x="7905" y="1744"/>
                  </a:cubicBezTo>
                  <a:cubicBezTo>
                    <a:pt x="7891" y="1751"/>
                    <a:pt x="7869" y="1759"/>
                    <a:pt x="7854" y="1766"/>
                  </a:cubicBezTo>
                  <a:cubicBezTo>
                    <a:pt x="7818" y="1795"/>
                    <a:pt x="7752" y="1759"/>
                    <a:pt x="7700" y="1751"/>
                  </a:cubicBezTo>
                  <a:cubicBezTo>
                    <a:pt x="7650" y="1744"/>
                    <a:pt x="7570" y="1693"/>
                    <a:pt x="7533" y="1678"/>
                  </a:cubicBezTo>
                  <a:cubicBezTo>
                    <a:pt x="7504" y="1656"/>
                    <a:pt x="7408" y="1597"/>
                    <a:pt x="7364" y="1576"/>
                  </a:cubicBezTo>
                  <a:cubicBezTo>
                    <a:pt x="7320" y="1546"/>
                    <a:pt x="7291" y="1583"/>
                    <a:pt x="7240" y="1590"/>
                  </a:cubicBezTo>
                  <a:cubicBezTo>
                    <a:pt x="7189" y="1597"/>
                    <a:pt x="7181" y="1619"/>
                    <a:pt x="7144" y="1649"/>
                  </a:cubicBezTo>
                  <a:cubicBezTo>
                    <a:pt x="7108" y="1685"/>
                    <a:pt x="7079" y="1678"/>
                    <a:pt x="7013" y="1685"/>
                  </a:cubicBezTo>
                  <a:cubicBezTo>
                    <a:pt x="6954" y="1693"/>
                    <a:pt x="6881" y="1597"/>
                    <a:pt x="6837" y="1546"/>
                  </a:cubicBezTo>
                  <a:cubicBezTo>
                    <a:pt x="6793" y="1495"/>
                    <a:pt x="6778" y="1517"/>
                    <a:pt x="6727" y="1539"/>
                  </a:cubicBezTo>
                  <a:cubicBezTo>
                    <a:pt x="6675" y="1568"/>
                    <a:pt x="6668" y="1597"/>
                    <a:pt x="6624" y="1634"/>
                  </a:cubicBezTo>
                  <a:cubicBezTo>
                    <a:pt x="6580" y="1663"/>
                    <a:pt x="6522" y="1634"/>
                    <a:pt x="6507" y="1597"/>
                  </a:cubicBezTo>
                  <a:cubicBezTo>
                    <a:pt x="6492" y="1568"/>
                    <a:pt x="6507" y="1524"/>
                    <a:pt x="6470" y="1517"/>
                  </a:cubicBezTo>
                  <a:cubicBezTo>
                    <a:pt x="6441" y="1502"/>
                    <a:pt x="6412" y="1539"/>
                    <a:pt x="6368" y="1576"/>
                  </a:cubicBezTo>
                  <a:cubicBezTo>
                    <a:pt x="6324" y="1605"/>
                    <a:pt x="6302" y="1502"/>
                    <a:pt x="6265" y="1473"/>
                  </a:cubicBezTo>
                  <a:cubicBezTo>
                    <a:pt x="6236" y="1436"/>
                    <a:pt x="6243" y="1363"/>
                    <a:pt x="6251" y="1312"/>
                  </a:cubicBezTo>
                  <a:cubicBezTo>
                    <a:pt x="6258" y="1260"/>
                    <a:pt x="6214" y="1216"/>
                    <a:pt x="6177" y="1180"/>
                  </a:cubicBezTo>
                  <a:cubicBezTo>
                    <a:pt x="6133" y="1150"/>
                    <a:pt x="5994" y="1121"/>
                    <a:pt x="5921" y="1092"/>
                  </a:cubicBezTo>
                  <a:cubicBezTo>
                    <a:pt x="5840" y="1055"/>
                    <a:pt x="5730" y="879"/>
                    <a:pt x="5708" y="784"/>
                  </a:cubicBezTo>
                  <a:cubicBezTo>
                    <a:pt x="5679" y="689"/>
                    <a:pt x="5576" y="645"/>
                    <a:pt x="5540" y="594"/>
                  </a:cubicBezTo>
                  <a:cubicBezTo>
                    <a:pt x="5518" y="571"/>
                    <a:pt x="5459" y="476"/>
                    <a:pt x="5408" y="396"/>
                  </a:cubicBezTo>
                  <a:cubicBezTo>
                    <a:pt x="5415" y="410"/>
                    <a:pt x="5423" y="425"/>
                    <a:pt x="5423" y="425"/>
                  </a:cubicBezTo>
                  <a:cubicBezTo>
                    <a:pt x="5423" y="425"/>
                    <a:pt x="5342" y="308"/>
                    <a:pt x="5261" y="249"/>
                  </a:cubicBezTo>
                  <a:cubicBezTo>
                    <a:pt x="5181" y="198"/>
                    <a:pt x="5100" y="154"/>
                    <a:pt x="5012" y="161"/>
                  </a:cubicBezTo>
                  <a:cubicBezTo>
                    <a:pt x="4924" y="176"/>
                    <a:pt x="4829" y="161"/>
                    <a:pt x="4749" y="220"/>
                  </a:cubicBezTo>
                  <a:cubicBezTo>
                    <a:pt x="4675" y="278"/>
                    <a:pt x="4573" y="300"/>
                    <a:pt x="4448" y="278"/>
                  </a:cubicBezTo>
                  <a:cubicBezTo>
                    <a:pt x="4323" y="249"/>
                    <a:pt x="4243" y="308"/>
                    <a:pt x="4177" y="227"/>
                  </a:cubicBezTo>
                  <a:cubicBezTo>
                    <a:pt x="4104" y="154"/>
                    <a:pt x="4001" y="0"/>
                    <a:pt x="3928" y="95"/>
                  </a:cubicBezTo>
                  <a:cubicBezTo>
                    <a:pt x="3847" y="183"/>
                    <a:pt x="3789" y="249"/>
                    <a:pt x="3774" y="322"/>
                  </a:cubicBezTo>
                  <a:cubicBezTo>
                    <a:pt x="3767" y="388"/>
                    <a:pt x="3722" y="579"/>
                    <a:pt x="3671" y="659"/>
                  </a:cubicBezTo>
                  <a:cubicBezTo>
                    <a:pt x="3627" y="740"/>
                    <a:pt x="3664" y="901"/>
                    <a:pt x="3708" y="967"/>
                  </a:cubicBezTo>
                  <a:cubicBezTo>
                    <a:pt x="3752" y="1033"/>
                    <a:pt x="3774" y="1055"/>
                    <a:pt x="3774" y="1150"/>
                  </a:cubicBezTo>
                  <a:cubicBezTo>
                    <a:pt x="3774" y="1238"/>
                    <a:pt x="3774" y="1326"/>
                    <a:pt x="3774" y="1326"/>
                  </a:cubicBezTo>
                  <a:cubicBezTo>
                    <a:pt x="3774" y="1326"/>
                    <a:pt x="3744" y="1238"/>
                    <a:pt x="3701" y="1194"/>
                  </a:cubicBezTo>
                  <a:cubicBezTo>
                    <a:pt x="3649" y="1150"/>
                    <a:pt x="3701" y="1194"/>
                    <a:pt x="3605" y="1172"/>
                  </a:cubicBezTo>
                  <a:cubicBezTo>
                    <a:pt x="3518" y="1150"/>
                    <a:pt x="3518" y="1172"/>
                    <a:pt x="3459" y="1092"/>
                  </a:cubicBezTo>
                  <a:cubicBezTo>
                    <a:pt x="3400" y="1011"/>
                    <a:pt x="3356" y="901"/>
                    <a:pt x="3276" y="952"/>
                  </a:cubicBezTo>
                  <a:cubicBezTo>
                    <a:pt x="3202" y="1011"/>
                    <a:pt x="3166" y="1004"/>
                    <a:pt x="3166" y="1077"/>
                  </a:cubicBezTo>
                  <a:cubicBezTo>
                    <a:pt x="3166" y="1158"/>
                    <a:pt x="3166" y="1216"/>
                    <a:pt x="3144" y="1275"/>
                  </a:cubicBezTo>
                  <a:cubicBezTo>
                    <a:pt x="3122" y="1326"/>
                    <a:pt x="3188" y="1385"/>
                    <a:pt x="3232" y="1319"/>
                  </a:cubicBezTo>
                  <a:cubicBezTo>
                    <a:pt x="3276" y="1253"/>
                    <a:pt x="3298" y="1304"/>
                    <a:pt x="3312" y="1407"/>
                  </a:cubicBezTo>
                  <a:cubicBezTo>
                    <a:pt x="3327" y="1509"/>
                    <a:pt x="3312" y="1553"/>
                    <a:pt x="3254" y="1627"/>
                  </a:cubicBezTo>
                  <a:cubicBezTo>
                    <a:pt x="3202" y="1693"/>
                    <a:pt x="3144" y="1737"/>
                    <a:pt x="3063" y="1656"/>
                  </a:cubicBezTo>
                  <a:cubicBezTo>
                    <a:pt x="2982" y="1576"/>
                    <a:pt x="3004" y="1502"/>
                    <a:pt x="2902" y="1502"/>
                  </a:cubicBezTo>
                  <a:cubicBezTo>
                    <a:pt x="2799" y="1502"/>
                    <a:pt x="2748" y="1363"/>
                    <a:pt x="2814" y="1341"/>
                  </a:cubicBezTo>
                  <a:cubicBezTo>
                    <a:pt x="2880" y="1319"/>
                    <a:pt x="2961" y="1385"/>
                    <a:pt x="2997" y="1319"/>
                  </a:cubicBezTo>
                  <a:cubicBezTo>
                    <a:pt x="3027" y="1253"/>
                    <a:pt x="3041" y="1202"/>
                    <a:pt x="2997" y="1128"/>
                  </a:cubicBezTo>
                  <a:cubicBezTo>
                    <a:pt x="2946" y="1048"/>
                    <a:pt x="2924" y="945"/>
                    <a:pt x="2894" y="901"/>
                  </a:cubicBezTo>
                  <a:cubicBezTo>
                    <a:pt x="2858" y="850"/>
                    <a:pt x="2770" y="901"/>
                    <a:pt x="2770" y="799"/>
                  </a:cubicBezTo>
                  <a:cubicBezTo>
                    <a:pt x="2770" y="696"/>
                    <a:pt x="2792" y="674"/>
                    <a:pt x="2711" y="652"/>
                  </a:cubicBezTo>
                  <a:cubicBezTo>
                    <a:pt x="2711" y="652"/>
                    <a:pt x="2623" y="616"/>
                    <a:pt x="2550" y="616"/>
                  </a:cubicBezTo>
                  <a:cubicBezTo>
                    <a:pt x="2484" y="616"/>
                    <a:pt x="2418" y="579"/>
                    <a:pt x="2374" y="630"/>
                  </a:cubicBezTo>
                  <a:cubicBezTo>
                    <a:pt x="2323" y="674"/>
                    <a:pt x="2169" y="652"/>
                    <a:pt x="2096" y="681"/>
                  </a:cubicBezTo>
                  <a:cubicBezTo>
                    <a:pt x="2030" y="718"/>
                    <a:pt x="1818" y="806"/>
                    <a:pt x="1744" y="777"/>
                  </a:cubicBezTo>
                  <a:cubicBezTo>
                    <a:pt x="1678" y="740"/>
                    <a:pt x="1554" y="703"/>
                    <a:pt x="1473" y="726"/>
                  </a:cubicBezTo>
                  <a:cubicBezTo>
                    <a:pt x="1400" y="755"/>
                    <a:pt x="1224" y="726"/>
                    <a:pt x="1158" y="799"/>
                  </a:cubicBezTo>
                  <a:cubicBezTo>
                    <a:pt x="1092" y="865"/>
                    <a:pt x="968" y="952"/>
                    <a:pt x="923" y="1026"/>
                  </a:cubicBezTo>
                  <a:cubicBezTo>
                    <a:pt x="872" y="1092"/>
                    <a:pt x="887" y="1128"/>
                    <a:pt x="953" y="1172"/>
                  </a:cubicBezTo>
                  <a:cubicBezTo>
                    <a:pt x="1019" y="1216"/>
                    <a:pt x="997" y="1260"/>
                    <a:pt x="894" y="1253"/>
                  </a:cubicBezTo>
                  <a:cubicBezTo>
                    <a:pt x="799" y="1238"/>
                    <a:pt x="799" y="1253"/>
                    <a:pt x="770" y="1341"/>
                  </a:cubicBezTo>
                  <a:cubicBezTo>
                    <a:pt x="748" y="1429"/>
                    <a:pt x="748" y="1524"/>
                    <a:pt x="718" y="1612"/>
                  </a:cubicBezTo>
                  <a:cubicBezTo>
                    <a:pt x="682" y="1707"/>
                    <a:pt x="660" y="1854"/>
                    <a:pt x="784" y="1876"/>
                  </a:cubicBezTo>
                  <a:cubicBezTo>
                    <a:pt x="909" y="1898"/>
                    <a:pt x="1099" y="1861"/>
                    <a:pt x="1158" y="1883"/>
                  </a:cubicBezTo>
                  <a:cubicBezTo>
                    <a:pt x="1217" y="1905"/>
                    <a:pt x="1173" y="1883"/>
                    <a:pt x="1158" y="1978"/>
                  </a:cubicBezTo>
                  <a:cubicBezTo>
                    <a:pt x="1151" y="2066"/>
                    <a:pt x="1158" y="2132"/>
                    <a:pt x="1114" y="2176"/>
                  </a:cubicBezTo>
                  <a:cubicBezTo>
                    <a:pt x="1070" y="2228"/>
                    <a:pt x="1136" y="2235"/>
                    <a:pt x="1121" y="2330"/>
                  </a:cubicBezTo>
                  <a:cubicBezTo>
                    <a:pt x="1114" y="2418"/>
                    <a:pt x="1077" y="2359"/>
                    <a:pt x="1055" y="2440"/>
                  </a:cubicBezTo>
                  <a:cubicBezTo>
                    <a:pt x="1033" y="2521"/>
                    <a:pt x="1048" y="2557"/>
                    <a:pt x="1070" y="2667"/>
                  </a:cubicBezTo>
                  <a:cubicBezTo>
                    <a:pt x="1092" y="2777"/>
                    <a:pt x="1121" y="2953"/>
                    <a:pt x="1070" y="3056"/>
                  </a:cubicBezTo>
                  <a:cubicBezTo>
                    <a:pt x="1011" y="3158"/>
                    <a:pt x="931" y="3349"/>
                    <a:pt x="865" y="3429"/>
                  </a:cubicBezTo>
                  <a:cubicBezTo>
                    <a:pt x="799" y="3510"/>
                    <a:pt x="762" y="3657"/>
                    <a:pt x="770" y="3759"/>
                  </a:cubicBezTo>
                  <a:cubicBezTo>
                    <a:pt x="784" y="3854"/>
                    <a:pt x="740" y="4016"/>
                    <a:pt x="740" y="4059"/>
                  </a:cubicBezTo>
                  <a:cubicBezTo>
                    <a:pt x="740" y="4103"/>
                    <a:pt x="740" y="4243"/>
                    <a:pt x="660" y="4199"/>
                  </a:cubicBezTo>
                  <a:cubicBezTo>
                    <a:pt x="579" y="4155"/>
                    <a:pt x="520" y="4177"/>
                    <a:pt x="447" y="4155"/>
                  </a:cubicBezTo>
                  <a:cubicBezTo>
                    <a:pt x="367" y="4133"/>
                    <a:pt x="308" y="4081"/>
                    <a:pt x="249" y="4103"/>
                  </a:cubicBezTo>
                  <a:cubicBezTo>
                    <a:pt x="198" y="4133"/>
                    <a:pt x="44" y="4096"/>
                    <a:pt x="44" y="4177"/>
                  </a:cubicBezTo>
                  <a:cubicBezTo>
                    <a:pt x="44" y="4257"/>
                    <a:pt x="37" y="4323"/>
                    <a:pt x="73" y="4345"/>
                  </a:cubicBezTo>
                  <a:cubicBezTo>
                    <a:pt x="103" y="4367"/>
                    <a:pt x="147" y="4389"/>
                    <a:pt x="81" y="4426"/>
                  </a:cubicBezTo>
                  <a:cubicBezTo>
                    <a:pt x="15" y="4455"/>
                    <a:pt x="0" y="4448"/>
                    <a:pt x="0" y="4514"/>
                  </a:cubicBezTo>
                  <a:cubicBezTo>
                    <a:pt x="0" y="4580"/>
                    <a:pt x="0" y="4682"/>
                    <a:pt x="59" y="4704"/>
                  </a:cubicBezTo>
                  <a:cubicBezTo>
                    <a:pt x="118" y="4734"/>
                    <a:pt x="264" y="4785"/>
                    <a:pt x="330" y="4807"/>
                  </a:cubicBezTo>
                  <a:cubicBezTo>
                    <a:pt x="396" y="4829"/>
                    <a:pt x="513" y="4866"/>
                    <a:pt x="520" y="4821"/>
                  </a:cubicBezTo>
                  <a:cubicBezTo>
                    <a:pt x="535" y="4778"/>
                    <a:pt x="601" y="4675"/>
                    <a:pt x="616" y="4763"/>
                  </a:cubicBezTo>
                  <a:cubicBezTo>
                    <a:pt x="623" y="4858"/>
                    <a:pt x="696" y="4968"/>
                    <a:pt x="726" y="4990"/>
                  </a:cubicBezTo>
                  <a:cubicBezTo>
                    <a:pt x="762" y="5012"/>
                    <a:pt x="770" y="5129"/>
                    <a:pt x="726" y="5181"/>
                  </a:cubicBezTo>
                  <a:cubicBezTo>
                    <a:pt x="682" y="5239"/>
                    <a:pt x="623" y="5400"/>
                    <a:pt x="645" y="5430"/>
                  </a:cubicBezTo>
                  <a:cubicBezTo>
                    <a:pt x="674" y="5466"/>
                    <a:pt x="726" y="5503"/>
                    <a:pt x="726" y="5503"/>
                  </a:cubicBezTo>
                  <a:cubicBezTo>
                    <a:pt x="726" y="5503"/>
                    <a:pt x="726" y="5503"/>
                    <a:pt x="718" y="5510"/>
                  </a:cubicBezTo>
                  <a:cubicBezTo>
                    <a:pt x="755" y="5510"/>
                    <a:pt x="799" y="5503"/>
                    <a:pt x="821" y="5474"/>
                  </a:cubicBezTo>
                  <a:cubicBezTo>
                    <a:pt x="850" y="5422"/>
                    <a:pt x="1004" y="5430"/>
                    <a:pt x="1055" y="5422"/>
                  </a:cubicBezTo>
                  <a:cubicBezTo>
                    <a:pt x="1107" y="5415"/>
                    <a:pt x="1275" y="5400"/>
                    <a:pt x="1334" y="5342"/>
                  </a:cubicBezTo>
                  <a:cubicBezTo>
                    <a:pt x="1400" y="5283"/>
                    <a:pt x="1532" y="5203"/>
                    <a:pt x="1583" y="5173"/>
                  </a:cubicBezTo>
                  <a:cubicBezTo>
                    <a:pt x="1634" y="5137"/>
                    <a:pt x="1678" y="5107"/>
                    <a:pt x="1737" y="5078"/>
                  </a:cubicBezTo>
                  <a:cubicBezTo>
                    <a:pt x="1795" y="5041"/>
                    <a:pt x="1788" y="5034"/>
                    <a:pt x="1803" y="4997"/>
                  </a:cubicBezTo>
                  <a:cubicBezTo>
                    <a:pt x="1825" y="4968"/>
                    <a:pt x="1847" y="4946"/>
                    <a:pt x="1788" y="4909"/>
                  </a:cubicBezTo>
                  <a:cubicBezTo>
                    <a:pt x="1730" y="4866"/>
                    <a:pt x="1788" y="4844"/>
                    <a:pt x="1803" y="4807"/>
                  </a:cubicBezTo>
                  <a:cubicBezTo>
                    <a:pt x="1825" y="4763"/>
                    <a:pt x="1847" y="4719"/>
                    <a:pt x="1898" y="4756"/>
                  </a:cubicBezTo>
                  <a:cubicBezTo>
                    <a:pt x="1949" y="4785"/>
                    <a:pt x="1964" y="4821"/>
                    <a:pt x="2008" y="4836"/>
                  </a:cubicBezTo>
                  <a:cubicBezTo>
                    <a:pt x="2052" y="4858"/>
                    <a:pt x="2023" y="4909"/>
                    <a:pt x="2045" y="4953"/>
                  </a:cubicBezTo>
                  <a:cubicBezTo>
                    <a:pt x="2059" y="5005"/>
                    <a:pt x="2103" y="5019"/>
                    <a:pt x="2147" y="5027"/>
                  </a:cubicBezTo>
                  <a:cubicBezTo>
                    <a:pt x="2184" y="5034"/>
                    <a:pt x="2206" y="5056"/>
                    <a:pt x="2235" y="5085"/>
                  </a:cubicBezTo>
                  <a:cubicBezTo>
                    <a:pt x="2272" y="5107"/>
                    <a:pt x="2323" y="5107"/>
                    <a:pt x="2360" y="5085"/>
                  </a:cubicBezTo>
                  <a:cubicBezTo>
                    <a:pt x="2389" y="5056"/>
                    <a:pt x="2470" y="5071"/>
                    <a:pt x="2492" y="5107"/>
                  </a:cubicBezTo>
                  <a:cubicBezTo>
                    <a:pt x="2521" y="5151"/>
                    <a:pt x="2513" y="5232"/>
                    <a:pt x="2558" y="5247"/>
                  </a:cubicBezTo>
                  <a:cubicBezTo>
                    <a:pt x="2609" y="5261"/>
                    <a:pt x="2623" y="5312"/>
                    <a:pt x="2543" y="5320"/>
                  </a:cubicBezTo>
                  <a:cubicBezTo>
                    <a:pt x="2470" y="5335"/>
                    <a:pt x="2484" y="5371"/>
                    <a:pt x="2499" y="5408"/>
                  </a:cubicBezTo>
                  <a:cubicBezTo>
                    <a:pt x="2521" y="5445"/>
                    <a:pt x="2528" y="5445"/>
                    <a:pt x="2499" y="5496"/>
                  </a:cubicBezTo>
                  <a:cubicBezTo>
                    <a:pt x="2477" y="5547"/>
                    <a:pt x="2513" y="5598"/>
                    <a:pt x="2462" y="5620"/>
                  </a:cubicBezTo>
                  <a:cubicBezTo>
                    <a:pt x="2411" y="5642"/>
                    <a:pt x="2389" y="5671"/>
                    <a:pt x="2462" y="5716"/>
                  </a:cubicBezTo>
                  <a:cubicBezTo>
                    <a:pt x="2528" y="5759"/>
                    <a:pt x="2572" y="5774"/>
                    <a:pt x="2623" y="5767"/>
                  </a:cubicBezTo>
                  <a:cubicBezTo>
                    <a:pt x="2675" y="5759"/>
                    <a:pt x="2660" y="5789"/>
                    <a:pt x="2645" y="5847"/>
                  </a:cubicBezTo>
                  <a:cubicBezTo>
                    <a:pt x="2631" y="5906"/>
                    <a:pt x="2653" y="5943"/>
                    <a:pt x="2580" y="5972"/>
                  </a:cubicBezTo>
                  <a:cubicBezTo>
                    <a:pt x="2499" y="5994"/>
                    <a:pt x="2492" y="5994"/>
                    <a:pt x="2440" y="6038"/>
                  </a:cubicBezTo>
                  <a:cubicBezTo>
                    <a:pt x="2389" y="6082"/>
                    <a:pt x="2382" y="6089"/>
                    <a:pt x="2440" y="6119"/>
                  </a:cubicBezTo>
                  <a:cubicBezTo>
                    <a:pt x="2499" y="6155"/>
                    <a:pt x="2492" y="6221"/>
                    <a:pt x="2550" y="6207"/>
                  </a:cubicBezTo>
                  <a:cubicBezTo>
                    <a:pt x="2609" y="6192"/>
                    <a:pt x="2645" y="6170"/>
                    <a:pt x="2675" y="6140"/>
                  </a:cubicBezTo>
                  <a:cubicBezTo>
                    <a:pt x="2697" y="6104"/>
                    <a:pt x="2741" y="6104"/>
                    <a:pt x="2807" y="6111"/>
                  </a:cubicBezTo>
                  <a:cubicBezTo>
                    <a:pt x="2873" y="6119"/>
                    <a:pt x="2924" y="6119"/>
                    <a:pt x="2975" y="6097"/>
                  </a:cubicBezTo>
                  <a:cubicBezTo>
                    <a:pt x="3027" y="6067"/>
                    <a:pt x="3019" y="6045"/>
                    <a:pt x="3063" y="5994"/>
                  </a:cubicBezTo>
                  <a:cubicBezTo>
                    <a:pt x="3107" y="5943"/>
                    <a:pt x="3114" y="5899"/>
                    <a:pt x="3173" y="5906"/>
                  </a:cubicBezTo>
                  <a:cubicBezTo>
                    <a:pt x="3232" y="5921"/>
                    <a:pt x="3290" y="5891"/>
                    <a:pt x="3320" y="5928"/>
                  </a:cubicBezTo>
                  <a:cubicBezTo>
                    <a:pt x="3342" y="5957"/>
                    <a:pt x="3422" y="6009"/>
                    <a:pt x="3437" y="5957"/>
                  </a:cubicBezTo>
                  <a:cubicBezTo>
                    <a:pt x="3451" y="5906"/>
                    <a:pt x="3473" y="5877"/>
                    <a:pt x="3532" y="5847"/>
                  </a:cubicBezTo>
                  <a:cubicBezTo>
                    <a:pt x="3591" y="5826"/>
                    <a:pt x="3686" y="5789"/>
                    <a:pt x="3664" y="5745"/>
                  </a:cubicBezTo>
                  <a:cubicBezTo>
                    <a:pt x="3649" y="5708"/>
                    <a:pt x="3605" y="5708"/>
                    <a:pt x="3576" y="5679"/>
                  </a:cubicBezTo>
                  <a:cubicBezTo>
                    <a:pt x="3539" y="5657"/>
                    <a:pt x="3554" y="5664"/>
                    <a:pt x="3576" y="5598"/>
                  </a:cubicBezTo>
                  <a:cubicBezTo>
                    <a:pt x="3591" y="5525"/>
                    <a:pt x="3627" y="5312"/>
                    <a:pt x="3591" y="5283"/>
                  </a:cubicBezTo>
                  <a:cubicBezTo>
                    <a:pt x="3554" y="5247"/>
                    <a:pt x="3547" y="5232"/>
                    <a:pt x="3539" y="5173"/>
                  </a:cubicBezTo>
                  <a:cubicBezTo>
                    <a:pt x="3532" y="5107"/>
                    <a:pt x="3473" y="5071"/>
                    <a:pt x="3415" y="5049"/>
                  </a:cubicBezTo>
                  <a:cubicBezTo>
                    <a:pt x="3349" y="5034"/>
                    <a:pt x="3298" y="4997"/>
                    <a:pt x="3283" y="4953"/>
                  </a:cubicBezTo>
                  <a:cubicBezTo>
                    <a:pt x="3268" y="4917"/>
                    <a:pt x="3217" y="4836"/>
                    <a:pt x="3283" y="4836"/>
                  </a:cubicBezTo>
                  <a:cubicBezTo>
                    <a:pt x="3349" y="4836"/>
                    <a:pt x="3371" y="4866"/>
                    <a:pt x="3437" y="4858"/>
                  </a:cubicBezTo>
                  <a:cubicBezTo>
                    <a:pt x="3503" y="4844"/>
                    <a:pt x="3554" y="4873"/>
                    <a:pt x="3576" y="4814"/>
                  </a:cubicBezTo>
                  <a:cubicBezTo>
                    <a:pt x="3591" y="4756"/>
                    <a:pt x="3532" y="4726"/>
                    <a:pt x="3583" y="4697"/>
                  </a:cubicBezTo>
                  <a:cubicBezTo>
                    <a:pt x="3635" y="4660"/>
                    <a:pt x="3635" y="4616"/>
                    <a:pt x="3671" y="4616"/>
                  </a:cubicBezTo>
                  <a:cubicBezTo>
                    <a:pt x="3715" y="4616"/>
                    <a:pt x="3686" y="4675"/>
                    <a:pt x="3759" y="4660"/>
                  </a:cubicBezTo>
                  <a:cubicBezTo>
                    <a:pt x="3840" y="4646"/>
                    <a:pt x="3854" y="4646"/>
                    <a:pt x="3906" y="4609"/>
                  </a:cubicBezTo>
                  <a:cubicBezTo>
                    <a:pt x="3957" y="4572"/>
                    <a:pt x="3979" y="4572"/>
                    <a:pt x="4023" y="4609"/>
                  </a:cubicBezTo>
                  <a:cubicBezTo>
                    <a:pt x="4067" y="4646"/>
                    <a:pt x="4030" y="4697"/>
                    <a:pt x="4067" y="4741"/>
                  </a:cubicBezTo>
                  <a:cubicBezTo>
                    <a:pt x="4096" y="4792"/>
                    <a:pt x="4111" y="4873"/>
                    <a:pt x="4089" y="4909"/>
                  </a:cubicBezTo>
                  <a:cubicBezTo>
                    <a:pt x="4074" y="4939"/>
                    <a:pt x="4052" y="4990"/>
                    <a:pt x="4126" y="5019"/>
                  </a:cubicBezTo>
                  <a:cubicBezTo>
                    <a:pt x="4199" y="5041"/>
                    <a:pt x="4331" y="5071"/>
                    <a:pt x="4397" y="5034"/>
                  </a:cubicBezTo>
                  <a:cubicBezTo>
                    <a:pt x="4463" y="4997"/>
                    <a:pt x="4594" y="5027"/>
                    <a:pt x="4602" y="4953"/>
                  </a:cubicBezTo>
                  <a:cubicBezTo>
                    <a:pt x="4609" y="4888"/>
                    <a:pt x="4661" y="4880"/>
                    <a:pt x="4690" y="4814"/>
                  </a:cubicBezTo>
                  <a:cubicBezTo>
                    <a:pt x="4712" y="4741"/>
                    <a:pt x="4726" y="4712"/>
                    <a:pt x="4778" y="4704"/>
                  </a:cubicBezTo>
                  <a:cubicBezTo>
                    <a:pt x="4829" y="4697"/>
                    <a:pt x="4880" y="4668"/>
                    <a:pt x="4924" y="4712"/>
                  </a:cubicBezTo>
                  <a:cubicBezTo>
                    <a:pt x="4968" y="4756"/>
                    <a:pt x="4932" y="4792"/>
                    <a:pt x="4888" y="4821"/>
                  </a:cubicBezTo>
                  <a:cubicBezTo>
                    <a:pt x="4851" y="4844"/>
                    <a:pt x="4858" y="4895"/>
                    <a:pt x="4902" y="4924"/>
                  </a:cubicBezTo>
                  <a:cubicBezTo>
                    <a:pt x="4939" y="4946"/>
                    <a:pt x="4939" y="4990"/>
                    <a:pt x="4910" y="5034"/>
                  </a:cubicBezTo>
                  <a:cubicBezTo>
                    <a:pt x="4873" y="5078"/>
                    <a:pt x="4858" y="5195"/>
                    <a:pt x="4792" y="5203"/>
                  </a:cubicBezTo>
                  <a:cubicBezTo>
                    <a:pt x="4719" y="5210"/>
                    <a:pt x="4690" y="5217"/>
                    <a:pt x="4661" y="5283"/>
                  </a:cubicBezTo>
                  <a:cubicBezTo>
                    <a:pt x="4639" y="5342"/>
                    <a:pt x="4602" y="5386"/>
                    <a:pt x="4639" y="5415"/>
                  </a:cubicBezTo>
                  <a:cubicBezTo>
                    <a:pt x="4668" y="5452"/>
                    <a:pt x="4668" y="5496"/>
                    <a:pt x="4726" y="5518"/>
                  </a:cubicBezTo>
                  <a:cubicBezTo>
                    <a:pt x="4792" y="5547"/>
                    <a:pt x="4858" y="5562"/>
                    <a:pt x="4822" y="5584"/>
                  </a:cubicBezTo>
                  <a:cubicBezTo>
                    <a:pt x="4792" y="5613"/>
                    <a:pt x="4749" y="5620"/>
                    <a:pt x="4756" y="5657"/>
                  </a:cubicBezTo>
                  <a:cubicBezTo>
                    <a:pt x="4763" y="5686"/>
                    <a:pt x="4756" y="5716"/>
                    <a:pt x="4719" y="5730"/>
                  </a:cubicBezTo>
                  <a:cubicBezTo>
                    <a:pt x="4690" y="5745"/>
                    <a:pt x="4690" y="5811"/>
                    <a:pt x="4697" y="5833"/>
                  </a:cubicBezTo>
                  <a:cubicBezTo>
                    <a:pt x="4704" y="5855"/>
                    <a:pt x="4726" y="5884"/>
                    <a:pt x="4814" y="5884"/>
                  </a:cubicBezTo>
                  <a:cubicBezTo>
                    <a:pt x="4902" y="5884"/>
                    <a:pt x="4961" y="5877"/>
                    <a:pt x="4975" y="5921"/>
                  </a:cubicBezTo>
                  <a:cubicBezTo>
                    <a:pt x="4990" y="5957"/>
                    <a:pt x="4968" y="5987"/>
                    <a:pt x="4975" y="6023"/>
                  </a:cubicBezTo>
                  <a:cubicBezTo>
                    <a:pt x="4983" y="6053"/>
                    <a:pt x="5042" y="6089"/>
                    <a:pt x="5042" y="6089"/>
                  </a:cubicBezTo>
                  <a:cubicBezTo>
                    <a:pt x="5042" y="6089"/>
                    <a:pt x="5049" y="6185"/>
                    <a:pt x="5063" y="6236"/>
                  </a:cubicBezTo>
                  <a:cubicBezTo>
                    <a:pt x="5071" y="6280"/>
                    <a:pt x="5078" y="6346"/>
                    <a:pt x="5049" y="6382"/>
                  </a:cubicBezTo>
                  <a:cubicBezTo>
                    <a:pt x="5027" y="6426"/>
                    <a:pt x="5071" y="6507"/>
                    <a:pt x="5137" y="6456"/>
                  </a:cubicBezTo>
                  <a:cubicBezTo>
                    <a:pt x="5203" y="6404"/>
                    <a:pt x="5254" y="6456"/>
                    <a:pt x="5254" y="6514"/>
                  </a:cubicBezTo>
                  <a:cubicBezTo>
                    <a:pt x="5254" y="6573"/>
                    <a:pt x="5283" y="6624"/>
                    <a:pt x="5327" y="6624"/>
                  </a:cubicBezTo>
                  <a:cubicBezTo>
                    <a:pt x="5364" y="6624"/>
                    <a:pt x="5386" y="6683"/>
                    <a:pt x="5386" y="6749"/>
                  </a:cubicBezTo>
                  <a:cubicBezTo>
                    <a:pt x="5386" y="6822"/>
                    <a:pt x="5444" y="6822"/>
                    <a:pt x="5525" y="6807"/>
                  </a:cubicBezTo>
                  <a:cubicBezTo>
                    <a:pt x="5613" y="6800"/>
                    <a:pt x="5599" y="6881"/>
                    <a:pt x="5562" y="6932"/>
                  </a:cubicBezTo>
                  <a:cubicBezTo>
                    <a:pt x="5525" y="6983"/>
                    <a:pt x="5576" y="6961"/>
                    <a:pt x="5576" y="7012"/>
                  </a:cubicBezTo>
                  <a:cubicBezTo>
                    <a:pt x="5576" y="7064"/>
                    <a:pt x="5540" y="7108"/>
                    <a:pt x="5503" y="7130"/>
                  </a:cubicBezTo>
                  <a:cubicBezTo>
                    <a:pt x="5466" y="7159"/>
                    <a:pt x="5466" y="7196"/>
                    <a:pt x="5474" y="7254"/>
                  </a:cubicBezTo>
                  <a:cubicBezTo>
                    <a:pt x="5489" y="7313"/>
                    <a:pt x="5540" y="7357"/>
                    <a:pt x="5496" y="7394"/>
                  </a:cubicBezTo>
                  <a:cubicBezTo>
                    <a:pt x="5452" y="7438"/>
                    <a:pt x="5401" y="7474"/>
                    <a:pt x="5452" y="7518"/>
                  </a:cubicBezTo>
                  <a:cubicBezTo>
                    <a:pt x="5489" y="7547"/>
                    <a:pt x="5532" y="7547"/>
                    <a:pt x="5554" y="7547"/>
                  </a:cubicBezTo>
                  <a:cubicBezTo>
                    <a:pt x="5584" y="7526"/>
                    <a:pt x="5620" y="7504"/>
                    <a:pt x="5642" y="7511"/>
                  </a:cubicBezTo>
                  <a:cubicBezTo>
                    <a:pt x="5686" y="7518"/>
                    <a:pt x="5679" y="7591"/>
                    <a:pt x="5723" y="7591"/>
                  </a:cubicBezTo>
                  <a:cubicBezTo>
                    <a:pt x="5767" y="7591"/>
                    <a:pt x="5804" y="7599"/>
                    <a:pt x="5855" y="7577"/>
                  </a:cubicBezTo>
                  <a:cubicBezTo>
                    <a:pt x="5899" y="7547"/>
                    <a:pt x="5972" y="7540"/>
                    <a:pt x="5980" y="7584"/>
                  </a:cubicBezTo>
                  <a:cubicBezTo>
                    <a:pt x="5987" y="7628"/>
                    <a:pt x="6053" y="7679"/>
                    <a:pt x="6082" y="7694"/>
                  </a:cubicBezTo>
                  <a:cubicBezTo>
                    <a:pt x="6104" y="7709"/>
                    <a:pt x="6097" y="7789"/>
                    <a:pt x="6038" y="7760"/>
                  </a:cubicBezTo>
                  <a:cubicBezTo>
                    <a:pt x="5980" y="7738"/>
                    <a:pt x="5935" y="7745"/>
                    <a:pt x="5965" y="7782"/>
                  </a:cubicBezTo>
                  <a:cubicBezTo>
                    <a:pt x="5987" y="7811"/>
                    <a:pt x="6016" y="7848"/>
                    <a:pt x="5965" y="7840"/>
                  </a:cubicBezTo>
                  <a:cubicBezTo>
                    <a:pt x="5913" y="7833"/>
                    <a:pt x="5980" y="7885"/>
                    <a:pt x="5935" y="7914"/>
                  </a:cubicBezTo>
                  <a:cubicBezTo>
                    <a:pt x="5892" y="7950"/>
                    <a:pt x="5899" y="7995"/>
                    <a:pt x="5928" y="8016"/>
                  </a:cubicBezTo>
                  <a:cubicBezTo>
                    <a:pt x="5950" y="8046"/>
                    <a:pt x="5987" y="8126"/>
                    <a:pt x="5980" y="8163"/>
                  </a:cubicBezTo>
                  <a:cubicBezTo>
                    <a:pt x="5972" y="8200"/>
                    <a:pt x="6023" y="8214"/>
                    <a:pt x="5994" y="8266"/>
                  </a:cubicBezTo>
                  <a:cubicBezTo>
                    <a:pt x="5972" y="8317"/>
                    <a:pt x="5980" y="8324"/>
                    <a:pt x="5921" y="8331"/>
                  </a:cubicBezTo>
                  <a:cubicBezTo>
                    <a:pt x="5862" y="8339"/>
                    <a:pt x="5855" y="8368"/>
                    <a:pt x="5840" y="8412"/>
                  </a:cubicBezTo>
                  <a:cubicBezTo>
                    <a:pt x="5833" y="8449"/>
                    <a:pt x="5818" y="8493"/>
                    <a:pt x="5877" y="8529"/>
                  </a:cubicBezTo>
                  <a:cubicBezTo>
                    <a:pt x="5935" y="8559"/>
                    <a:pt x="6082" y="8603"/>
                    <a:pt x="6104" y="8639"/>
                  </a:cubicBezTo>
                  <a:cubicBezTo>
                    <a:pt x="6133" y="8676"/>
                    <a:pt x="6177" y="8713"/>
                    <a:pt x="6214" y="8676"/>
                  </a:cubicBezTo>
                  <a:cubicBezTo>
                    <a:pt x="6258" y="8632"/>
                    <a:pt x="6294" y="8603"/>
                    <a:pt x="6236" y="8580"/>
                  </a:cubicBezTo>
                  <a:cubicBezTo>
                    <a:pt x="6177" y="8551"/>
                    <a:pt x="6148" y="8500"/>
                    <a:pt x="6148" y="8478"/>
                  </a:cubicBezTo>
                  <a:cubicBezTo>
                    <a:pt x="6148" y="8449"/>
                    <a:pt x="6155" y="8471"/>
                    <a:pt x="6207" y="8434"/>
                  </a:cubicBezTo>
                  <a:cubicBezTo>
                    <a:pt x="6258" y="8397"/>
                    <a:pt x="6309" y="8383"/>
                    <a:pt x="6324" y="8339"/>
                  </a:cubicBezTo>
                  <a:cubicBezTo>
                    <a:pt x="6346" y="8295"/>
                    <a:pt x="6404" y="8273"/>
                    <a:pt x="6412" y="8309"/>
                  </a:cubicBezTo>
                  <a:cubicBezTo>
                    <a:pt x="6419" y="8339"/>
                    <a:pt x="6441" y="8376"/>
                    <a:pt x="6441" y="8376"/>
                  </a:cubicBezTo>
                  <a:cubicBezTo>
                    <a:pt x="6441" y="8376"/>
                    <a:pt x="6419" y="8287"/>
                    <a:pt x="6463" y="8273"/>
                  </a:cubicBezTo>
                  <a:cubicBezTo>
                    <a:pt x="6507" y="8258"/>
                    <a:pt x="6522" y="8266"/>
                    <a:pt x="6558" y="8287"/>
                  </a:cubicBezTo>
                  <a:cubicBezTo>
                    <a:pt x="6588" y="8309"/>
                    <a:pt x="6602" y="8346"/>
                    <a:pt x="6610" y="8383"/>
                  </a:cubicBezTo>
                  <a:cubicBezTo>
                    <a:pt x="6654" y="8368"/>
                    <a:pt x="6734" y="8339"/>
                    <a:pt x="6749" y="8309"/>
                  </a:cubicBezTo>
                  <a:cubicBezTo>
                    <a:pt x="6771" y="8280"/>
                    <a:pt x="6830" y="8221"/>
                    <a:pt x="6866" y="8214"/>
                  </a:cubicBezTo>
                  <a:cubicBezTo>
                    <a:pt x="6903" y="8207"/>
                    <a:pt x="6939" y="8207"/>
                    <a:pt x="6976" y="8214"/>
                  </a:cubicBezTo>
                  <a:cubicBezTo>
                    <a:pt x="7020" y="8221"/>
                    <a:pt x="7093" y="8200"/>
                    <a:pt x="7108" y="8163"/>
                  </a:cubicBezTo>
                  <a:cubicBezTo>
                    <a:pt x="7130" y="8119"/>
                    <a:pt x="7123" y="8060"/>
                    <a:pt x="7152" y="8046"/>
                  </a:cubicBezTo>
                  <a:cubicBezTo>
                    <a:pt x="7181" y="8038"/>
                    <a:pt x="7203" y="8097"/>
                    <a:pt x="7247" y="8060"/>
                  </a:cubicBezTo>
                  <a:cubicBezTo>
                    <a:pt x="7291" y="8031"/>
                    <a:pt x="7335" y="8002"/>
                    <a:pt x="7364" y="7965"/>
                  </a:cubicBezTo>
                  <a:cubicBezTo>
                    <a:pt x="7394" y="7936"/>
                    <a:pt x="7401" y="7921"/>
                    <a:pt x="7445" y="7899"/>
                  </a:cubicBezTo>
                  <a:cubicBezTo>
                    <a:pt x="7482" y="7877"/>
                    <a:pt x="7496" y="7870"/>
                    <a:pt x="7504" y="7826"/>
                  </a:cubicBezTo>
                  <a:cubicBezTo>
                    <a:pt x="7504" y="7782"/>
                    <a:pt x="7504" y="7723"/>
                    <a:pt x="7540" y="7709"/>
                  </a:cubicBezTo>
                  <a:cubicBezTo>
                    <a:pt x="7577" y="7687"/>
                    <a:pt x="7628" y="7687"/>
                    <a:pt x="7650" y="7687"/>
                  </a:cubicBezTo>
                  <a:cubicBezTo>
                    <a:pt x="7679" y="7687"/>
                    <a:pt x="7752" y="7709"/>
                    <a:pt x="7774" y="7738"/>
                  </a:cubicBezTo>
                  <a:cubicBezTo>
                    <a:pt x="7796" y="7760"/>
                    <a:pt x="7854" y="7819"/>
                    <a:pt x="7891" y="7797"/>
                  </a:cubicBezTo>
                  <a:cubicBezTo>
                    <a:pt x="7928" y="7775"/>
                    <a:pt x="7928" y="7738"/>
                    <a:pt x="7957" y="7716"/>
                  </a:cubicBezTo>
                  <a:cubicBezTo>
                    <a:pt x="7993" y="7701"/>
                    <a:pt x="8008" y="7701"/>
                    <a:pt x="8037" y="7731"/>
                  </a:cubicBezTo>
                  <a:cubicBezTo>
                    <a:pt x="8067" y="7760"/>
                    <a:pt x="8147" y="7738"/>
                    <a:pt x="8111" y="7694"/>
                  </a:cubicBezTo>
                  <a:cubicBezTo>
                    <a:pt x="8081" y="7657"/>
                    <a:pt x="8052" y="7657"/>
                    <a:pt x="8052" y="7613"/>
                  </a:cubicBezTo>
                  <a:cubicBezTo>
                    <a:pt x="8060" y="7577"/>
                    <a:pt x="8081" y="7562"/>
                    <a:pt x="8118" y="7540"/>
                  </a:cubicBezTo>
                  <a:cubicBezTo>
                    <a:pt x="8140" y="7533"/>
                    <a:pt x="8147" y="7511"/>
                    <a:pt x="8155" y="7496"/>
                  </a:cubicBezTo>
                  <a:cubicBezTo>
                    <a:pt x="8125" y="7423"/>
                    <a:pt x="8125" y="7423"/>
                    <a:pt x="8125" y="7423"/>
                  </a:cubicBezTo>
                  <a:cubicBezTo>
                    <a:pt x="8118" y="7350"/>
                    <a:pt x="8125" y="7269"/>
                    <a:pt x="8081" y="7225"/>
                  </a:cubicBezTo>
                  <a:cubicBezTo>
                    <a:pt x="8030" y="7181"/>
                    <a:pt x="7979" y="7130"/>
                    <a:pt x="7957" y="7086"/>
                  </a:cubicBezTo>
                  <a:cubicBezTo>
                    <a:pt x="7942" y="7035"/>
                    <a:pt x="7898" y="6939"/>
                    <a:pt x="7928" y="6873"/>
                  </a:cubicBezTo>
                  <a:cubicBezTo>
                    <a:pt x="7950" y="6800"/>
                    <a:pt x="7957" y="6800"/>
                    <a:pt x="8008" y="6749"/>
                  </a:cubicBezTo>
                  <a:cubicBezTo>
                    <a:pt x="8060" y="6697"/>
                    <a:pt x="8103" y="6639"/>
                    <a:pt x="8052" y="6595"/>
                  </a:cubicBezTo>
                  <a:cubicBezTo>
                    <a:pt x="8001" y="6558"/>
                    <a:pt x="7964" y="6544"/>
                    <a:pt x="8001" y="6507"/>
                  </a:cubicBezTo>
                  <a:cubicBezTo>
                    <a:pt x="8037" y="6463"/>
                    <a:pt x="8045" y="6448"/>
                    <a:pt x="7986" y="6419"/>
                  </a:cubicBezTo>
                  <a:cubicBezTo>
                    <a:pt x="7928" y="6397"/>
                    <a:pt x="7840" y="6368"/>
                    <a:pt x="7854" y="6309"/>
                  </a:cubicBezTo>
                  <a:cubicBezTo>
                    <a:pt x="7876" y="6250"/>
                    <a:pt x="7862" y="6280"/>
                    <a:pt x="7935" y="6280"/>
                  </a:cubicBezTo>
                  <a:cubicBezTo>
                    <a:pt x="8001" y="6280"/>
                    <a:pt x="8001" y="6302"/>
                    <a:pt x="8045" y="6243"/>
                  </a:cubicBezTo>
                  <a:cubicBezTo>
                    <a:pt x="8089" y="6185"/>
                    <a:pt x="8111" y="6162"/>
                    <a:pt x="8191" y="6155"/>
                  </a:cubicBezTo>
                  <a:cubicBezTo>
                    <a:pt x="8265" y="6148"/>
                    <a:pt x="8411" y="6155"/>
                    <a:pt x="8477" y="6140"/>
                  </a:cubicBezTo>
                  <a:cubicBezTo>
                    <a:pt x="8543" y="6119"/>
                    <a:pt x="8587" y="6148"/>
                    <a:pt x="8653" y="6111"/>
                  </a:cubicBezTo>
                  <a:cubicBezTo>
                    <a:pt x="8726" y="6082"/>
                    <a:pt x="8726" y="6053"/>
                    <a:pt x="8682" y="6009"/>
                  </a:cubicBezTo>
                  <a:cubicBezTo>
                    <a:pt x="8638" y="5972"/>
                    <a:pt x="8653" y="5935"/>
                    <a:pt x="8726" y="5928"/>
                  </a:cubicBezTo>
                  <a:cubicBezTo>
                    <a:pt x="8792" y="5921"/>
                    <a:pt x="8807" y="5899"/>
                    <a:pt x="8843" y="5847"/>
                  </a:cubicBezTo>
                  <a:cubicBezTo>
                    <a:pt x="8880" y="5796"/>
                    <a:pt x="8917" y="5730"/>
                    <a:pt x="8843" y="5716"/>
                  </a:cubicBezTo>
                  <a:cubicBezTo>
                    <a:pt x="8763" y="5694"/>
                    <a:pt x="8785" y="5635"/>
                    <a:pt x="8807" y="5613"/>
                  </a:cubicBezTo>
                  <a:cubicBezTo>
                    <a:pt x="8836" y="5584"/>
                    <a:pt x="8910" y="5584"/>
                    <a:pt x="8917" y="5562"/>
                  </a:cubicBezTo>
                  <a:cubicBezTo>
                    <a:pt x="8931" y="5532"/>
                    <a:pt x="8910" y="5518"/>
                    <a:pt x="8858" y="5474"/>
                  </a:cubicBezTo>
                  <a:cubicBezTo>
                    <a:pt x="8807" y="5430"/>
                    <a:pt x="8778" y="5400"/>
                    <a:pt x="8785" y="5357"/>
                  </a:cubicBezTo>
                  <a:cubicBezTo>
                    <a:pt x="8792" y="5312"/>
                    <a:pt x="8814" y="5239"/>
                    <a:pt x="8763" y="5210"/>
                  </a:cubicBezTo>
                  <a:cubicBezTo>
                    <a:pt x="8719" y="5188"/>
                    <a:pt x="8726" y="5173"/>
                    <a:pt x="8800" y="5151"/>
                  </a:cubicBezTo>
                  <a:cubicBezTo>
                    <a:pt x="8880" y="5137"/>
                    <a:pt x="8939" y="5049"/>
                    <a:pt x="8880" y="5019"/>
                  </a:cubicBezTo>
                  <a:cubicBezTo>
                    <a:pt x="8814" y="4983"/>
                    <a:pt x="8785" y="4939"/>
                    <a:pt x="8726" y="4909"/>
                  </a:cubicBezTo>
                  <a:cubicBezTo>
                    <a:pt x="8668" y="4873"/>
                    <a:pt x="8594" y="4807"/>
                    <a:pt x="8602" y="4734"/>
                  </a:cubicBezTo>
                  <a:cubicBezTo>
                    <a:pt x="8616" y="4668"/>
                    <a:pt x="8602" y="4660"/>
                    <a:pt x="8668" y="4653"/>
                  </a:cubicBezTo>
                  <a:cubicBezTo>
                    <a:pt x="8726" y="4646"/>
                    <a:pt x="8755" y="4646"/>
                    <a:pt x="8755" y="4646"/>
                  </a:cubicBezTo>
                  <a:cubicBezTo>
                    <a:pt x="8755" y="4646"/>
                    <a:pt x="8682" y="4602"/>
                    <a:pt x="8653" y="4543"/>
                  </a:cubicBezTo>
                  <a:cubicBezTo>
                    <a:pt x="8631" y="4485"/>
                    <a:pt x="8616" y="4433"/>
                    <a:pt x="8624" y="4389"/>
                  </a:cubicBezTo>
                  <a:cubicBezTo>
                    <a:pt x="8631" y="4345"/>
                    <a:pt x="8668" y="4279"/>
                    <a:pt x="8682" y="4250"/>
                  </a:cubicBezTo>
                  <a:cubicBezTo>
                    <a:pt x="8697" y="4228"/>
                    <a:pt x="8646" y="4199"/>
                    <a:pt x="8587" y="4235"/>
                  </a:cubicBezTo>
                  <a:cubicBezTo>
                    <a:pt x="8528" y="4272"/>
                    <a:pt x="8514" y="4177"/>
                    <a:pt x="8484" y="4126"/>
                  </a:cubicBezTo>
                  <a:cubicBezTo>
                    <a:pt x="8462" y="4074"/>
                    <a:pt x="8374" y="3994"/>
                    <a:pt x="8374" y="3994"/>
                  </a:cubicBezTo>
                  <a:cubicBezTo>
                    <a:pt x="8367" y="3964"/>
                    <a:pt x="8272" y="3913"/>
                    <a:pt x="8265" y="3869"/>
                  </a:cubicBezTo>
                  <a:cubicBezTo>
                    <a:pt x="8257" y="3825"/>
                    <a:pt x="8199" y="3700"/>
                    <a:pt x="8206" y="3635"/>
                  </a:cubicBezTo>
                  <a:cubicBezTo>
                    <a:pt x="8213" y="3561"/>
                    <a:pt x="8213" y="3495"/>
                    <a:pt x="8301" y="3488"/>
                  </a:cubicBezTo>
                  <a:cubicBezTo>
                    <a:pt x="8382" y="3481"/>
                    <a:pt x="8462" y="3503"/>
                    <a:pt x="8521" y="3481"/>
                  </a:cubicBezTo>
                  <a:cubicBezTo>
                    <a:pt x="8580" y="3451"/>
                    <a:pt x="8594" y="3444"/>
                    <a:pt x="8624" y="3400"/>
                  </a:cubicBezTo>
                  <a:cubicBezTo>
                    <a:pt x="8646" y="3356"/>
                    <a:pt x="8638" y="3290"/>
                    <a:pt x="8697" y="3283"/>
                  </a:cubicBezTo>
                  <a:cubicBezTo>
                    <a:pt x="8755" y="3276"/>
                    <a:pt x="8880" y="3253"/>
                    <a:pt x="8880" y="3253"/>
                  </a:cubicBezTo>
                  <a:cubicBezTo>
                    <a:pt x="8880" y="3253"/>
                    <a:pt x="8939" y="3327"/>
                    <a:pt x="8961" y="3305"/>
                  </a:cubicBezTo>
                  <a:cubicBezTo>
                    <a:pt x="8990" y="3290"/>
                    <a:pt x="8997" y="3268"/>
                    <a:pt x="9049" y="3290"/>
                  </a:cubicBezTo>
                  <a:cubicBezTo>
                    <a:pt x="9100" y="3319"/>
                    <a:pt x="9166" y="3385"/>
                    <a:pt x="9203" y="3378"/>
                  </a:cubicBezTo>
                  <a:cubicBezTo>
                    <a:pt x="9232" y="3371"/>
                    <a:pt x="9224" y="3378"/>
                    <a:pt x="9283" y="3356"/>
                  </a:cubicBezTo>
                  <a:cubicBezTo>
                    <a:pt x="9342" y="3341"/>
                    <a:pt x="9386" y="3341"/>
                    <a:pt x="9422" y="3305"/>
                  </a:cubicBezTo>
                  <a:cubicBezTo>
                    <a:pt x="9452" y="3276"/>
                    <a:pt x="9503" y="3246"/>
                    <a:pt x="9547" y="3217"/>
                  </a:cubicBezTo>
                  <a:cubicBezTo>
                    <a:pt x="9591" y="3180"/>
                    <a:pt x="9620" y="3158"/>
                    <a:pt x="9657" y="3144"/>
                  </a:cubicBezTo>
                  <a:cubicBezTo>
                    <a:pt x="9701" y="3136"/>
                    <a:pt x="9635" y="3107"/>
                    <a:pt x="9664" y="3056"/>
                  </a:cubicBezTo>
                  <a:cubicBezTo>
                    <a:pt x="9701" y="3004"/>
                    <a:pt x="9730" y="2909"/>
                    <a:pt x="9730" y="2909"/>
                  </a:cubicBezTo>
                  <a:cubicBezTo>
                    <a:pt x="9730" y="2909"/>
                    <a:pt x="9767" y="2953"/>
                    <a:pt x="9796" y="2931"/>
                  </a:cubicBezTo>
                  <a:cubicBezTo>
                    <a:pt x="9818" y="2916"/>
                    <a:pt x="9862" y="2894"/>
                    <a:pt x="9862" y="2858"/>
                  </a:cubicBezTo>
                  <a:cubicBezTo>
                    <a:pt x="9862" y="2836"/>
                    <a:pt x="9891" y="2807"/>
                    <a:pt x="9913" y="2785"/>
                  </a:cubicBezTo>
                  <a:lnTo>
                    <a:pt x="9906" y="277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5" name="Freeform 24"/>
            <p:cNvSpPr>
              <a:spLocks noChangeArrowheads="1"/>
            </p:cNvSpPr>
            <p:nvPr/>
          </p:nvSpPr>
          <p:spPr bwMode="auto">
            <a:xfrm>
              <a:off x="3373941" y="5791754"/>
              <a:ext cx="2878123" cy="2744979"/>
            </a:xfrm>
            <a:custGeom>
              <a:avLst/>
              <a:gdLst>
                <a:gd name="T0" fmla="*/ 974 w 7489"/>
                <a:gd name="T1" fmla="*/ 7143 h 7225"/>
                <a:gd name="T2" fmla="*/ 630 w 7489"/>
                <a:gd name="T3" fmla="*/ 6616 h 7225"/>
                <a:gd name="T4" fmla="*/ 717 w 7489"/>
                <a:gd name="T5" fmla="*/ 6213 h 7225"/>
                <a:gd name="T6" fmla="*/ 402 w 7489"/>
                <a:gd name="T7" fmla="*/ 5920 h 7225"/>
                <a:gd name="T8" fmla="*/ 256 w 7489"/>
                <a:gd name="T9" fmla="*/ 5502 h 7225"/>
                <a:gd name="T10" fmla="*/ 278 w 7489"/>
                <a:gd name="T11" fmla="*/ 5194 h 7225"/>
                <a:gd name="T12" fmla="*/ 36 w 7489"/>
                <a:gd name="T13" fmla="*/ 4974 h 7225"/>
                <a:gd name="T14" fmla="*/ 205 w 7489"/>
                <a:gd name="T15" fmla="*/ 4799 h 7225"/>
                <a:gd name="T16" fmla="*/ 571 w 7489"/>
                <a:gd name="T17" fmla="*/ 4426 h 7225"/>
                <a:gd name="T18" fmla="*/ 534 w 7489"/>
                <a:gd name="T19" fmla="*/ 4067 h 7225"/>
                <a:gd name="T20" fmla="*/ 674 w 7489"/>
                <a:gd name="T21" fmla="*/ 3158 h 7225"/>
                <a:gd name="T22" fmla="*/ 293 w 7489"/>
                <a:gd name="T23" fmla="*/ 2521 h 7225"/>
                <a:gd name="T24" fmla="*/ 446 w 7489"/>
                <a:gd name="T25" fmla="*/ 2140 h 7225"/>
                <a:gd name="T26" fmla="*/ 762 w 7489"/>
                <a:gd name="T27" fmla="*/ 2044 h 7225"/>
                <a:gd name="T28" fmla="*/ 1150 w 7489"/>
                <a:gd name="T29" fmla="*/ 2096 h 7225"/>
                <a:gd name="T30" fmla="*/ 1985 w 7489"/>
                <a:gd name="T31" fmla="*/ 1949 h 7225"/>
                <a:gd name="T32" fmla="*/ 1868 w 7489"/>
                <a:gd name="T33" fmla="*/ 1444 h 7225"/>
                <a:gd name="T34" fmla="*/ 2359 w 7489"/>
                <a:gd name="T35" fmla="*/ 1085 h 7225"/>
                <a:gd name="T36" fmla="*/ 2960 w 7489"/>
                <a:gd name="T37" fmla="*/ 843 h 7225"/>
                <a:gd name="T38" fmla="*/ 3619 w 7489"/>
                <a:gd name="T39" fmla="*/ 308 h 7225"/>
                <a:gd name="T40" fmla="*/ 4022 w 7489"/>
                <a:gd name="T41" fmla="*/ 447 h 7225"/>
                <a:gd name="T42" fmla="*/ 4491 w 7489"/>
                <a:gd name="T43" fmla="*/ 725 h 7225"/>
                <a:gd name="T44" fmla="*/ 4345 w 7489"/>
                <a:gd name="T45" fmla="*/ 1136 h 7225"/>
                <a:gd name="T46" fmla="*/ 4330 w 7489"/>
                <a:gd name="T47" fmla="*/ 1480 h 7225"/>
                <a:gd name="T48" fmla="*/ 4755 w 7489"/>
                <a:gd name="T49" fmla="*/ 1539 h 7225"/>
                <a:gd name="T50" fmla="*/ 5143 w 7489"/>
                <a:gd name="T51" fmla="*/ 1326 h 7225"/>
                <a:gd name="T52" fmla="*/ 5422 w 7489"/>
                <a:gd name="T53" fmla="*/ 1070 h 7225"/>
                <a:gd name="T54" fmla="*/ 5231 w 7489"/>
                <a:gd name="T55" fmla="*/ 271 h 7225"/>
                <a:gd name="T56" fmla="*/ 5546 w 7489"/>
                <a:gd name="T57" fmla="*/ 37 h 7225"/>
                <a:gd name="T58" fmla="*/ 5957 w 7489"/>
                <a:gd name="T59" fmla="*/ 169 h 7225"/>
                <a:gd name="T60" fmla="*/ 6550 w 7489"/>
                <a:gd name="T61" fmla="*/ 242 h 7225"/>
                <a:gd name="T62" fmla="*/ 6821 w 7489"/>
                <a:gd name="T63" fmla="*/ 396 h 7225"/>
                <a:gd name="T64" fmla="*/ 6645 w 7489"/>
                <a:gd name="T65" fmla="*/ 953 h 7225"/>
                <a:gd name="T66" fmla="*/ 6865 w 7489"/>
                <a:gd name="T67" fmla="*/ 1348 h 7225"/>
                <a:gd name="T68" fmla="*/ 6968 w 7489"/>
                <a:gd name="T69" fmla="*/ 1891 h 7225"/>
                <a:gd name="T70" fmla="*/ 7415 w 7489"/>
                <a:gd name="T71" fmla="*/ 2228 h 7225"/>
                <a:gd name="T72" fmla="*/ 7364 w 7489"/>
                <a:gd name="T73" fmla="*/ 2858 h 7225"/>
                <a:gd name="T74" fmla="*/ 7268 w 7489"/>
                <a:gd name="T75" fmla="*/ 3092 h 7225"/>
                <a:gd name="T76" fmla="*/ 6733 w 7489"/>
                <a:gd name="T77" fmla="*/ 3517 h 7225"/>
                <a:gd name="T78" fmla="*/ 6352 w 7489"/>
                <a:gd name="T79" fmla="*/ 3576 h 7225"/>
                <a:gd name="T80" fmla="*/ 6059 w 7489"/>
                <a:gd name="T81" fmla="*/ 3840 h 7225"/>
                <a:gd name="T82" fmla="*/ 5656 w 7489"/>
                <a:gd name="T83" fmla="*/ 4184 h 7225"/>
                <a:gd name="T84" fmla="*/ 6059 w 7489"/>
                <a:gd name="T85" fmla="*/ 4397 h 7225"/>
                <a:gd name="T86" fmla="*/ 5847 w 7489"/>
                <a:gd name="T87" fmla="*/ 4813 h 7225"/>
                <a:gd name="T88" fmla="*/ 5605 w 7489"/>
                <a:gd name="T89" fmla="*/ 4784 h 7225"/>
                <a:gd name="T90" fmla="*/ 5488 w 7489"/>
                <a:gd name="T91" fmla="*/ 5158 h 7225"/>
                <a:gd name="T92" fmla="*/ 5143 w 7489"/>
                <a:gd name="T93" fmla="*/ 5568 h 7225"/>
                <a:gd name="T94" fmla="*/ 4733 w 7489"/>
                <a:gd name="T95" fmla="*/ 5795 h 7225"/>
                <a:gd name="T96" fmla="*/ 4638 w 7489"/>
                <a:gd name="T97" fmla="*/ 6096 h 7225"/>
                <a:gd name="T98" fmla="*/ 4352 w 7489"/>
                <a:gd name="T99" fmla="*/ 5744 h 7225"/>
                <a:gd name="T100" fmla="*/ 4088 w 7489"/>
                <a:gd name="T101" fmla="*/ 5400 h 7225"/>
                <a:gd name="T102" fmla="*/ 3810 w 7489"/>
                <a:gd name="T103" fmla="*/ 5671 h 7225"/>
                <a:gd name="T104" fmla="*/ 3502 w 7489"/>
                <a:gd name="T105" fmla="*/ 5920 h 7225"/>
                <a:gd name="T106" fmla="*/ 2974 w 7489"/>
                <a:gd name="T107" fmla="*/ 6286 h 7225"/>
                <a:gd name="T108" fmla="*/ 2417 w 7489"/>
                <a:gd name="T109" fmla="*/ 6396 h 7225"/>
                <a:gd name="T110" fmla="*/ 2110 w 7489"/>
                <a:gd name="T111" fmla="*/ 6682 h 7225"/>
                <a:gd name="T112" fmla="*/ 1824 w 7489"/>
                <a:gd name="T113" fmla="*/ 6916 h 7225"/>
                <a:gd name="T114" fmla="*/ 1567 w 7489"/>
                <a:gd name="T115" fmla="*/ 7188 h 7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489" h="7225">
                  <a:moveTo>
                    <a:pt x="1186" y="7224"/>
                  </a:moveTo>
                  <a:lnTo>
                    <a:pt x="1186" y="7224"/>
                  </a:lnTo>
                  <a:cubicBezTo>
                    <a:pt x="1150" y="7224"/>
                    <a:pt x="1128" y="7180"/>
                    <a:pt x="1113" y="7136"/>
                  </a:cubicBezTo>
                  <a:cubicBezTo>
                    <a:pt x="1106" y="7129"/>
                    <a:pt x="1106" y="7114"/>
                    <a:pt x="1099" y="7107"/>
                  </a:cubicBezTo>
                  <a:cubicBezTo>
                    <a:pt x="1076" y="7070"/>
                    <a:pt x="1069" y="7063"/>
                    <a:pt x="1047" y="7063"/>
                  </a:cubicBezTo>
                  <a:cubicBezTo>
                    <a:pt x="1040" y="7063"/>
                    <a:pt x="1033" y="7063"/>
                    <a:pt x="1033" y="7063"/>
                  </a:cubicBezTo>
                  <a:cubicBezTo>
                    <a:pt x="1018" y="7063"/>
                    <a:pt x="1011" y="7085"/>
                    <a:pt x="1003" y="7122"/>
                  </a:cubicBezTo>
                  <a:cubicBezTo>
                    <a:pt x="996" y="7158"/>
                    <a:pt x="996" y="7158"/>
                    <a:pt x="996" y="7158"/>
                  </a:cubicBezTo>
                  <a:cubicBezTo>
                    <a:pt x="974" y="7143"/>
                    <a:pt x="974" y="7143"/>
                    <a:pt x="974" y="7143"/>
                  </a:cubicBezTo>
                  <a:cubicBezTo>
                    <a:pt x="959" y="7129"/>
                    <a:pt x="952" y="7122"/>
                    <a:pt x="945" y="7107"/>
                  </a:cubicBezTo>
                  <a:cubicBezTo>
                    <a:pt x="908" y="7048"/>
                    <a:pt x="923" y="7004"/>
                    <a:pt x="966" y="6916"/>
                  </a:cubicBezTo>
                  <a:cubicBezTo>
                    <a:pt x="996" y="6858"/>
                    <a:pt x="981" y="6850"/>
                    <a:pt x="959" y="6821"/>
                  </a:cubicBezTo>
                  <a:cubicBezTo>
                    <a:pt x="945" y="6806"/>
                    <a:pt x="937" y="6792"/>
                    <a:pt x="923" y="6770"/>
                  </a:cubicBezTo>
                  <a:cubicBezTo>
                    <a:pt x="893" y="6704"/>
                    <a:pt x="857" y="6660"/>
                    <a:pt x="791" y="6660"/>
                  </a:cubicBezTo>
                  <a:cubicBezTo>
                    <a:pt x="783" y="6660"/>
                    <a:pt x="769" y="6660"/>
                    <a:pt x="762" y="6660"/>
                  </a:cubicBezTo>
                  <a:cubicBezTo>
                    <a:pt x="732" y="6667"/>
                    <a:pt x="710" y="6674"/>
                    <a:pt x="695" y="6674"/>
                  </a:cubicBezTo>
                  <a:cubicBezTo>
                    <a:pt x="666" y="6674"/>
                    <a:pt x="652" y="6653"/>
                    <a:pt x="644" y="6638"/>
                  </a:cubicBezTo>
                  <a:cubicBezTo>
                    <a:pt x="644" y="6631"/>
                    <a:pt x="637" y="6623"/>
                    <a:pt x="630" y="6616"/>
                  </a:cubicBezTo>
                  <a:cubicBezTo>
                    <a:pt x="622" y="6601"/>
                    <a:pt x="615" y="6594"/>
                    <a:pt x="608" y="6587"/>
                  </a:cubicBezTo>
                  <a:cubicBezTo>
                    <a:pt x="586" y="6557"/>
                    <a:pt x="564" y="6535"/>
                    <a:pt x="578" y="6455"/>
                  </a:cubicBezTo>
                  <a:cubicBezTo>
                    <a:pt x="593" y="6396"/>
                    <a:pt x="608" y="6389"/>
                    <a:pt x="637" y="6374"/>
                  </a:cubicBezTo>
                  <a:cubicBezTo>
                    <a:pt x="652" y="6374"/>
                    <a:pt x="674" y="6360"/>
                    <a:pt x="710" y="6330"/>
                  </a:cubicBezTo>
                  <a:cubicBezTo>
                    <a:pt x="732" y="6315"/>
                    <a:pt x="754" y="6293"/>
                    <a:pt x="762" y="6286"/>
                  </a:cubicBezTo>
                  <a:lnTo>
                    <a:pt x="762" y="6286"/>
                  </a:lnTo>
                  <a:lnTo>
                    <a:pt x="754" y="6279"/>
                  </a:lnTo>
                  <a:cubicBezTo>
                    <a:pt x="747" y="6272"/>
                    <a:pt x="740" y="6257"/>
                    <a:pt x="732" y="6235"/>
                  </a:cubicBezTo>
                  <a:cubicBezTo>
                    <a:pt x="725" y="6213"/>
                    <a:pt x="717" y="6213"/>
                    <a:pt x="717" y="6213"/>
                  </a:cubicBezTo>
                  <a:cubicBezTo>
                    <a:pt x="710" y="6213"/>
                    <a:pt x="703" y="6213"/>
                    <a:pt x="703" y="6213"/>
                  </a:cubicBezTo>
                  <a:cubicBezTo>
                    <a:pt x="688" y="6220"/>
                    <a:pt x="674" y="6220"/>
                    <a:pt x="659" y="6220"/>
                  </a:cubicBezTo>
                  <a:cubicBezTo>
                    <a:pt x="644" y="6220"/>
                    <a:pt x="622" y="6220"/>
                    <a:pt x="600" y="6206"/>
                  </a:cubicBezTo>
                  <a:cubicBezTo>
                    <a:pt x="542" y="6184"/>
                    <a:pt x="534" y="6169"/>
                    <a:pt x="534" y="6132"/>
                  </a:cubicBezTo>
                  <a:cubicBezTo>
                    <a:pt x="534" y="6118"/>
                    <a:pt x="534" y="6096"/>
                    <a:pt x="527" y="6066"/>
                  </a:cubicBezTo>
                  <a:cubicBezTo>
                    <a:pt x="512" y="6030"/>
                    <a:pt x="505" y="6015"/>
                    <a:pt x="505" y="6000"/>
                  </a:cubicBezTo>
                  <a:cubicBezTo>
                    <a:pt x="490" y="5971"/>
                    <a:pt x="490" y="5964"/>
                    <a:pt x="468" y="5927"/>
                  </a:cubicBezTo>
                  <a:cubicBezTo>
                    <a:pt x="461" y="5912"/>
                    <a:pt x="454" y="5912"/>
                    <a:pt x="439" y="5912"/>
                  </a:cubicBezTo>
                  <a:cubicBezTo>
                    <a:pt x="432" y="5912"/>
                    <a:pt x="417" y="5912"/>
                    <a:pt x="402" y="5920"/>
                  </a:cubicBezTo>
                  <a:cubicBezTo>
                    <a:pt x="388" y="5927"/>
                    <a:pt x="373" y="5927"/>
                    <a:pt x="351" y="5927"/>
                  </a:cubicBezTo>
                  <a:cubicBezTo>
                    <a:pt x="344" y="5927"/>
                    <a:pt x="336" y="5927"/>
                    <a:pt x="329" y="5927"/>
                  </a:cubicBezTo>
                  <a:cubicBezTo>
                    <a:pt x="307" y="5920"/>
                    <a:pt x="285" y="5912"/>
                    <a:pt x="278" y="5891"/>
                  </a:cubicBezTo>
                  <a:cubicBezTo>
                    <a:pt x="263" y="5869"/>
                    <a:pt x="263" y="5832"/>
                    <a:pt x="278" y="5781"/>
                  </a:cubicBezTo>
                  <a:cubicBezTo>
                    <a:pt x="293" y="5737"/>
                    <a:pt x="285" y="5729"/>
                    <a:pt x="256" y="5722"/>
                  </a:cubicBezTo>
                  <a:cubicBezTo>
                    <a:pt x="249" y="5722"/>
                    <a:pt x="234" y="5715"/>
                    <a:pt x="226" y="5707"/>
                  </a:cubicBezTo>
                  <a:cubicBezTo>
                    <a:pt x="205" y="5700"/>
                    <a:pt x="161" y="5671"/>
                    <a:pt x="168" y="5641"/>
                  </a:cubicBezTo>
                  <a:cubicBezTo>
                    <a:pt x="168" y="5627"/>
                    <a:pt x="183" y="5619"/>
                    <a:pt x="205" y="5612"/>
                  </a:cubicBezTo>
                  <a:cubicBezTo>
                    <a:pt x="249" y="5605"/>
                    <a:pt x="256" y="5575"/>
                    <a:pt x="256" y="5502"/>
                  </a:cubicBezTo>
                  <a:cubicBezTo>
                    <a:pt x="256" y="5465"/>
                    <a:pt x="271" y="5451"/>
                    <a:pt x="300" y="5451"/>
                  </a:cubicBezTo>
                  <a:cubicBezTo>
                    <a:pt x="314" y="5451"/>
                    <a:pt x="322" y="5451"/>
                    <a:pt x="336" y="5451"/>
                  </a:cubicBezTo>
                  <a:cubicBezTo>
                    <a:pt x="351" y="5451"/>
                    <a:pt x="366" y="5458"/>
                    <a:pt x="381" y="5458"/>
                  </a:cubicBezTo>
                  <a:cubicBezTo>
                    <a:pt x="388" y="5458"/>
                    <a:pt x="395" y="5458"/>
                    <a:pt x="402" y="5451"/>
                  </a:cubicBezTo>
                  <a:cubicBezTo>
                    <a:pt x="410" y="5451"/>
                    <a:pt x="417" y="5451"/>
                    <a:pt x="424" y="5443"/>
                  </a:cubicBezTo>
                  <a:cubicBezTo>
                    <a:pt x="432" y="5429"/>
                    <a:pt x="424" y="5407"/>
                    <a:pt x="417" y="5378"/>
                  </a:cubicBezTo>
                  <a:cubicBezTo>
                    <a:pt x="417" y="5356"/>
                    <a:pt x="410" y="5334"/>
                    <a:pt x="410" y="5312"/>
                  </a:cubicBezTo>
                  <a:cubicBezTo>
                    <a:pt x="410" y="5238"/>
                    <a:pt x="410" y="5238"/>
                    <a:pt x="373" y="5238"/>
                  </a:cubicBezTo>
                  <a:cubicBezTo>
                    <a:pt x="336" y="5238"/>
                    <a:pt x="293" y="5224"/>
                    <a:pt x="278" y="5194"/>
                  </a:cubicBezTo>
                  <a:cubicBezTo>
                    <a:pt x="271" y="5172"/>
                    <a:pt x="263" y="5150"/>
                    <a:pt x="293" y="5106"/>
                  </a:cubicBezTo>
                  <a:cubicBezTo>
                    <a:pt x="300" y="5092"/>
                    <a:pt x="307" y="5070"/>
                    <a:pt x="307" y="5062"/>
                  </a:cubicBezTo>
                  <a:cubicBezTo>
                    <a:pt x="300" y="5055"/>
                    <a:pt x="285" y="5048"/>
                    <a:pt x="285" y="5048"/>
                  </a:cubicBezTo>
                  <a:cubicBezTo>
                    <a:pt x="278" y="5048"/>
                    <a:pt x="278" y="5055"/>
                    <a:pt x="271" y="5055"/>
                  </a:cubicBezTo>
                  <a:cubicBezTo>
                    <a:pt x="256" y="5055"/>
                    <a:pt x="241" y="5062"/>
                    <a:pt x="219" y="5062"/>
                  </a:cubicBezTo>
                  <a:cubicBezTo>
                    <a:pt x="197" y="5062"/>
                    <a:pt x="161" y="5062"/>
                    <a:pt x="109" y="5077"/>
                  </a:cubicBezTo>
                  <a:cubicBezTo>
                    <a:pt x="102" y="5077"/>
                    <a:pt x="87" y="5077"/>
                    <a:pt x="80" y="5077"/>
                  </a:cubicBezTo>
                  <a:cubicBezTo>
                    <a:pt x="65" y="5077"/>
                    <a:pt x="51" y="5077"/>
                    <a:pt x="43" y="5062"/>
                  </a:cubicBezTo>
                  <a:cubicBezTo>
                    <a:pt x="29" y="5048"/>
                    <a:pt x="29" y="5011"/>
                    <a:pt x="36" y="4974"/>
                  </a:cubicBezTo>
                  <a:cubicBezTo>
                    <a:pt x="36" y="4960"/>
                    <a:pt x="36" y="4945"/>
                    <a:pt x="36" y="4923"/>
                  </a:cubicBezTo>
                  <a:cubicBezTo>
                    <a:pt x="36" y="4894"/>
                    <a:pt x="29" y="4872"/>
                    <a:pt x="21" y="4850"/>
                  </a:cubicBezTo>
                  <a:cubicBezTo>
                    <a:pt x="7" y="4813"/>
                    <a:pt x="0" y="4784"/>
                    <a:pt x="29" y="4755"/>
                  </a:cubicBezTo>
                  <a:cubicBezTo>
                    <a:pt x="58" y="4733"/>
                    <a:pt x="73" y="4725"/>
                    <a:pt x="87" y="4725"/>
                  </a:cubicBezTo>
                  <a:cubicBezTo>
                    <a:pt x="102" y="4725"/>
                    <a:pt x="124" y="4733"/>
                    <a:pt x="124" y="4777"/>
                  </a:cubicBezTo>
                  <a:cubicBezTo>
                    <a:pt x="124" y="4791"/>
                    <a:pt x="131" y="4806"/>
                    <a:pt x="146" y="4821"/>
                  </a:cubicBezTo>
                  <a:cubicBezTo>
                    <a:pt x="161" y="4835"/>
                    <a:pt x="175" y="4843"/>
                    <a:pt x="183" y="4843"/>
                  </a:cubicBezTo>
                  <a:cubicBezTo>
                    <a:pt x="183" y="4843"/>
                    <a:pt x="183" y="4843"/>
                    <a:pt x="190" y="4835"/>
                  </a:cubicBezTo>
                  <a:cubicBezTo>
                    <a:pt x="190" y="4828"/>
                    <a:pt x="197" y="4813"/>
                    <a:pt x="205" y="4799"/>
                  </a:cubicBezTo>
                  <a:cubicBezTo>
                    <a:pt x="226" y="4762"/>
                    <a:pt x="249" y="4711"/>
                    <a:pt x="293" y="4674"/>
                  </a:cubicBezTo>
                  <a:cubicBezTo>
                    <a:pt x="314" y="4660"/>
                    <a:pt x="329" y="4652"/>
                    <a:pt x="344" y="4645"/>
                  </a:cubicBezTo>
                  <a:cubicBezTo>
                    <a:pt x="351" y="4638"/>
                    <a:pt x="358" y="4638"/>
                    <a:pt x="381" y="4601"/>
                  </a:cubicBezTo>
                  <a:cubicBezTo>
                    <a:pt x="410" y="4535"/>
                    <a:pt x="454" y="4520"/>
                    <a:pt x="505" y="4499"/>
                  </a:cubicBezTo>
                  <a:cubicBezTo>
                    <a:pt x="520" y="4492"/>
                    <a:pt x="520" y="4492"/>
                    <a:pt x="520" y="4492"/>
                  </a:cubicBezTo>
                  <a:cubicBezTo>
                    <a:pt x="549" y="4484"/>
                    <a:pt x="571" y="4477"/>
                    <a:pt x="578" y="4477"/>
                  </a:cubicBezTo>
                  <a:cubicBezTo>
                    <a:pt x="586" y="4477"/>
                    <a:pt x="593" y="4477"/>
                    <a:pt x="593" y="4477"/>
                  </a:cubicBezTo>
                  <a:cubicBezTo>
                    <a:pt x="593" y="4477"/>
                    <a:pt x="593" y="4477"/>
                    <a:pt x="593" y="4470"/>
                  </a:cubicBezTo>
                  <a:cubicBezTo>
                    <a:pt x="593" y="4448"/>
                    <a:pt x="571" y="4426"/>
                    <a:pt x="571" y="4426"/>
                  </a:cubicBezTo>
                  <a:cubicBezTo>
                    <a:pt x="564" y="4411"/>
                    <a:pt x="564" y="4411"/>
                    <a:pt x="564" y="4411"/>
                  </a:cubicBezTo>
                  <a:cubicBezTo>
                    <a:pt x="644" y="4353"/>
                    <a:pt x="644" y="4353"/>
                    <a:pt x="644" y="4353"/>
                  </a:cubicBezTo>
                  <a:cubicBezTo>
                    <a:pt x="644" y="4353"/>
                    <a:pt x="637" y="4353"/>
                    <a:pt x="630" y="4353"/>
                  </a:cubicBezTo>
                  <a:cubicBezTo>
                    <a:pt x="630" y="4353"/>
                    <a:pt x="615" y="4353"/>
                    <a:pt x="608" y="4360"/>
                  </a:cubicBezTo>
                  <a:cubicBezTo>
                    <a:pt x="571" y="4382"/>
                    <a:pt x="527" y="4404"/>
                    <a:pt x="483" y="4404"/>
                  </a:cubicBezTo>
                  <a:cubicBezTo>
                    <a:pt x="461" y="4404"/>
                    <a:pt x="439" y="4397"/>
                    <a:pt x="417" y="4382"/>
                  </a:cubicBezTo>
                  <a:cubicBezTo>
                    <a:pt x="402" y="4375"/>
                    <a:pt x="395" y="4360"/>
                    <a:pt x="388" y="4345"/>
                  </a:cubicBezTo>
                  <a:cubicBezTo>
                    <a:pt x="381" y="4272"/>
                    <a:pt x="461" y="4170"/>
                    <a:pt x="468" y="4155"/>
                  </a:cubicBezTo>
                  <a:cubicBezTo>
                    <a:pt x="490" y="4133"/>
                    <a:pt x="512" y="4104"/>
                    <a:pt x="534" y="4067"/>
                  </a:cubicBezTo>
                  <a:cubicBezTo>
                    <a:pt x="556" y="4023"/>
                    <a:pt x="578" y="3979"/>
                    <a:pt x="615" y="3928"/>
                  </a:cubicBezTo>
                  <a:cubicBezTo>
                    <a:pt x="652" y="3884"/>
                    <a:pt x="681" y="3869"/>
                    <a:pt x="695" y="3854"/>
                  </a:cubicBezTo>
                  <a:cubicBezTo>
                    <a:pt x="717" y="3840"/>
                    <a:pt x="732" y="3832"/>
                    <a:pt x="740" y="3803"/>
                  </a:cubicBezTo>
                  <a:cubicBezTo>
                    <a:pt x="747" y="3774"/>
                    <a:pt x="747" y="3744"/>
                    <a:pt x="747" y="3715"/>
                  </a:cubicBezTo>
                  <a:cubicBezTo>
                    <a:pt x="740" y="3679"/>
                    <a:pt x="740" y="3627"/>
                    <a:pt x="762" y="3569"/>
                  </a:cubicBezTo>
                  <a:cubicBezTo>
                    <a:pt x="798" y="3503"/>
                    <a:pt x="776" y="3444"/>
                    <a:pt x="754" y="3378"/>
                  </a:cubicBezTo>
                  <a:cubicBezTo>
                    <a:pt x="754" y="3363"/>
                    <a:pt x="747" y="3342"/>
                    <a:pt x="740" y="3320"/>
                  </a:cubicBezTo>
                  <a:cubicBezTo>
                    <a:pt x="725" y="3275"/>
                    <a:pt x="710" y="3246"/>
                    <a:pt x="703" y="3224"/>
                  </a:cubicBezTo>
                  <a:cubicBezTo>
                    <a:pt x="688" y="3210"/>
                    <a:pt x="681" y="3188"/>
                    <a:pt x="674" y="3158"/>
                  </a:cubicBezTo>
                  <a:cubicBezTo>
                    <a:pt x="659" y="3114"/>
                    <a:pt x="637" y="3070"/>
                    <a:pt x="564" y="2997"/>
                  </a:cubicBezTo>
                  <a:cubicBezTo>
                    <a:pt x="527" y="2968"/>
                    <a:pt x="512" y="2939"/>
                    <a:pt x="512" y="2916"/>
                  </a:cubicBezTo>
                  <a:cubicBezTo>
                    <a:pt x="512" y="2894"/>
                    <a:pt x="534" y="2873"/>
                    <a:pt x="564" y="2851"/>
                  </a:cubicBezTo>
                  <a:cubicBezTo>
                    <a:pt x="578" y="2843"/>
                    <a:pt x="578" y="2836"/>
                    <a:pt x="578" y="2836"/>
                  </a:cubicBezTo>
                  <a:cubicBezTo>
                    <a:pt x="578" y="2821"/>
                    <a:pt x="534" y="2806"/>
                    <a:pt x="505" y="2792"/>
                  </a:cubicBezTo>
                  <a:cubicBezTo>
                    <a:pt x="490" y="2785"/>
                    <a:pt x="490" y="2785"/>
                    <a:pt x="490" y="2785"/>
                  </a:cubicBezTo>
                  <a:cubicBezTo>
                    <a:pt x="424" y="2763"/>
                    <a:pt x="410" y="2726"/>
                    <a:pt x="410" y="2660"/>
                  </a:cubicBezTo>
                  <a:cubicBezTo>
                    <a:pt x="410" y="2587"/>
                    <a:pt x="410" y="2557"/>
                    <a:pt x="366" y="2535"/>
                  </a:cubicBezTo>
                  <a:cubicBezTo>
                    <a:pt x="336" y="2528"/>
                    <a:pt x="307" y="2521"/>
                    <a:pt x="293" y="2521"/>
                  </a:cubicBezTo>
                  <a:cubicBezTo>
                    <a:pt x="271" y="2521"/>
                    <a:pt x="263" y="2528"/>
                    <a:pt x="256" y="2528"/>
                  </a:cubicBezTo>
                  <a:cubicBezTo>
                    <a:pt x="226" y="2535"/>
                    <a:pt x="226" y="2535"/>
                    <a:pt x="226" y="2535"/>
                  </a:cubicBezTo>
                  <a:cubicBezTo>
                    <a:pt x="241" y="2506"/>
                    <a:pt x="241" y="2506"/>
                    <a:pt x="241" y="2506"/>
                  </a:cubicBezTo>
                  <a:cubicBezTo>
                    <a:pt x="241" y="2499"/>
                    <a:pt x="271" y="2462"/>
                    <a:pt x="329" y="2440"/>
                  </a:cubicBezTo>
                  <a:cubicBezTo>
                    <a:pt x="351" y="2433"/>
                    <a:pt x="351" y="2418"/>
                    <a:pt x="351" y="2418"/>
                  </a:cubicBezTo>
                  <a:cubicBezTo>
                    <a:pt x="358" y="2396"/>
                    <a:pt x="336" y="2367"/>
                    <a:pt x="300" y="2345"/>
                  </a:cubicBezTo>
                  <a:cubicBezTo>
                    <a:pt x="271" y="2316"/>
                    <a:pt x="249" y="2279"/>
                    <a:pt x="256" y="2250"/>
                  </a:cubicBezTo>
                  <a:cubicBezTo>
                    <a:pt x="263" y="2235"/>
                    <a:pt x="278" y="2213"/>
                    <a:pt x="322" y="2206"/>
                  </a:cubicBezTo>
                  <a:cubicBezTo>
                    <a:pt x="395" y="2191"/>
                    <a:pt x="432" y="2176"/>
                    <a:pt x="446" y="2140"/>
                  </a:cubicBezTo>
                  <a:cubicBezTo>
                    <a:pt x="461" y="2111"/>
                    <a:pt x="490" y="2089"/>
                    <a:pt x="520" y="2089"/>
                  </a:cubicBezTo>
                  <a:cubicBezTo>
                    <a:pt x="527" y="2089"/>
                    <a:pt x="549" y="2089"/>
                    <a:pt x="564" y="2118"/>
                  </a:cubicBezTo>
                  <a:cubicBezTo>
                    <a:pt x="586" y="2154"/>
                    <a:pt x="608" y="2169"/>
                    <a:pt x="688" y="2169"/>
                  </a:cubicBezTo>
                  <a:cubicBezTo>
                    <a:pt x="695" y="2169"/>
                    <a:pt x="703" y="2169"/>
                    <a:pt x="703" y="2169"/>
                  </a:cubicBezTo>
                  <a:cubicBezTo>
                    <a:pt x="710" y="2154"/>
                    <a:pt x="659" y="2096"/>
                    <a:pt x="644" y="2074"/>
                  </a:cubicBezTo>
                  <a:cubicBezTo>
                    <a:pt x="630" y="2066"/>
                    <a:pt x="622" y="2052"/>
                    <a:pt x="615" y="2044"/>
                  </a:cubicBezTo>
                  <a:cubicBezTo>
                    <a:pt x="600" y="2023"/>
                    <a:pt x="608" y="2008"/>
                    <a:pt x="608" y="2001"/>
                  </a:cubicBezTo>
                  <a:cubicBezTo>
                    <a:pt x="622" y="1964"/>
                    <a:pt x="688" y="1964"/>
                    <a:pt x="695" y="1964"/>
                  </a:cubicBezTo>
                  <a:cubicBezTo>
                    <a:pt x="732" y="1964"/>
                    <a:pt x="747" y="2008"/>
                    <a:pt x="762" y="2044"/>
                  </a:cubicBezTo>
                  <a:cubicBezTo>
                    <a:pt x="769" y="2059"/>
                    <a:pt x="776" y="2074"/>
                    <a:pt x="783" y="2089"/>
                  </a:cubicBezTo>
                  <a:cubicBezTo>
                    <a:pt x="791" y="2111"/>
                    <a:pt x="813" y="2118"/>
                    <a:pt x="857" y="2118"/>
                  </a:cubicBezTo>
                  <a:cubicBezTo>
                    <a:pt x="879" y="2118"/>
                    <a:pt x="901" y="2118"/>
                    <a:pt x="923" y="2111"/>
                  </a:cubicBezTo>
                  <a:cubicBezTo>
                    <a:pt x="930" y="2111"/>
                    <a:pt x="937" y="2111"/>
                    <a:pt x="945" y="2111"/>
                  </a:cubicBezTo>
                  <a:cubicBezTo>
                    <a:pt x="1011" y="2111"/>
                    <a:pt x="1076" y="2154"/>
                    <a:pt x="1128" y="2191"/>
                  </a:cubicBezTo>
                  <a:cubicBezTo>
                    <a:pt x="1157" y="2220"/>
                    <a:pt x="1179" y="2228"/>
                    <a:pt x="1194" y="2228"/>
                  </a:cubicBezTo>
                  <a:cubicBezTo>
                    <a:pt x="1194" y="2228"/>
                    <a:pt x="1201" y="2228"/>
                    <a:pt x="1208" y="2213"/>
                  </a:cubicBezTo>
                  <a:cubicBezTo>
                    <a:pt x="1208" y="2198"/>
                    <a:pt x="1194" y="2184"/>
                    <a:pt x="1179" y="2162"/>
                  </a:cubicBezTo>
                  <a:cubicBezTo>
                    <a:pt x="1157" y="2147"/>
                    <a:pt x="1142" y="2125"/>
                    <a:pt x="1150" y="2096"/>
                  </a:cubicBezTo>
                  <a:cubicBezTo>
                    <a:pt x="1157" y="2081"/>
                    <a:pt x="1172" y="2074"/>
                    <a:pt x="1186" y="2074"/>
                  </a:cubicBezTo>
                  <a:cubicBezTo>
                    <a:pt x="1223" y="2074"/>
                    <a:pt x="1267" y="2103"/>
                    <a:pt x="1296" y="2140"/>
                  </a:cubicBezTo>
                  <a:cubicBezTo>
                    <a:pt x="1311" y="2154"/>
                    <a:pt x="1326" y="2154"/>
                    <a:pt x="1340" y="2154"/>
                  </a:cubicBezTo>
                  <a:cubicBezTo>
                    <a:pt x="1377" y="2154"/>
                    <a:pt x="1428" y="2125"/>
                    <a:pt x="1450" y="2103"/>
                  </a:cubicBezTo>
                  <a:cubicBezTo>
                    <a:pt x="1487" y="2066"/>
                    <a:pt x="1663" y="2001"/>
                    <a:pt x="1729" y="1979"/>
                  </a:cubicBezTo>
                  <a:cubicBezTo>
                    <a:pt x="1743" y="1971"/>
                    <a:pt x="1758" y="1964"/>
                    <a:pt x="1773" y="1964"/>
                  </a:cubicBezTo>
                  <a:cubicBezTo>
                    <a:pt x="1809" y="1964"/>
                    <a:pt x="1846" y="1979"/>
                    <a:pt x="1861" y="2044"/>
                  </a:cubicBezTo>
                  <a:cubicBezTo>
                    <a:pt x="1861" y="2052"/>
                    <a:pt x="1861" y="2052"/>
                    <a:pt x="1868" y="2052"/>
                  </a:cubicBezTo>
                  <a:cubicBezTo>
                    <a:pt x="1897" y="2052"/>
                    <a:pt x="1963" y="2001"/>
                    <a:pt x="1985" y="1949"/>
                  </a:cubicBezTo>
                  <a:cubicBezTo>
                    <a:pt x="2014" y="1905"/>
                    <a:pt x="2022" y="1883"/>
                    <a:pt x="2044" y="1854"/>
                  </a:cubicBezTo>
                  <a:cubicBezTo>
                    <a:pt x="2051" y="1847"/>
                    <a:pt x="2058" y="1832"/>
                    <a:pt x="2066" y="1810"/>
                  </a:cubicBezTo>
                  <a:cubicBezTo>
                    <a:pt x="2088" y="1781"/>
                    <a:pt x="2088" y="1773"/>
                    <a:pt x="2066" y="1751"/>
                  </a:cubicBezTo>
                  <a:cubicBezTo>
                    <a:pt x="2058" y="1744"/>
                    <a:pt x="2051" y="1737"/>
                    <a:pt x="2044" y="1730"/>
                  </a:cubicBezTo>
                  <a:cubicBezTo>
                    <a:pt x="2014" y="1693"/>
                    <a:pt x="1971" y="1656"/>
                    <a:pt x="1912" y="1620"/>
                  </a:cubicBezTo>
                  <a:cubicBezTo>
                    <a:pt x="1890" y="1605"/>
                    <a:pt x="1890" y="1605"/>
                    <a:pt x="1890" y="1605"/>
                  </a:cubicBezTo>
                  <a:cubicBezTo>
                    <a:pt x="1846" y="1575"/>
                    <a:pt x="1817" y="1554"/>
                    <a:pt x="1817" y="1524"/>
                  </a:cubicBezTo>
                  <a:cubicBezTo>
                    <a:pt x="1809" y="1510"/>
                    <a:pt x="1817" y="1495"/>
                    <a:pt x="1831" y="1473"/>
                  </a:cubicBezTo>
                  <a:cubicBezTo>
                    <a:pt x="1846" y="1451"/>
                    <a:pt x="1853" y="1444"/>
                    <a:pt x="1868" y="1444"/>
                  </a:cubicBezTo>
                  <a:cubicBezTo>
                    <a:pt x="1875" y="1444"/>
                    <a:pt x="1883" y="1451"/>
                    <a:pt x="1883" y="1451"/>
                  </a:cubicBezTo>
                  <a:cubicBezTo>
                    <a:pt x="1890" y="1451"/>
                    <a:pt x="1890" y="1451"/>
                    <a:pt x="1890" y="1451"/>
                  </a:cubicBezTo>
                  <a:cubicBezTo>
                    <a:pt x="1890" y="1451"/>
                    <a:pt x="1897" y="1444"/>
                    <a:pt x="1897" y="1436"/>
                  </a:cubicBezTo>
                  <a:cubicBezTo>
                    <a:pt x="1912" y="1407"/>
                    <a:pt x="1956" y="1326"/>
                    <a:pt x="2036" y="1326"/>
                  </a:cubicBezTo>
                  <a:cubicBezTo>
                    <a:pt x="2102" y="1326"/>
                    <a:pt x="2132" y="1326"/>
                    <a:pt x="2161" y="1297"/>
                  </a:cubicBezTo>
                  <a:cubicBezTo>
                    <a:pt x="2176" y="1290"/>
                    <a:pt x="2183" y="1261"/>
                    <a:pt x="2198" y="1231"/>
                  </a:cubicBezTo>
                  <a:cubicBezTo>
                    <a:pt x="2212" y="1194"/>
                    <a:pt x="2227" y="1151"/>
                    <a:pt x="2256" y="1129"/>
                  </a:cubicBezTo>
                  <a:cubicBezTo>
                    <a:pt x="2278" y="1106"/>
                    <a:pt x="2300" y="1106"/>
                    <a:pt x="2322" y="1106"/>
                  </a:cubicBezTo>
                  <a:cubicBezTo>
                    <a:pt x="2344" y="1106"/>
                    <a:pt x="2352" y="1106"/>
                    <a:pt x="2359" y="1085"/>
                  </a:cubicBezTo>
                  <a:cubicBezTo>
                    <a:pt x="2366" y="1077"/>
                    <a:pt x="2374" y="1070"/>
                    <a:pt x="2374" y="1063"/>
                  </a:cubicBezTo>
                  <a:cubicBezTo>
                    <a:pt x="2388" y="1026"/>
                    <a:pt x="2403" y="989"/>
                    <a:pt x="2476" y="975"/>
                  </a:cubicBezTo>
                  <a:cubicBezTo>
                    <a:pt x="2527" y="967"/>
                    <a:pt x="2564" y="945"/>
                    <a:pt x="2586" y="931"/>
                  </a:cubicBezTo>
                  <a:cubicBezTo>
                    <a:pt x="2593" y="931"/>
                    <a:pt x="2593" y="931"/>
                    <a:pt x="2593" y="931"/>
                  </a:cubicBezTo>
                  <a:lnTo>
                    <a:pt x="2593" y="931"/>
                  </a:lnTo>
                  <a:cubicBezTo>
                    <a:pt x="2645" y="931"/>
                    <a:pt x="2667" y="916"/>
                    <a:pt x="2681" y="901"/>
                  </a:cubicBezTo>
                  <a:cubicBezTo>
                    <a:pt x="2711" y="857"/>
                    <a:pt x="2798" y="850"/>
                    <a:pt x="2879" y="850"/>
                  </a:cubicBezTo>
                  <a:cubicBezTo>
                    <a:pt x="2901" y="850"/>
                    <a:pt x="2916" y="850"/>
                    <a:pt x="2930" y="843"/>
                  </a:cubicBezTo>
                  <a:cubicBezTo>
                    <a:pt x="2938" y="843"/>
                    <a:pt x="2945" y="843"/>
                    <a:pt x="2960" y="843"/>
                  </a:cubicBezTo>
                  <a:cubicBezTo>
                    <a:pt x="3018" y="828"/>
                    <a:pt x="3150" y="813"/>
                    <a:pt x="3202" y="762"/>
                  </a:cubicBezTo>
                  <a:cubicBezTo>
                    <a:pt x="3245" y="718"/>
                    <a:pt x="3333" y="660"/>
                    <a:pt x="3399" y="623"/>
                  </a:cubicBezTo>
                  <a:cubicBezTo>
                    <a:pt x="3421" y="608"/>
                    <a:pt x="3436" y="601"/>
                    <a:pt x="3451" y="594"/>
                  </a:cubicBezTo>
                  <a:cubicBezTo>
                    <a:pt x="3502" y="557"/>
                    <a:pt x="3546" y="528"/>
                    <a:pt x="3605" y="498"/>
                  </a:cubicBezTo>
                  <a:cubicBezTo>
                    <a:pt x="3648" y="476"/>
                    <a:pt x="3648" y="462"/>
                    <a:pt x="3656" y="447"/>
                  </a:cubicBezTo>
                  <a:cubicBezTo>
                    <a:pt x="3663" y="440"/>
                    <a:pt x="3663" y="432"/>
                    <a:pt x="3663" y="425"/>
                  </a:cubicBezTo>
                  <a:cubicBezTo>
                    <a:pt x="3670" y="425"/>
                    <a:pt x="3670" y="418"/>
                    <a:pt x="3678" y="411"/>
                  </a:cubicBezTo>
                  <a:cubicBezTo>
                    <a:pt x="3685" y="388"/>
                    <a:pt x="3693" y="381"/>
                    <a:pt x="3656" y="352"/>
                  </a:cubicBezTo>
                  <a:cubicBezTo>
                    <a:pt x="3634" y="337"/>
                    <a:pt x="3626" y="323"/>
                    <a:pt x="3619" y="308"/>
                  </a:cubicBezTo>
                  <a:cubicBezTo>
                    <a:pt x="3619" y="293"/>
                    <a:pt x="3634" y="279"/>
                    <a:pt x="3641" y="264"/>
                  </a:cubicBezTo>
                  <a:cubicBezTo>
                    <a:pt x="3656" y="256"/>
                    <a:pt x="3663" y="242"/>
                    <a:pt x="3663" y="235"/>
                  </a:cubicBezTo>
                  <a:cubicBezTo>
                    <a:pt x="3678" y="198"/>
                    <a:pt x="3700" y="161"/>
                    <a:pt x="3736" y="161"/>
                  </a:cubicBezTo>
                  <a:cubicBezTo>
                    <a:pt x="3751" y="161"/>
                    <a:pt x="3766" y="169"/>
                    <a:pt x="3780" y="176"/>
                  </a:cubicBezTo>
                  <a:cubicBezTo>
                    <a:pt x="3802" y="191"/>
                    <a:pt x="3824" y="205"/>
                    <a:pt x="3839" y="220"/>
                  </a:cubicBezTo>
                  <a:cubicBezTo>
                    <a:pt x="3854" y="235"/>
                    <a:pt x="3868" y="249"/>
                    <a:pt x="3890" y="256"/>
                  </a:cubicBezTo>
                  <a:cubicBezTo>
                    <a:pt x="3927" y="271"/>
                    <a:pt x="3927" y="308"/>
                    <a:pt x="3927" y="337"/>
                  </a:cubicBezTo>
                  <a:cubicBezTo>
                    <a:pt x="3927" y="352"/>
                    <a:pt x="3927" y="366"/>
                    <a:pt x="3934" y="388"/>
                  </a:cubicBezTo>
                  <a:cubicBezTo>
                    <a:pt x="3949" y="432"/>
                    <a:pt x="3978" y="440"/>
                    <a:pt x="4022" y="447"/>
                  </a:cubicBezTo>
                  <a:cubicBezTo>
                    <a:pt x="4059" y="454"/>
                    <a:pt x="4074" y="469"/>
                    <a:pt x="4095" y="491"/>
                  </a:cubicBezTo>
                  <a:cubicBezTo>
                    <a:pt x="4103" y="491"/>
                    <a:pt x="4110" y="498"/>
                    <a:pt x="4125" y="506"/>
                  </a:cubicBezTo>
                  <a:cubicBezTo>
                    <a:pt x="4139" y="520"/>
                    <a:pt x="4154" y="520"/>
                    <a:pt x="4176" y="520"/>
                  </a:cubicBezTo>
                  <a:cubicBezTo>
                    <a:pt x="4191" y="520"/>
                    <a:pt x="4213" y="520"/>
                    <a:pt x="4220" y="506"/>
                  </a:cubicBezTo>
                  <a:cubicBezTo>
                    <a:pt x="4235" y="498"/>
                    <a:pt x="4257" y="491"/>
                    <a:pt x="4286" y="491"/>
                  </a:cubicBezTo>
                  <a:cubicBezTo>
                    <a:pt x="4323" y="491"/>
                    <a:pt x="4367" y="506"/>
                    <a:pt x="4381" y="535"/>
                  </a:cubicBezTo>
                  <a:cubicBezTo>
                    <a:pt x="4388" y="557"/>
                    <a:pt x="4396" y="579"/>
                    <a:pt x="4403" y="594"/>
                  </a:cubicBezTo>
                  <a:cubicBezTo>
                    <a:pt x="4411" y="638"/>
                    <a:pt x="4418" y="660"/>
                    <a:pt x="4440" y="667"/>
                  </a:cubicBezTo>
                  <a:cubicBezTo>
                    <a:pt x="4476" y="674"/>
                    <a:pt x="4491" y="704"/>
                    <a:pt x="4491" y="725"/>
                  </a:cubicBezTo>
                  <a:cubicBezTo>
                    <a:pt x="4491" y="740"/>
                    <a:pt x="4476" y="770"/>
                    <a:pt x="4418" y="770"/>
                  </a:cubicBezTo>
                  <a:cubicBezTo>
                    <a:pt x="4396" y="777"/>
                    <a:pt x="4381" y="784"/>
                    <a:pt x="4381" y="792"/>
                  </a:cubicBezTo>
                  <a:cubicBezTo>
                    <a:pt x="4374" y="799"/>
                    <a:pt x="4381" y="821"/>
                    <a:pt x="4388" y="835"/>
                  </a:cubicBezTo>
                  <a:cubicBezTo>
                    <a:pt x="4396" y="850"/>
                    <a:pt x="4396" y="850"/>
                    <a:pt x="4396" y="850"/>
                  </a:cubicBezTo>
                  <a:cubicBezTo>
                    <a:pt x="4411" y="880"/>
                    <a:pt x="4411" y="887"/>
                    <a:pt x="4388" y="938"/>
                  </a:cubicBezTo>
                  <a:cubicBezTo>
                    <a:pt x="4381" y="953"/>
                    <a:pt x="4381" y="975"/>
                    <a:pt x="4381" y="989"/>
                  </a:cubicBezTo>
                  <a:cubicBezTo>
                    <a:pt x="4381" y="1019"/>
                    <a:pt x="4381" y="1048"/>
                    <a:pt x="4337" y="1070"/>
                  </a:cubicBezTo>
                  <a:cubicBezTo>
                    <a:pt x="4308" y="1085"/>
                    <a:pt x="4308" y="1092"/>
                    <a:pt x="4308" y="1099"/>
                  </a:cubicBezTo>
                  <a:cubicBezTo>
                    <a:pt x="4308" y="1099"/>
                    <a:pt x="4308" y="1114"/>
                    <a:pt x="4345" y="1136"/>
                  </a:cubicBezTo>
                  <a:cubicBezTo>
                    <a:pt x="4403" y="1173"/>
                    <a:pt x="4433" y="1187"/>
                    <a:pt x="4469" y="1187"/>
                  </a:cubicBezTo>
                  <a:cubicBezTo>
                    <a:pt x="4476" y="1187"/>
                    <a:pt x="4484" y="1187"/>
                    <a:pt x="4491" y="1187"/>
                  </a:cubicBezTo>
                  <a:cubicBezTo>
                    <a:pt x="4498" y="1187"/>
                    <a:pt x="4506" y="1180"/>
                    <a:pt x="4506" y="1180"/>
                  </a:cubicBezTo>
                  <a:cubicBezTo>
                    <a:pt x="4528" y="1180"/>
                    <a:pt x="4535" y="1187"/>
                    <a:pt x="4543" y="1194"/>
                  </a:cubicBezTo>
                  <a:cubicBezTo>
                    <a:pt x="4557" y="1216"/>
                    <a:pt x="4550" y="1246"/>
                    <a:pt x="4535" y="1290"/>
                  </a:cubicBezTo>
                  <a:cubicBezTo>
                    <a:pt x="4528" y="1304"/>
                    <a:pt x="4528" y="1319"/>
                    <a:pt x="4528" y="1334"/>
                  </a:cubicBezTo>
                  <a:cubicBezTo>
                    <a:pt x="4528" y="1363"/>
                    <a:pt x="4520" y="1400"/>
                    <a:pt x="4455" y="1422"/>
                  </a:cubicBezTo>
                  <a:cubicBezTo>
                    <a:pt x="4440" y="1429"/>
                    <a:pt x="4440" y="1429"/>
                    <a:pt x="4440" y="1429"/>
                  </a:cubicBezTo>
                  <a:cubicBezTo>
                    <a:pt x="4381" y="1444"/>
                    <a:pt x="4374" y="1444"/>
                    <a:pt x="4330" y="1480"/>
                  </a:cubicBezTo>
                  <a:cubicBezTo>
                    <a:pt x="4315" y="1495"/>
                    <a:pt x="4293" y="1510"/>
                    <a:pt x="4293" y="1517"/>
                  </a:cubicBezTo>
                  <a:cubicBezTo>
                    <a:pt x="4293" y="1524"/>
                    <a:pt x="4293" y="1524"/>
                    <a:pt x="4323" y="1546"/>
                  </a:cubicBezTo>
                  <a:cubicBezTo>
                    <a:pt x="4352" y="1561"/>
                    <a:pt x="4367" y="1583"/>
                    <a:pt x="4381" y="1605"/>
                  </a:cubicBezTo>
                  <a:cubicBezTo>
                    <a:pt x="4396" y="1620"/>
                    <a:pt x="4396" y="1627"/>
                    <a:pt x="4411" y="1627"/>
                  </a:cubicBezTo>
                  <a:cubicBezTo>
                    <a:pt x="4418" y="1627"/>
                    <a:pt x="4418" y="1627"/>
                    <a:pt x="4425" y="1627"/>
                  </a:cubicBezTo>
                  <a:cubicBezTo>
                    <a:pt x="4484" y="1612"/>
                    <a:pt x="4513" y="1590"/>
                    <a:pt x="4535" y="1568"/>
                  </a:cubicBezTo>
                  <a:cubicBezTo>
                    <a:pt x="4557" y="1532"/>
                    <a:pt x="4594" y="1532"/>
                    <a:pt x="4623" y="1532"/>
                  </a:cubicBezTo>
                  <a:cubicBezTo>
                    <a:pt x="4638" y="1532"/>
                    <a:pt x="4660" y="1532"/>
                    <a:pt x="4682" y="1532"/>
                  </a:cubicBezTo>
                  <a:cubicBezTo>
                    <a:pt x="4711" y="1539"/>
                    <a:pt x="4733" y="1539"/>
                    <a:pt x="4755" y="1539"/>
                  </a:cubicBezTo>
                  <a:cubicBezTo>
                    <a:pt x="4792" y="1539"/>
                    <a:pt x="4821" y="1532"/>
                    <a:pt x="4843" y="1517"/>
                  </a:cubicBezTo>
                  <a:cubicBezTo>
                    <a:pt x="4872" y="1502"/>
                    <a:pt x="4879" y="1495"/>
                    <a:pt x="4894" y="1473"/>
                  </a:cubicBezTo>
                  <a:cubicBezTo>
                    <a:pt x="4902" y="1458"/>
                    <a:pt x="4909" y="1444"/>
                    <a:pt x="4924" y="1422"/>
                  </a:cubicBezTo>
                  <a:cubicBezTo>
                    <a:pt x="4938" y="1407"/>
                    <a:pt x="4945" y="1400"/>
                    <a:pt x="4953" y="1385"/>
                  </a:cubicBezTo>
                  <a:cubicBezTo>
                    <a:pt x="4975" y="1356"/>
                    <a:pt x="4989" y="1326"/>
                    <a:pt x="5033" y="1326"/>
                  </a:cubicBezTo>
                  <a:cubicBezTo>
                    <a:pt x="5041" y="1326"/>
                    <a:pt x="5048" y="1326"/>
                    <a:pt x="5048" y="1326"/>
                  </a:cubicBezTo>
                  <a:cubicBezTo>
                    <a:pt x="5063" y="1334"/>
                    <a:pt x="5070" y="1334"/>
                    <a:pt x="5077" y="1334"/>
                  </a:cubicBezTo>
                  <a:cubicBezTo>
                    <a:pt x="5092" y="1334"/>
                    <a:pt x="5099" y="1326"/>
                    <a:pt x="5114" y="1326"/>
                  </a:cubicBezTo>
                  <a:cubicBezTo>
                    <a:pt x="5121" y="1326"/>
                    <a:pt x="5136" y="1326"/>
                    <a:pt x="5143" y="1326"/>
                  </a:cubicBezTo>
                  <a:cubicBezTo>
                    <a:pt x="5165" y="1326"/>
                    <a:pt x="5187" y="1334"/>
                    <a:pt x="5202" y="1356"/>
                  </a:cubicBezTo>
                  <a:cubicBezTo>
                    <a:pt x="5224" y="1378"/>
                    <a:pt x="5260" y="1400"/>
                    <a:pt x="5283" y="1400"/>
                  </a:cubicBezTo>
                  <a:cubicBezTo>
                    <a:pt x="5290" y="1400"/>
                    <a:pt x="5297" y="1400"/>
                    <a:pt x="5297" y="1392"/>
                  </a:cubicBezTo>
                  <a:cubicBezTo>
                    <a:pt x="5312" y="1341"/>
                    <a:pt x="5334" y="1297"/>
                    <a:pt x="5400" y="1268"/>
                  </a:cubicBezTo>
                  <a:cubicBezTo>
                    <a:pt x="5414" y="1261"/>
                    <a:pt x="5414" y="1261"/>
                    <a:pt x="5414" y="1261"/>
                  </a:cubicBezTo>
                  <a:cubicBezTo>
                    <a:pt x="5458" y="1246"/>
                    <a:pt x="5539" y="1216"/>
                    <a:pt x="5524" y="1187"/>
                  </a:cubicBezTo>
                  <a:cubicBezTo>
                    <a:pt x="5517" y="1165"/>
                    <a:pt x="5502" y="1158"/>
                    <a:pt x="5480" y="1151"/>
                  </a:cubicBezTo>
                  <a:cubicBezTo>
                    <a:pt x="5466" y="1143"/>
                    <a:pt x="5451" y="1136"/>
                    <a:pt x="5436" y="1129"/>
                  </a:cubicBezTo>
                  <a:cubicBezTo>
                    <a:pt x="5414" y="1106"/>
                    <a:pt x="5407" y="1099"/>
                    <a:pt x="5422" y="1070"/>
                  </a:cubicBezTo>
                  <a:cubicBezTo>
                    <a:pt x="5422" y="1063"/>
                    <a:pt x="5429" y="1048"/>
                    <a:pt x="5436" y="1026"/>
                  </a:cubicBezTo>
                  <a:cubicBezTo>
                    <a:pt x="5458" y="931"/>
                    <a:pt x="5480" y="747"/>
                    <a:pt x="5451" y="725"/>
                  </a:cubicBezTo>
                  <a:cubicBezTo>
                    <a:pt x="5414" y="689"/>
                    <a:pt x="5407" y="667"/>
                    <a:pt x="5400" y="608"/>
                  </a:cubicBezTo>
                  <a:cubicBezTo>
                    <a:pt x="5393" y="550"/>
                    <a:pt x="5334" y="513"/>
                    <a:pt x="5283" y="498"/>
                  </a:cubicBezTo>
                  <a:cubicBezTo>
                    <a:pt x="5217" y="484"/>
                    <a:pt x="5165" y="440"/>
                    <a:pt x="5143" y="396"/>
                  </a:cubicBezTo>
                  <a:cubicBezTo>
                    <a:pt x="5143" y="388"/>
                    <a:pt x="5136" y="381"/>
                    <a:pt x="5136" y="374"/>
                  </a:cubicBezTo>
                  <a:cubicBezTo>
                    <a:pt x="5121" y="337"/>
                    <a:pt x="5099" y="301"/>
                    <a:pt x="5114" y="279"/>
                  </a:cubicBezTo>
                  <a:cubicBezTo>
                    <a:pt x="5121" y="264"/>
                    <a:pt x="5136" y="256"/>
                    <a:pt x="5158" y="256"/>
                  </a:cubicBezTo>
                  <a:cubicBezTo>
                    <a:pt x="5195" y="256"/>
                    <a:pt x="5217" y="264"/>
                    <a:pt x="5231" y="271"/>
                  </a:cubicBezTo>
                  <a:cubicBezTo>
                    <a:pt x="5253" y="271"/>
                    <a:pt x="5268" y="279"/>
                    <a:pt x="5283" y="279"/>
                  </a:cubicBezTo>
                  <a:cubicBezTo>
                    <a:pt x="5290" y="279"/>
                    <a:pt x="5297" y="279"/>
                    <a:pt x="5312" y="279"/>
                  </a:cubicBezTo>
                  <a:cubicBezTo>
                    <a:pt x="5326" y="271"/>
                    <a:pt x="5334" y="271"/>
                    <a:pt x="5348" y="271"/>
                  </a:cubicBezTo>
                  <a:cubicBezTo>
                    <a:pt x="5385" y="271"/>
                    <a:pt x="5385" y="271"/>
                    <a:pt x="5385" y="271"/>
                  </a:cubicBezTo>
                  <a:cubicBezTo>
                    <a:pt x="5414" y="271"/>
                    <a:pt x="5429" y="271"/>
                    <a:pt x="5436" y="242"/>
                  </a:cubicBezTo>
                  <a:cubicBezTo>
                    <a:pt x="5436" y="220"/>
                    <a:pt x="5436" y="205"/>
                    <a:pt x="5429" y="191"/>
                  </a:cubicBezTo>
                  <a:cubicBezTo>
                    <a:pt x="5422" y="169"/>
                    <a:pt x="5407" y="139"/>
                    <a:pt x="5451" y="117"/>
                  </a:cubicBezTo>
                  <a:cubicBezTo>
                    <a:pt x="5466" y="103"/>
                    <a:pt x="5480" y="88"/>
                    <a:pt x="5488" y="73"/>
                  </a:cubicBezTo>
                  <a:cubicBezTo>
                    <a:pt x="5502" y="59"/>
                    <a:pt x="5517" y="37"/>
                    <a:pt x="5546" y="37"/>
                  </a:cubicBezTo>
                  <a:cubicBezTo>
                    <a:pt x="5576" y="37"/>
                    <a:pt x="5583" y="59"/>
                    <a:pt x="5590" y="66"/>
                  </a:cubicBezTo>
                  <a:cubicBezTo>
                    <a:pt x="5597" y="81"/>
                    <a:pt x="5597" y="81"/>
                    <a:pt x="5612" y="81"/>
                  </a:cubicBezTo>
                  <a:cubicBezTo>
                    <a:pt x="5619" y="81"/>
                    <a:pt x="5627" y="81"/>
                    <a:pt x="5634" y="81"/>
                  </a:cubicBezTo>
                  <a:cubicBezTo>
                    <a:pt x="5656" y="73"/>
                    <a:pt x="5656" y="73"/>
                    <a:pt x="5656" y="73"/>
                  </a:cubicBezTo>
                  <a:cubicBezTo>
                    <a:pt x="5715" y="59"/>
                    <a:pt x="5729" y="59"/>
                    <a:pt x="5774" y="29"/>
                  </a:cubicBezTo>
                  <a:cubicBezTo>
                    <a:pt x="5803" y="15"/>
                    <a:pt x="5825" y="0"/>
                    <a:pt x="5839" y="0"/>
                  </a:cubicBezTo>
                  <a:cubicBezTo>
                    <a:pt x="5861" y="0"/>
                    <a:pt x="5883" y="15"/>
                    <a:pt x="5905" y="29"/>
                  </a:cubicBezTo>
                  <a:cubicBezTo>
                    <a:pt x="5935" y="51"/>
                    <a:pt x="5935" y="81"/>
                    <a:pt x="5935" y="110"/>
                  </a:cubicBezTo>
                  <a:cubicBezTo>
                    <a:pt x="5942" y="132"/>
                    <a:pt x="5942" y="154"/>
                    <a:pt x="5957" y="169"/>
                  </a:cubicBezTo>
                  <a:cubicBezTo>
                    <a:pt x="5986" y="220"/>
                    <a:pt x="6001" y="308"/>
                    <a:pt x="5979" y="344"/>
                  </a:cubicBezTo>
                  <a:cubicBezTo>
                    <a:pt x="5971" y="366"/>
                    <a:pt x="5957" y="388"/>
                    <a:pt x="5964" y="411"/>
                  </a:cubicBezTo>
                  <a:cubicBezTo>
                    <a:pt x="5971" y="418"/>
                    <a:pt x="5986" y="432"/>
                    <a:pt x="6008" y="440"/>
                  </a:cubicBezTo>
                  <a:cubicBezTo>
                    <a:pt x="6030" y="447"/>
                    <a:pt x="6110" y="469"/>
                    <a:pt x="6184" y="469"/>
                  </a:cubicBezTo>
                  <a:cubicBezTo>
                    <a:pt x="6220" y="469"/>
                    <a:pt x="6250" y="462"/>
                    <a:pt x="6264" y="454"/>
                  </a:cubicBezTo>
                  <a:cubicBezTo>
                    <a:pt x="6294" y="440"/>
                    <a:pt x="6330" y="440"/>
                    <a:pt x="6367" y="432"/>
                  </a:cubicBezTo>
                  <a:cubicBezTo>
                    <a:pt x="6426" y="425"/>
                    <a:pt x="6455" y="418"/>
                    <a:pt x="6462" y="388"/>
                  </a:cubicBezTo>
                  <a:cubicBezTo>
                    <a:pt x="6469" y="344"/>
                    <a:pt x="6484" y="323"/>
                    <a:pt x="6506" y="301"/>
                  </a:cubicBezTo>
                  <a:cubicBezTo>
                    <a:pt x="6521" y="286"/>
                    <a:pt x="6536" y="271"/>
                    <a:pt x="6550" y="242"/>
                  </a:cubicBezTo>
                  <a:cubicBezTo>
                    <a:pt x="6572" y="176"/>
                    <a:pt x="6594" y="132"/>
                    <a:pt x="6653" y="125"/>
                  </a:cubicBezTo>
                  <a:cubicBezTo>
                    <a:pt x="6660" y="117"/>
                    <a:pt x="6675" y="117"/>
                    <a:pt x="6682" y="117"/>
                  </a:cubicBezTo>
                  <a:cubicBezTo>
                    <a:pt x="6704" y="110"/>
                    <a:pt x="6719" y="110"/>
                    <a:pt x="6741" y="110"/>
                  </a:cubicBezTo>
                  <a:cubicBezTo>
                    <a:pt x="6770" y="110"/>
                    <a:pt x="6792" y="117"/>
                    <a:pt x="6814" y="132"/>
                  </a:cubicBezTo>
                  <a:cubicBezTo>
                    <a:pt x="6836" y="154"/>
                    <a:pt x="6836" y="176"/>
                    <a:pt x="6836" y="191"/>
                  </a:cubicBezTo>
                  <a:cubicBezTo>
                    <a:pt x="6829" y="227"/>
                    <a:pt x="6792" y="256"/>
                    <a:pt x="6770" y="271"/>
                  </a:cubicBezTo>
                  <a:cubicBezTo>
                    <a:pt x="6763" y="279"/>
                    <a:pt x="6755" y="286"/>
                    <a:pt x="6755" y="301"/>
                  </a:cubicBezTo>
                  <a:cubicBezTo>
                    <a:pt x="6755" y="315"/>
                    <a:pt x="6763" y="337"/>
                    <a:pt x="6785" y="344"/>
                  </a:cubicBezTo>
                  <a:cubicBezTo>
                    <a:pt x="6807" y="359"/>
                    <a:pt x="6814" y="374"/>
                    <a:pt x="6821" y="396"/>
                  </a:cubicBezTo>
                  <a:cubicBezTo>
                    <a:pt x="6829" y="425"/>
                    <a:pt x="6814" y="447"/>
                    <a:pt x="6792" y="476"/>
                  </a:cubicBezTo>
                  <a:cubicBezTo>
                    <a:pt x="6785" y="491"/>
                    <a:pt x="6777" y="513"/>
                    <a:pt x="6763" y="535"/>
                  </a:cubicBezTo>
                  <a:cubicBezTo>
                    <a:pt x="6741" y="586"/>
                    <a:pt x="6719" y="645"/>
                    <a:pt x="6667" y="652"/>
                  </a:cubicBezTo>
                  <a:cubicBezTo>
                    <a:pt x="6601" y="660"/>
                    <a:pt x="6572" y="667"/>
                    <a:pt x="6550" y="718"/>
                  </a:cubicBezTo>
                  <a:cubicBezTo>
                    <a:pt x="6543" y="733"/>
                    <a:pt x="6536" y="747"/>
                    <a:pt x="6536" y="755"/>
                  </a:cubicBezTo>
                  <a:cubicBezTo>
                    <a:pt x="6514" y="799"/>
                    <a:pt x="6506" y="821"/>
                    <a:pt x="6521" y="843"/>
                  </a:cubicBezTo>
                  <a:cubicBezTo>
                    <a:pt x="6536" y="857"/>
                    <a:pt x="6543" y="865"/>
                    <a:pt x="6550" y="880"/>
                  </a:cubicBezTo>
                  <a:cubicBezTo>
                    <a:pt x="6565" y="909"/>
                    <a:pt x="6579" y="923"/>
                    <a:pt x="6609" y="938"/>
                  </a:cubicBezTo>
                  <a:cubicBezTo>
                    <a:pt x="6624" y="945"/>
                    <a:pt x="6631" y="945"/>
                    <a:pt x="6645" y="953"/>
                  </a:cubicBezTo>
                  <a:cubicBezTo>
                    <a:pt x="6689" y="967"/>
                    <a:pt x="6719" y="982"/>
                    <a:pt x="6719" y="1004"/>
                  </a:cubicBezTo>
                  <a:cubicBezTo>
                    <a:pt x="6726" y="1011"/>
                    <a:pt x="6719" y="1026"/>
                    <a:pt x="6704" y="1033"/>
                  </a:cubicBezTo>
                  <a:cubicBezTo>
                    <a:pt x="6697" y="1041"/>
                    <a:pt x="6682" y="1048"/>
                    <a:pt x="6675" y="1055"/>
                  </a:cubicBezTo>
                  <a:cubicBezTo>
                    <a:pt x="6645" y="1070"/>
                    <a:pt x="6638" y="1077"/>
                    <a:pt x="6645" y="1085"/>
                  </a:cubicBezTo>
                  <a:cubicBezTo>
                    <a:pt x="6653" y="1129"/>
                    <a:pt x="6638" y="1158"/>
                    <a:pt x="6601" y="1180"/>
                  </a:cubicBezTo>
                  <a:cubicBezTo>
                    <a:pt x="6579" y="1194"/>
                    <a:pt x="6579" y="1238"/>
                    <a:pt x="6587" y="1261"/>
                  </a:cubicBezTo>
                  <a:cubicBezTo>
                    <a:pt x="6587" y="1275"/>
                    <a:pt x="6601" y="1304"/>
                    <a:pt x="6689" y="1304"/>
                  </a:cubicBezTo>
                  <a:cubicBezTo>
                    <a:pt x="6755" y="1304"/>
                    <a:pt x="6755" y="1304"/>
                    <a:pt x="6755" y="1304"/>
                  </a:cubicBezTo>
                  <a:cubicBezTo>
                    <a:pt x="6807" y="1304"/>
                    <a:pt x="6850" y="1304"/>
                    <a:pt x="6865" y="1348"/>
                  </a:cubicBezTo>
                  <a:cubicBezTo>
                    <a:pt x="6873" y="1378"/>
                    <a:pt x="6873" y="1400"/>
                    <a:pt x="6865" y="1414"/>
                  </a:cubicBezTo>
                  <a:cubicBezTo>
                    <a:pt x="6865" y="1429"/>
                    <a:pt x="6865" y="1444"/>
                    <a:pt x="6865" y="1451"/>
                  </a:cubicBezTo>
                  <a:cubicBezTo>
                    <a:pt x="6873" y="1473"/>
                    <a:pt x="6902" y="1495"/>
                    <a:pt x="6924" y="1510"/>
                  </a:cubicBezTo>
                  <a:cubicBezTo>
                    <a:pt x="6931" y="1517"/>
                    <a:pt x="6931" y="1517"/>
                    <a:pt x="6931" y="1517"/>
                  </a:cubicBezTo>
                  <a:cubicBezTo>
                    <a:pt x="6931" y="1524"/>
                    <a:pt x="6931" y="1524"/>
                    <a:pt x="6931" y="1524"/>
                  </a:cubicBezTo>
                  <a:cubicBezTo>
                    <a:pt x="6931" y="1524"/>
                    <a:pt x="6946" y="1612"/>
                    <a:pt x="6953" y="1663"/>
                  </a:cubicBezTo>
                  <a:cubicBezTo>
                    <a:pt x="6960" y="1707"/>
                    <a:pt x="6968" y="1781"/>
                    <a:pt x="6938" y="1825"/>
                  </a:cubicBezTo>
                  <a:cubicBezTo>
                    <a:pt x="6931" y="1839"/>
                    <a:pt x="6931" y="1861"/>
                    <a:pt x="6938" y="1876"/>
                  </a:cubicBezTo>
                  <a:cubicBezTo>
                    <a:pt x="6946" y="1876"/>
                    <a:pt x="6953" y="1891"/>
                    <a:pt x="6968" y="1891"/>
                  </a:cubicBezTo>
                  <a:cubicBezTo>
                    <a:pt x="6983" y="1891"/>
                    <a:pt x="6990" y="1883"/>
                    <a:pt x="7004" y="1876"/>
                  </a:cubicBezTo>
                  <a:cubicBezTo>
                    <a:pt x="7026" y="1861"/>
                    <a:pt x="7048" y="1854"/>
                    <a:pt x="7063" y="1854"/>
                  </a:cubicBezTo>
                  <a:cubicBezTo>
                    <a:pt x="7114" y="1854"/>
                    <a:pt x="7144" y="1898"/>
                    <a:pt x="7144" y="1949"/>
                  </a:cubicBezTo>
                  <a:cubicBezTo>
                    <a:pt x="7144" y="1993"/>
                    <a:pt x="7166" y="2044"/>
                    <a:pt x="7202" y="2044"/>
                  </a:cubicBezTo>
                  <a:cubicBezTo>
                    <a:pt x="7246" y="2044"/>
                    <a:pt x="7276" y="2096"/>
                    <a:pt x="7276" y="2184"/>
                  </a:cubicBezTo>
                  <a:cubicBezTo>
                    <a:pt x="7276" y="2213"/>
                    <a:pt x="7283" y="2220"/>
                    <a:pt x="7290" y="2220"/>
                  </a:cubicBezTo>
                  <a:cubicBezTo>
                    <a:pt x="7298" y="2228"/>
                    <a:pt x="7319" y="2235"/>
                    <a:pt x="7341" y="2235"/>
                  </a:cubicBezTo>
                  <a:cubicBezTo>
                    <a:pt x="7364" y="2235"/>
                    <a:pt x="7378" y="2235"/>
                    <a:pt x="7400" y="2228"/>
                  </a:cubicBezTo>
                  <a:cubicBezTo>
                    <a:pt x="7407" y="2228"/>
                    <a:pt x="7415" y="2228"/>
                    <a:pt x="7415" y="2228"/>
                  </a:cubicBezTo>
                  <a:cubicBezTo>
                    <a:pt x="7451" y="2228"/>
                    <a:pt x="7466" y="2242"/>
                    <a:pt x="7474" y="2257"/>
                  </a:cubicBezTo>
                  <a:cubicBezTo>
                    <a:pt x="7488" y="2294"/>
                    <a:pt x="7474" y="2338"/>
                    <a:pt x="7451" y="2374"/>
                  </a:cubicBezTo>
                  <a:cubicBezTo>
                    <a:pt x="7437" y="2389"/>
                    <a:pt x="7437" y="2389"/>
                    <a:pt x="7444" y="2396"/>
                  </a:cubicBezTo>
                  <a:cubicBezTo>
                    <a:pt x="7459" y="2411"/>
                    <a:pt x="7466" y="2418"/>
                    <a:pt x="7466" y="2447"/>
                  </a:cubicBezTo>
                  <a:cubicBezTo>
                    <a:pt x="7466" y="2506"/>
                    <a:pt x="7422" y="2550"/>
                    <a:pt x="7386" y="2580"/>
                  </a:cubicBezTo>
                  <a:cubicBezTo>
                    <a:pt x="7364" y="2601"/>
                    <a:pt x="7356" y="2623"/>
                    <a:pt x="7371" y="2682"/>
                  </a:cubicBezTo>
                  <a:cubicBezTo>
                    <a:pt x="7371" y="2704"/>
                    <a:pt x="7378" y="2719"/>
                    <a:pt x="7386" y="2741"/>
                  </a:cubicBezTo>
                  <a:cubicBezTo>
                    <a:pt x="7400" y="2770"/>
                    <a:pt x="7415" y="2806"/>
                    <a:pt x="7378" y="2843"/>
                  </a:cubicBezTo>
                  <a:cubicBezTo>
                    <a:pt x="7371" y="2851"/>
                    <a:pt x="7371" y="2851"/>
                    <a:pt x="7364" y="2858"/>
                  </a:cubicBezTo>
                  <a:cubicBezTo>
                    <a:pt x="7341" y="2880"/>
                    <a:pt x="7319" y="2902"/>
                    <a:pt x="7319" y="2916"/>
                  </a:cubicBezTo>
                  <a:cubicBezTo>
                    <a:pt x="7319" y="2924"/>
                    <a:pt x="7327" y="2931"/>
                    <a:pt x="7334" y="2939"/>
                  </a:cubicBezTo>
                  <a:cubicBezTo>
                    <a:pt x="7364" y="2961"/>
                    <a:pt x="7393" y="2968"/>
                    <a:pt x="7415" y="2968"/>
                  </a:cubicBezTo>
                  <a:cubicBezTo>
                    <a:pt x="7422" y="2968"/>
                    <a:pt x="7429" y="2968"/>
                    <a:pt x="7429" y="2968"/>
                  </a:cubicBezTo>
                  <a:cubicBezTo>
                    <a:pt x="7444" y="2961"/>
                    <a:pt x="7451" y="2961"/>
                    <a:pt x="7451" y="2961"/>
                  </a:cubicBezTo>
                  <a:cubicBezTo>
                    <a:pt x="7481" y="2953"/>
                    <a:pt x="7481" y="2953"/>
                    <a:pt x="7481" y="2953"/>
                  </a:cubicBezTo>
                  <a:cubicBezTo>
                    <a:pt x="7466" y="2982"/>
                    <a:pt x="7466" y="2982"/>
                    <a:pt x="7466" y="2982"/>
                  </a:cubicBezTo>
                  <a:cubicBezTo>
                    <a:pt x="7466" y="2990"/>
                    <a:pt x="7429" y="3048"/>
                    <a:pt x="7364" y="3048"/>
                  </a:cubicBezTo>
                  <a:cubicBezTo>
                    <a:pt x="7312" y="3048"/>
                    <a:pt x="7268" y="3063"/>
                    <a:pt x="7268" y="3092"/>
                  </a:cubicBezTo>
                  <a:cubicBezTo>
                    <a:pt x="7268" y="3107"/>
                    <a:pt x="7268" y="3107"/>
                    <a:pt x="7283" y="3114"/>
                  </a:cubicBezTo>
                  <a:cubicBezTo>
                    <a:pt x="7298" y="3122"/>
                    <a:pt x="7327" y="3136"/>
                    <a:pt x="7305" y="3180"/>
                  </a:cubicBezTo>
                  <a:cubicBezTo>
                    <a:pt x="7283" y="3224"/>
                    <a:pt x="7239" y="3320"/>
                    <a:pt x="7195" y="3363"/>
                  </a:cubicBezTo>
                  <a:cubicBezTo>
                    <a:pt x="7085" y="3466"/>
                    <a:pt x="7019" y="3532"/>
                    <a:pt x="6990" y="3561"/>
                  </a:cubicBezTo>
                  <a:cubicBezTo>
                    <a:pt x="6975" y="3569"/>
                    <a:pt x="6968" y="3576"/>
                    <a:pt x="6953" y="3591"/>
                  </a:cubicBezTo>
                  <a:cubicBezTo>
                    <a:pt x="6931" y="3620"/>
                    <a:pt x="6902" y="3656"/>
                    <a:pt x="6843" y="3656"/>
                  </a:cubicBezTo>
                  <a:cubicBezTo>
                    <a:pt x="6843" y="3656"/>
                    <a:pt x="6836" y="3656"/>
                    <a:pt x="6829" y="3656"/>
                  </a:cubicBezTo>
                  <a:cubicBezTo>
                    <a:pt x="6785" y="3649"/>
                    <a:pt x="6755" y="3627"/>
                    <a:pt x="6733" y="3598"/>
                  </a:cubicBezTo>
                  <a:cubicBezTo>
                    <a:pt x="6719" y="3569"/>
                    <a:pt x="6719" y="3539"/>
                    <a:pt x="6733" y="3517"/>
                  </a:cubicBezTo>
                  <a:cubicBezTo>
                    <a:pt x="6741" y="3503"/>
                    <a:pt x="6748" y="3488"/>
                    <a:pt x="6741" y="3481"/>
                  </a:cubicBezTo>
                  <a:cubicBezTo>
                    <a:pt x="6741" y="3473"/>
                    <a:pt x="6719" y="3466"/>
                    <a:pt x="6689" y="3459"/>
                  </a:cubicBezTo>
                  <a:cubicBezTo>
                    <a:pt x="6675" y="3451"/>
                    <a:pt x="6653" y="3437"/>
                    <a:pt x="6638" y="3422"/>
                  </a:cubicBezTo>
                  <a:cubicBezTo>
                    <a:pt x="6616" y="3407"/>
                    <a:pt x="6601" y="3393"/>
                    <a:pt x="6579" y="3393"/>
                  </a:cubicBezTo>
                  <a:cubicBezTo>
                    <a:pt x="6572" y="3393"/>
                    <a:pt x="6565" y="3393"/>
                    <a:pt x="6557" y="3400"/>
                  </a:cubicBezTo>
                  <a:cubicBezTo>
                    <a:pt x="6543" y="3407"/>
                    <a:pt x="6521" y="3415"/>
                    <a:pt x="6499" y="3422"/>
                  </a:cubicBezTo>
                  <a:cubicBezTo>
                    <a:pt x="6448" y="3444"/>
                    <a:pt x="6389" y="3459"/>
                    <a:pt x="6352" y="3488"/>
                  </a:cubicBezTo>
                  <a:cubicBezTo>
                    <a:pt x="6330" y="3503"/>
                    <a:pt x="6316" y="3517"/>
                    <a:pt x="6316" y="3525"/>
                  </a:cubicBezTo>
                  <a:cubicBezTo>
                    <a:pt x="6316" y="3539"/>
                    <a:pt x="6330" y="3554"/>
                    <a:pt x="6352" y="3576"/>
                  </a:cubicBezTo>
                  <a:cubicBezTo>
                    <a:pt x="6374" y="3605"/>
                    <a:pt x="6396" y="3620"/>
                    <a:pt x="6411" y="3635"/>
                  </a:cubicBezTo>
                  <a:cubicBezTo>
                    <a:pt x="6433" y="3649"/>
                    <a:pt x="6455" y="3664"/>
                    <a:pt x="6462" y="3686"/>
                  </a:cubicBezTo>
                  <a:cubicBezTo>
                    <a:pt x="6477" y="3708"/>
                    <a:pt x="6492" y="3737"/>
                    <a:pt x="6477" y="3766"/>
                  </a:cubicBezTo>
                  <a:cubicBezTo>
                    <a:pt x="6462" y="3789"/>
                    <a:pt x="6448" y="3803"/>
                    <a:pt x="6411" y="3811"/>
                  </a:cubicBezTo>
                  <a:cubicBezTo>
                    <a:pt x="6396" y="3811"/>
                    <a:pt x="6374" y="3818"/>
                    <a:pt x="6352" y="3825"/>
                  </a:cubicBezTo>
                  <a:cubicBezTo>
                    <a:pt x="6316" y="3832"/>
                    <a:pt x="6272" y="3847"/>
                    <a:pt x="6235" y="3847"/>
                  </a:cubicBezTo>
                  <a:cubicBezTo>
                    <a:pt x="6213" y="3847"/>
                    <a:pt x="6191" y="3840"/>
                    <a:pt x="6176" y="3832"/>
                  </a:cubicBezTo>
                  <a:cubicBezTo>
                    <a:pt x="6155" y="3818"/>
                    <a:pt x="6140" y="3811"/>
                    <a:pt x="6118" y="3811"/>
                  </a:cubicBezTo>
                  <a:cubicBezTo>
                    <a:pt x="6103" y="3811"/>
                    <a:pt x="6081" y="3818"/>
                    <a:pt x="6059" y="3840"/>
                  </a:cubicBezTo>
                  <a:cubicBezTo>
                    <a:pt x="6030" y="3869"/>
                    <a:pt x="6001" y="3869"/>
                    <a:pt x="5971" y="3869"/>
                  </a:cubicBezTo>
                  <a:cubicBezTo>
                    <a:pt x="5964" y="3869"/>
                    <a:pt x="5949" y="3869"/>
                    <a:pt x="5942" y="3869"/>
                  </a:cubicBezTo>
                  <a:cubicBezTo>
                    <a:pt x="5927" y="3869"/>
                    <a:pt x="5920" y="3869"/>
                    <a:pt x="5905" y="3869"/>
                  </a:cubicBezTo>
                  <a:cubicBezTo>
                    <a:pt x="5891" y="3869"/>
                    <a:pt x="5883" y="3869"/>
                    <a:pt x="5876" y="3884"/>
                  </a:cubicBezTo>
                  <a:cubicBezTo>
                    <a:pt x="5869" y="3898"/>
                    <a:pt x="5854" y="3913"/>
                    <a:pt x="5825" y="3942"/>
                  </a:cubicBezTo>
                  <a:cubicBezTo>
                    <a:pt x="5810" y="3950"/>
                    <a:pt x="5795" y="3964"/>
                    <a:pt x="5781" y="3972"/>
                  </a:cubicBezTo>
                  <a:cubicBezTo>
                    <a:pt x="5751" y="3994"/>
                    <a:pt x="5737" y="4001"/>
                    <a:pt x="5707" y="4052"/>
                  </a:cubicBezTo>
                  <a:cubicBezTo>
                    <a:pt x="5693" y="4074"/>
                    <a:pt x="5686" y="4096"/>
                    <a:pt x="5671" y="4111"/>
                  </a:cubicBezTo>
                  <a:cubicBezTo>
                    <a:pt x="5649" y="4148"/>
                    <a:pt x="5642" y="4162"/>
                    <a:pt x="5656" y="4184"/>
                  </a:cubicBezTo>
                  <a:cubicBezTo>
                    <a:pt x="5671" y="4206"/>
                    <a:pt x="5678" y="4221"/>
                    <a:pt x="5686" y="4235"/>
                  </a:cubicBezTo>
                  <a:cubicBezTo>
                    <a:pt x="5686" y="4250"/>
                    <a:pt x="5693" y="4257"/>
                    <a:pt x="5700" y="4265"/>
                  </a:cubicBezTo>
                  <a:cubicBezTo>
                    <a:pt x="5715" y="4272"/>
                    <a:pt x="5722" y="4272"/>
                    <a:pt x="5729" y="4272"/>
                  </a:cubicBezTo>
                  <a:cubicBezTo>
                    <a:pt x="5744" y="4272"/>
                    <a:pt x="5766" y="4265"/>
                    <a:pt x="5795" y="4243"/>
                  </a:cubicBezTo>
                  <a:cubicBezTo>
                    <a:pt x="5839" y="4199"/>
                    <a:pt x="5883" y="4184"/>
                    <a:pt x="5942" y="4177"/>
                  </a:cubicBezTo>
                  <a:cubicBezTo>
                    <a:pt x="5949" y="4177"/>
                    <a:pt x="5957" y="4177"/>
                    <a:pt x="5957" y="4177"/>
                  </a:cubicBezTo>
                  <a:cubicBezTo>
                    <a:pt x="6001" y="4177"/>
                    <a:pt x="6001" y="4206"/>
                    <a:pt x="6008" y="4228"/>
                  </a:cubicBezTo>
                  <a:cubicBezTo>
                    <a:pt x="6008" y="4243"/>
                    <a:pt x="6008" y="4257"/>
                    <a:pt x="6015" y="4272"/>
                  </a:cubicBezTo>
                  <a:cubicBezTo>
                    <a:pt x="6030" y="4338"/>
                    <a:pt x="6037" y="4367"/>
                    <a:pt x="6059" y="4397"/>
                  </a:cubicBezTo>
                  <a:cubicBezTo>
                    <a:pt x="6074" y="4441"/>
                    <a:pt x="6074" y="4448"/>
                    <a:pt x="6045" y="4506"/>
                  </a:cubicBezTo>
                  <a:cubicBezTo>
                    <a:pt x="6030" y="4535"/>
                    <a:pt x="6015" y="4550"/>
                    <a:pt x="6001" y="4564"/>
                  </a:cubicBezTo>
                  <a:cubicBezTo>
                    <a:pt x="5986" y="4572"/>
                    <a:pt x="5971" y="4586"/>
                    <a:pt x="5964" y="4601"/>
                  </a:cubicBezTo>
                  <a:cubicBezTo>
                    <a:pt x="5957" y="4608"/>
                    <a:pt x="5949" y="4615"/>
                    <a:pt x="5942" y="4623"/>
                  </a:cubicBezTo>
                  <a:cubicBezTo>
                    <a:pt x="5920" y="4652"/>
                    <a:pt x="5913" y="4660"/>
                    <a:pt x="5935" y="4681"/>
                  </a:cubicBezTo>
                  <a:cubicBezTo>
                    <a:pt x="5964" y="4711"/>
                    <a:pt x="5971" y="4718"/>
                    <a:pt x="5964" y="4733"/>
                  </a:cubicBezTo>
                  <a:cubicBezTo>
                    <a:pt x="5964" y="4740"/>
                    <a:pt x="5949" y="4747"/>
                    <a:pt x="5935" y="4747"/>
                  </a:cubicBezTo>
                  <a:cubicBezTo>
                    <a:pt x="5927" y="4747"/>
                    <a:pt x="5927" y="4747"/>
                    <a:pt x="5920" y="4747"/>
                  </a:cubicBezTo>
                  <a:cubicBezTo>
                    <a:pt x="5883" y="4755"/>
                    <a:pt x="5861" y="4784"/>
                    <a:pt x="5847" y="4813"/>
                  </a:cubicBezTo>
                  <a:cubicBezTo>
                    <a:pt x="5839" y="4821"/>
                    <a:pt x="5832" y="4828"/>
                    <a:pt x="5825" y="4828"/>
                  </a:cubicBezTo>
                  <a:cubicBezTo>
                    <a:pt x="5817" y="4828"/>
                    <a:pt x="5817" y="4828"/>
                    <a:pt x="5817" y="4828"/>
                  </a:cubicBezTo>
                  <a:cubicBezTo>
                    <a:pt x="5810" y="4813"/>
                    <a:pt x="5810" y="4813"/>
                    <a:pt x="5810" y="4813"/>
                  </a:cubicBezTo>
                  <a:cubicBezTo>
                    <a:pt x="5810" y="4806"/>
                    <a:pt x="5810" y="4806"/>
                    <a:pt x="5810" y="4806"/>
                  </a:cubicBezTo>
                  <a:cubicBezTo>
                    <a:pt x="5817" y="4791"/>
                    <a:pt x="5817" y="4791"/>
                    <a:pt x="5810" y="4791"/>
                  </a:cubicBezTo>
                  <a:cubicBezTo>
                    <a:pt x="5810" y="4784"/>
                    <a:pt x="5810" y="4784"/>
                    <a:pt x="5795" y="4784"/>
                  </a:cubicBezTo>
                  <a:cubicBezTo>
                    <a:pt x="5774" y="4784"/>
                    <a:pt x="5751" y="4777"/>
                    <a:pt x="5729" y="4777"/>
                  </a:cubicBezTo>
                  <a:cubicBezTo>
                    <a:pt x="5707" y="4769"/>
                    <a:pt x="5678" y="4762"/>
                    <a:pt x="5656" y="4762"/>
                  </a:cubicBezTo>
                  <a:cubicBezTo>
                    <a:pt x="5634" y="4762"/>
                    <a:pt x="5619" y="4769"/>
                    <a:pt x="5605" y="4784"/>
                  </a:cubicBezTo>
                  <a:cubicBezTo>
                    <a:pt x="5583" y="4799"/>
                    <a:pt x="5561" y="4806"/>
                    <a:pt x="5546" y="4813"/>
                  </a:cubicBezTo>
                  <a:cubicBezTo>
                    <a:pt x="5524" y="4828"/>
                    <a:pt x="5524" y="4828"/>
                    <a:pt x="5532" y="4865"/>
                  </a:cubicBezTo>
                  <a:cubicBezTo>
                    <a:pt x="5546" y="4945"/>
                    <a:pt x="5568" y="4974"/>
                    <a:pt x="5583" y="4997"/>
                  </a:cubicBezTo>
                  <a:cubicBezTo>
                    <a:pt x="5590" y="5004"/>
                    <a:pt x="5597" y="5004"/>
                    <a:pt x="5597" y="5011"/>
                  </a:cubicBezTo>
                  <a:cubicBezTo>
                    <a:pt x="5605" y="5011"/>
                    <a:pt x="5612" y="5019"/>
                    <a:pt x="5612" y="5026"/>
                  </a:cubicBezTo>
                  <a:cubicBezTo>
                    <a:pt x="5612" y="5033"/>
                    <a:pt x="5605" y="5041"/>
                    <a:pt x="5590" y="5055"/>
                  </a:cubicBezTo>
                  <a:cubicBezTo>
                    <a:pt x="5576" y="5070"/>
                    <a:pt x="5576" y="5070"/>
                    <a:pt x="5576" y="5070"/>
                  </a:cubicBezTo>
                  <a:cubicBezTo>
                    <a:pt x="5561" y="5084"/>
                    <a:pt x="5546" y="5092"/>
                    <a:pt x="5539" y="5106"/>
                  </a:cubicBezTo>
                  <a:cubicBezTo>
                    <a:pt x="5517" y="5114"/>
                    <a:pt x="5510" y="5129"/>
                    <a:pt x="5488" y="5158"/>
                  </a:cubicBezTo>
                  <a:cubicBezTo>
                    <a:pt x="5473" y="5187"/>
                    <a:pt x="5458" y="5202"/>
                    <a:pt x="5444" y="5209"/>
                  </a:cubicBezTo>
                  <a:cubicBezTo>
                    <a:pt x="5429" y="5224"/>
                    <a:pt x="5422" y="5238"/>
                    <a:pt x="5422" y="5268"/>
                  </a:cubicBezTo>
                  <a:cubicBezTo>
                    <a:pt x="5422" y="5297"/>
                    <a:pt x="5422" y="5304"/>
                    <a:pt x="5429" y="5319"/>
                  </a:cubicBezTo>
                  <a:cubicBezTo>
                    <a:pt x="5436" y="5341"/>
                    <a:pt x="5429" y="5356"/>
                    <a:pt x="5400" y="5378"/>
                  </a:cubicBezTo>
                  <a:cubicBezTo>
                    <a:pt x="5385" y="5385"/>
                    <a:pt x="5378" y="5385"/>
                    <a:pt x="5370" y="5392"/>
                  </a:cubicBezTo>
                  <a:cubicBezTo>
                    <a:pt x="5348" y="5407"/>
                    <a:pt x="5341" y="5414"/>
                    <a:pt x="5319" y="5458"/>
                  </a:cubicBezTo>
                  <a:cubicBezTo>
                    <a:pt x="5312" y="5473"/>
                    <a:pt x="5305" y="5480"/>
                    <a:pt x="5297" y="5495"/>
                  </a:cubicBezTo>
                  <a:cubicBezTo>
                    <a:pt x="5290" y="5524"/>
                    <a:pt x="5275" y="5539"/>
                    <a:pt x="5202" y="5561"/>
                  </a:cubicBezTo>
                  <a:cubicBezTo>
                    <a:pt x="5180" y="5568"/>
                    <a:pt x="5158" y="5568"/>
                    <a:pt x="5143" y="5568"/>
                  </a:cubicBezTo>
                  <a:cubicBezTo>
                    <a:pt x="5085" y="5568"/>
                    <a:pt x="5070" y="5539"/>
                    <a:pt x="5055" y="5510"/>
                  </a:cubicBezTo>
                  <a:cubicBezTo>
                    <a:pt x="5048" y="5495"/>
                    <a:pt x="5033" y="5473"/>
                    <a:pt x="5026" y="5473"/>
                  </a:cubicBezTo>
                  <a:cubicBezTo>
                    <a:pt x="5026" y="5473"/>
                    <a:pt x="5019" y="5480"/>
                    <a:pt x="5011" y="5495"/>
                  </a:cubicBezTo>
                  <a:cubicBezTo>
                    <a:pt x="5004" y="5510"/>
                    <a:pt x="5004" y="5524"/>
                    <a:pt x="4997" y="5531"/>
                  </a:cubicBezTo>
                  <a:cubicBezTo>
                    <a:pt x="4989" y="5568"/>
                    <a:pt x="4975" y="5597"/>
                    <a:pt x="4916" y="5627"/>
                  </a:cubicBezTo>
                  <a:cubicBezTo>
                    <a:pt x="4902" y="5634"/>
                    <a:pt x="4902" y="5634"/>
                    <a:pt x="4902" y="5634"/>
                  </a:cubicBezTo>
                  <a:cubicBezTo>
                    <a:pt x="4850" y="5663"/>
                    <a:pt x="4828" y="5671"/>
                    <a:pt x="4806" y="5715"/>
                  </a:cubicBezTo>
                  <a:cubicBezTo>
                    <a:pt x="4792" y="5737"/>
                    <a:pt x="4769" y="5751"/>
                    <a:pt x="4755" y="5759"/>
                  </a:cubicBezTo>
                  <a:cubicBezTo>
                    <a:pt x="4740" y="5766"/>
                    <a:pt x="4726" y="5773"/>
                    <a:pt x="4733" y="5795"/>
                  </a:cubicBezTo>
                  <a:cubicBezTo>
                    <a:pt x="4733" y="5817"/>
                    <a:pt x="4740" y="5824"/>
                    <a:pt x="4748" y="5832"/>
                  </a:cubicBezTo>
                  <a:cubicBezTo>
                    <a:pt x="4762" y="5839"/>
                    <a:pt x="4769" y="5854"/>
                    <a:pt x="4777" y="5898"/>
                  </a:cubicBezTo>
                  <a:cubicBezTo>
                    <a:pt x="4777" y="5920"/>
                    <a:pt x="4777" y="5934"/>
                    <a:pt x="4784" y="5942"/>
                  </a:cubicBezTo>
                  <a:cubicBezTo>
                    <a:pt x="4792" y="5993"/>
                    <a:pt x="4799" y="6022"/>
                    <a:pt x="4755" y="6081"/>
                  </a:cubicBezTo>
                  <a:cubicBezTo>
                    <a:pt x="4740" y="6103"/>
                    <a:pt x="4718" y="6132"/>
                    <a:pt x="4704" y="6154"/>
                  </a:cubicBezTo>
                  <a:cubicBezTo>
                    <a:pt x="4674" y="6198"/>
                    <a:pt x="4674" y="6198"/>
                    <a:pt x="4674" y="6198"/>
                  </a:cubicBezTo>
                  <a:cubicBezTo>
                    <a:pt x="4674" y="6103"/>
                    <a:pt x="4674" y="6103"/>
                    <a:pt x="4674" y="6103"/>
                  </a:cubicBezTo>
                  <a:cubicBezTo>
                    <a:pt x="4674" y="6096"/>
                    <a:pt x="4674" y="6096"/>
                    <a:pt x="4667" y="6096"/>
                  </a:cubicBezTo>
                  <a:cubicBezTo>
                    <a:pt x="4660" y="6096"/>
                    <a:pt x="4652" y="6096"/>
                    <a:pt x="4638" y="6096"/>
                  </a:cubicBezTo>
                  <a:cubicBezTo>
                    <a:pt x="4630" y="6096"/>
                    <a:pt x="4623" y="6103"/>
                    <a:pt x="4616" y="6103"/>
                  </a:cubicBezTo>
                  <a:cubicBezTo>
                    <a:pt x="4608" y="6103"/>
                    <a:pt x="4594" y="6103"/>
                    <a:pt x="4586" y="6103"/>
                  </a:cubicBezTo>
                  <a:cubicBezTo>
                    <a:pt x="4564" y="6103"/>
                    <a:pt x="4550" y="6103"/>
                    <a:pt x="4543" y="6088"/>
                  </a:cubicBezTo>
                  <a:cubicBezTo>
                    <a:pt x="4528" y="6074"/>
                    <a:pt x="4528" y="6059"/>
                    <a:pt x="4535" y="6044"/>
                  </a:cubicBezTo>
                  <a:cubicBezTo>
                    <a:pt x="4535" y="6022"/>
                    <a:pt x="4520" y="6015"/>
                    <a:pt x="4498" y="5993"/>
                  </a:cubicBezTo>
                  <a:cubicBezTo>
                    <a:pt x="4491" y="5986"/>
                    <a:pt x="4476" y="5971"/>
                    <a:pt x="4469" y="5964"/>
                  </a:cubicBezTo>
                  <a:cubicBezTo>
                    <a:pt x="4455" y="5942"/>
                    <a:pt x="4433" y="5927"/>
                    <a:pt x="4411" y="5905"/>
                  </a:cubicBezTo>
                  <a:cubicBezTo>
                    <a:pt x="4396" y="5898"/>
                    <a:pt x="4381" y="5891"/>
                    <a:pt x="4374" y="5876"/>
                  </a:cubicBezTo>
                  <a:cubicBezTo>
                    <a:pt x="4345" y="5847"/>
                    <a:pt x="4345" y="5773"/>
                    <a:pt x="4352" y="5744"/>
                  </a:cubicBezTo>
                  <a:cubicBezTo>
                    <a:pt x="4352" y="5737"/>
                    <a:pt x="4359" y="5729"/>
                    <a:pt x="4359" y="5722"/>
                  </a:cubicBezTo>
                  <a:cubicBezTo>
                    <a:pt x="4367" y="5700"/>
                    <a:pt x="4381" y="5663"/>
                    <a:pt x="4381" y="5641"/>
                  </a:cubicBezTo>
                  <a:cubicBezTo>
                    <a:pt x="4374" y="5619"/>
                    <a:pt x="4345" y="5612"/>
                    <a:pt x="4323" y="5612"/>
                  </a:cubicBezTo>
                  <a:cubicBezTo>
                    <a:pt x="4323" y="5612"/>
                    <a:pt x="4315" y="5612"/>
                    <a:pt x="4308" y="5612"/>
                  </a:cubicBezTo>
                  <a:cubicBezTo>
                    <a:pt x="4271" y="5612"/>
                    <a:pt x="4249" y="5597"/>
                    <a:pt x="4235" y="5575"/>
                  </a:cubicBezTo>
                  <a:cubicBezTo>
                    <a:pt x="4220" y="5546"/>
                    <a:pt x="4198" y="5524"/>
                    <a:pt x="4169" y="5510"/>
                  </a:cubicBezTo>
                  <a:cubicBezTo>
                    <a:pt x="4161" y="5502"/>
                    <a:pt x="4161" y="5502"/>
                    <a:pt x="4161" y="5502"/>
                  </a:cubicBezTo>
                  <a:cubicBezTo>
                    <a:pt x="4132" y="5488"/>
                    <a:pt x="4095" y="5473"/>
                    <a:pt x="4088" y="5443"/>
                  </a:cubicBezTo>
                  <a:cubicBezTo>
                    <a:pt x="4081" y="5429"/>
                    <a:pt x="4081" y="5414"/>
                    <a:pt x="4088" y="5400"/>
                  </a:cubicBezTo>
                  <a:cubicBezTo>
                    <a:pt x="4117" y="5363"/>
                    <a:pt x="4117" y="5319"/>
                    <a:pt x="4095" y="5290"/>
                  </a:cubicBezTo>
                  <a:cubicBezTo>
                    <a:pt x="4088" y="5282"/>
                    <a:pt x="4081" y="5275"/>
                    <a:pt x="4066" y="5275"/>
                  </a:cubicBezTo>
                  <a:cubicBezTo>
                    <a:pt x="4044" y="5275"/>
                    <a:pt x="4007" y="5297"/>
                    <a:pt x="3986" y="5319"/>
                  </a:cubicBezTo>
                  <a:cubicBezTo>
                    <a:pt x="3949" y="5341"/>
                    <a:pt x="3949" y="5378"/>
                    <a:pt x="3949" y="5407"/>
                  </a:cubicBezTo>
                  <a:cubicBezTo>
                    <a:pt x="3949" y="5422"/>
                    <a:pt x="3949" y="5436"/>
                    <a:pt x="3949" y="5451"/>
                  </a:cubicBezTo>
                  <a:cubicBezTo>
                    <a:pt x="3949" y="5465"/>
                    <a:pt x="3949" y="5473"/>
                    <a:pt x="3942" y="5488"/>
                  </a:cubicBezTo>
                  <a:cubicBezTo>
                    <a:pt x="3942" y="5524"/>
                    <a:pt x="3934" y="5568"/>
                    <a:pt x="3912" y="5590"/>
                  </a:cubicBezTo>
                  <a:cubicBezTo>
                    <a:pt x="3898" y="5597"/>
                    <a:pt x="3890" y="5612"/>
                    <a:pt x="3876" y="5619"/>
                  </a:cubicBezTo>
                  <a:cubicBezTo>
                    <a:pt x="3854" y="5634"/>
                    <a:pt x="3832" y="5649"/>
                    <a:pt x="3810" y="5671"/>
                  </a:cubicBezTo>
                  <a:cubicBezTo>
                    <a:pt x="3788" y="5700"/>
                    <a:pt x="3780" y="5722"/>
                    <a:pt x="3773" y="5759"/>
                  </a:cubicBezTo>
                  <a:cubicBezTo>
                    <a:pt x="3766" y="5766"/>
                    <a:pt x="3766" y="5781"/>
                    <a:pt x="3766" y="5795"/>
                  </a:cubicBezTo>
                  <a:cubicBezTo>
                    <a:pt x="3758" y="5810"/>
                    <a:pt x="3758" y="5817"/>
                    <a:pt x="3758" y="5824"/>
                  </a:cubicBezTo>
                  <a:cubicBezTo>
                    <a:pt x="3751" y="5839"/>
                    <a:pt x="3744" y="5847"/>
                    <a:pt x="3729" y="5847"/>
                  </a:cubicBezTo>
                  <a:cubicBezTo>
                    <a:pt x="3722" y="5847"/>
                    <a:pt x="3707" y="5854"/>
                    <a:pt x="3693" y="5854"/>
                  </a:cubicBezTo>
                  <a:cubicBezTo>
                    <a:pt x="3670" y="5861"/>
                    <a:pt x="3648" y="5861"/>
                    <a:pt x="3634" y="5869"/>
                  </a:cubicBezTo>
                  <a:cubicBezTo>
                    <a:pt x="3597" y="5869"/>
                    <a:pt x="3597" y="5869"/>
                    <a:pt x="3590" y="5883"/>
                  </a:cubicBezTo>
                  <a:cubicBezTo>
                    <a:pt x="3583" y="5920"/>
                    <a:pt x="3561" y="5949"/>
                    <a:pt x="3531" y="5949"/>
                  </a:cubicBezTo>
                  <a:cubicBezTo>
                    <a:pt x="3531" y="5949"/>
                    <a:pt x="3509" y="5949"/>
                    <a:pt x="3502" y="5920"/>
                  </a:cubicBezTo>
                  <a:cubicBezTo>
                    <a:pt x="3502" y="5912"/>
                    <a:pt x="3502" y="5912"/>
                    <a:pt x="3502" y="5912"/>
                  </a:cubicBezTo>
                  <a:cubicBezTo>
                    <a:pt x="3495" y="5912"/>
                    <a:pt x="3465" y="5934"/>
                    <a:pt x="3443" y="5949"/>
                  </a:cubicBezTo>
                  <a:cubicBezTo>
                    <a:pt x="3436" y="5956"/>
                    <a:pt x="3429" y="5964"/>
                    <a:pt x="3414" y="5971"/>
                  </a:cubicBezTo>
                  <a:cubicBezTo>
                    <a:pt x="3370" y="6008"/>
                    <a:pt x="3319" y="6015"/>
                    <a:pt x="3282" y="6022"/>
                  </a:cubicBezTo>
                  <a:cubicBezTo>
                    <a:pt x="3275" y="6022"/>
                    <a:pt x="3267" y="6022"/>
                    <a:pt x="3260" y="6022"/>
                  </a:cubicBezTo>
                  <a:cubicBezTo>
                    <a:pt x="3224" y="6037"/>
                    <a:pt x="3165" y="6066"/>
                    <a:pt x="3128" y="6118"/>
                  </a:cubicBezTo>
                  <a:cubicBezTo>
                    <a:pt x="3121" y="6140"/>
                    <a:pt x="3114" y="6154"/>
                    <a:pt x="3106" y="6169"/>
                  </a:cubicBezTo>
                  <a:cubicBezTo>
                    <a:pt x="3092" y="6191"/>
                    <a:pt x="3084" y="6198"/>
                    <a:pt x="3070" y="6228"/>
                  </a:cubicBezTo>
                  <a:cubicBezTo>
                    <a:pt x="3055" y="6250"/>
                    <a:pt x="3011" y="6272"/>
                    <a:pt x="2974" y="6286"/>
                  </a:cubicBezTo>
                  <a:cubicBezTo>
                    <a:pt x="2952" y="6293"/>
                    <a:pt x="2938" y="6308"/>
                    <a:pt x="2923" y="6315"/>
                  </a:cubicBezTo>
                  <a:cubicBezTo>
                    <a:pt x="2916" y="6315"/>
                    <a:pt x="2901" y="6323"/>
                    <a:pt x="2894" y="6323"/>
                  </a:cubicBezTo>
                  <a:cubicBezTo>
                    <a:pt x="2864" y="6323"/>
                    <a:pt x="2843" y="6308"/>
                    <a:pt x="2813" y="6293"/>
                  </a:cubicBezTo>
                  <a:cubicBezTo>
                    <a:pt x="2798" y="6286"/>
                    <a:pt x="2776" y="6272"/>
                    <a:pt x="2762" y="6272"/>
                  </a:cubicBezTo>
                  <a:cubicBezTo>
                    <a:pt x="2733" y="6272"/>
                    <a:pt x="2703" y="6301"/>
                    <a:pt x="2667" y="6330"/>
                  </a:cubicBezTo>
                  <a:cubicBezTo>
                    <a:pt x="2659" y="6345"/>
                    <a:pt x="2645" y="6352"/>
                    <a:pt x="2637" y="6360"/>
                  </a:cubicBezTo>
                  <a:cubicBezTo>
                    <a:pt x="2593" y="6396"/>
                    <a:pt x="2557" y="6418"/>
                    <a:pt x="2505" y="6418"/>
                  </a:cubicBezTo>
                  <a:cubicBezTo>
                    <a:pt x="2491" y="6418"/>
                    <a:pt x="2476" y="6411"/>
                    <a:pt x="2454" y="6403"/>
                  </a:cubicBezTo>
                  <a:cubicBezTo>
                    <a:pt x="2439" y="6403"/>
                    <a:pt x="2432" y="6396"/>
                    <a:pt x="2417" y="6396"/>
                  </a:cubicBezTo>
                  <a:cubicBezTo>
                    <a:pt x="2403" y="6396"/>
                    <a:pt x="2395" y="6403"/>
                    <a:pt x="2388" y="6411"/>
                  </a:cubicBezTo>
                  <a:cubicBezTo>
                    <a:pt x="2381" y="6425"/>
                    <a:pt x="2366" y="6440"/>
                    <a:pt x="2359" y="6455"/>
                  </a:cubicBezTo>
                  <a:cubicBezTo>
                    <a:pt x="2344" y="6477"/>
                    <a:pt x="2337" y="6491"/>
                    <a:pt x="2315" y="6499"/>
                  </a:cubicBezTo>
                  <a:cubicBezTo>
                    <a:pt x="2307" y="6506"/>
                    <a:pt x="2293" y="6506"/>
                    <a:pt x="2271" y="6506"/>
                  </a:cubicBezTo>
                  <a:cubicBezTo>
                    <a:pt x="2249" y="6506"/>
                    <a:pt x="2198" y="6513"/>
                    <a:pt x="2198" y="6528"/>
                  </a:cubicBezTo>
                  <a:cubicBezTo>
                    <a:pt x="2198" y="6528"/>
                    <a:pt x="2198" y="6535"/>
                    <a:pt x="2198" y="6543"/>
                  </a:cubicBezTo>
                  <a:cubicBezTo>
                    <a:pt x="2190" y="6565"/>
                    <a:pt x="2183" y="6594"/>
                    <a:pt x="2132" y="6601"/>
                  </a:cubicBezTo>
                  <a:cubicBezTo>
                    <a:pt x="2124" y="6609"/>
                    <a:pt x="2117" y="6609"/>
                    <a:pt x="2110" y="6623"/>
                  </a:cubicBezTo>
                  <a:cubicBezTo>
                    <a:pt x="2102" y="6638"/>
                    <a:pt x="2102" y="6667"/>
                    <a:pt x="2110" y="6682"/>
                  </a:cubicBezTo>
                  <a:cubicBezTo>
                    <a:pt x="2132" y="6719"/>
                    <a:pt x="2110" y="6770"/>
                    <a:pt x="2058" y="6836"/>
                  </a:cubicBezTo>
                  <a:cubicBezTo>
                    <a:pt x="2044" y="6850"/>
                    <a:pt x="2029" y="6865"/>
                    <a:pt x="2007" y="6865"/>
                  </a:cubicBezTo>
                  <a:cubicBezTo>
                    <a:pt x="1971" y="6865"/>
                    <a:pt x="1926" y="6821"/>
                    <a:pt x="1912" y="6806"/>
                  </a:cubicBezTo>
                  <a:cubicBezTo>
                    <a:pt x="1905" y="6799"/>
                    <a:pt x="1897" y="6792"/>
                    <a:pt x="1897" y="6784"/>
                  </a:cubicBezTo>
                  <a:cubicBezTo>
                    <a:pt x="1883" y="6770"/>
                    <a:pt x="1861" y="6748"/>
                    <a:pt x="1846" y="6748"/>
                  </a:cubicBezTo>
                  <a:cubicBezTo>
                    <a:pt x="1839" y="6748"/>
                    <a:pt x="1839" y="6755"/>
                    <a:pt x="1831" y="6762"/>
                  </a:cubicBezTo>
                  <a:cubicBezTo>
                    <a:pt x="1795" y="6792"/>
                    <a:pt x="1795" y="6806"/>
                    <a:pt x="1802" y="6843"/>
                  </a:cubicBezTo>
                  <a:cubicBezTo>
                    <a:pt x="1802" y="6850"/>
                    <a:pt x="1802" y="6858"/>
                    <a:pt x="1802" y="6872"/>
                  </a:cubicBezTo>
                  <a:cubicBezTo>
                    <a:pt x="1802" y="6902"/>
                    <a:pt x="1809" y="6909"/>
                    <a:pt x="1824" y="6916"/>
                  </a:cubicBezTo>
                  <a:cubicBezTo>
                    <a:pt x="1839" y="6924"/>
                    <a:pt x="1853" y="6931"/>
                    <a:pt x="1861" y="6946"/>
                  </a:cubicBezTo>
                  <a:cubicBezTo>
                    <a:pt x="1890" y="6968"/>
                    <a:pt x="1868" y="7004"/>
                    <a:pt x="1861" y="7026"/>
                  </a:cubicBezTo>
                  <a:cubicBezTo>
                    <a:pt x="1846" y="7041"/>
                    <a:pt x="1839" y="7056"/>
                    <a:pt x="1839" y="7070"/>
                  </a:cubicBezTo>
                  <a:cubicBezTo>
                    <a:pt x="1853" y="7122"/>
                    <a:pt x="1839" y="7165"/>
                    <a:pt x="1795" y="7188"/>
                  </a:cubicBezTo>
                  <a:cubicBezTo>
                    <a:pt x="1765" y="7202"/>
                    <a:pt x="1729" y="7217"/>
                    <a:pt x="1699" y="7217"/>
                  </a:cubicBezTo>
                  <a:cubicBezTo>
                    <a:pt x="1677" y="7217"/>
                    <a:pt x="1655" y="7210"/>
                    <a:pt x="1648" y="7195"/>
                  </a:cubicBezTo>
                  <a:cubicBezTo>
                    <a:pt x="1641" y="7188"/>
                    <a:pt x="1633" y="7180"/>
                    <a:pt x="1626" y="7173"/>
                  </a:cubicBezTo>
                  <a:cubicBezTo>
                    <a:pt x="1619" y="7165"/>
                    <a:pt x="1619" y="7158"/>
                    <a:pt x="1612" y="7151"/>
                  </a:cubicBezTo>
                  <a:cubicBezTo>
                    <a:pt x="1604" y="7180"/>
                    <a:pt x="1590" y="7188"/>
                    <a:pt x="1567" y="7188"/>
                  </a:cubicBezTo>
                  <a:cubicBezTo>
                    <a:pt x="1545" y="7188"/>
                    <a:pt x="1516" y="7173"/>
                    <a:pt x="1502" y="7151"/>
                  </a:cubicBezTo>
                  <a:cubicBezTo>
                    <a:pt x="1472" y="7122"/>
                    <a:pt x="1443" y="7085"/>
                    <a:pt x="1406" y="7085"/>
                  </a:cubicBezTo>
                  <a:cubicBezTo>
                    <a:pt x="1399" y="7085"/>
                    <a:pt x="1392" y="7085"/>
                    <a:pt x="1392" y="7085"/>
                  </a:cubicBezTo>
                  <a:cubicBezTo>
                    <a:pt x="1333" y="7107"/>
                    <a:pt x="1311" y="7122"/>
                    <a:pt x="1245" y="7195"/>
                  </a:cubicBezTo>
                  <a:cubicBezTo>
                    <a:pt x="1223" y="7217"/>
                    <a:pt x="1208" y="7224"/>
                    <a:pt x="1186" y="722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6" name="Freeform 25"/>
            <p:cNvSpPr>
              <a:spLocks noChangeArrowheads="1"/>
            </p:cNvSpPr>
            <p:nvPr/>
          </p:nvSpPr>
          <p:spPr bwMode="auto">
            <a:xfrm>
              <a:off x="3366645" y="5788106"/>
              <a:ext cx="2900010" cy="2754098"/>
            </a:xfrm>
            <a:custGeom>
              <a:avLst/>
              <a:gdLst>
                <a:gd name="T0" fmla="*/ 6786 w 7549"/>
                <a:gd name="T1" fmla="*/ 271 h 7255"/>
                <a:gd name="T2" fmla="*/ 6873 w 7549"/>
                <a:gd name="T3" fmla="*/ 1473 h 7255"/>
                <a:gd name="T4" fmla="*/ 7474 w 7549"/>
                <a:gd name="T5" fmla="*/ 2462 h 7255"/>
                <a:gd name="T6" fmla="*/ 6998 w 7549"/>
                <a:gd name="T7" fmla="*/ 3562 h 7255"/>
                <a:gd name="T8" fmla="*/ 6075 w 7549"/>
                <a:gd name="T9" fmla="*/ 3840 h 7255"/>
                <a:gd name="T10" fmla="*/ 5972 w 7549"/>
                <a:gd name="T11" fmla="*/ 4608 h 7255"/>
                <a:gd name="T12" fmla="*/ 5328 w 7549"/>
                <a:gd name="T13" fmla="*/ 5466 h 7255"/>
                <a:gd name="T14" fmla="*/ 4639 w 7549"/>
                <a:gd name="T15" fmla="*/ 6103 h 7255"/>
                <a:gd name="T16" fmla="*/ 4001 w 7549"/>
                <a:gd name="T17" fmla="*/ 5319 h 7255"/>
                <a:gd name="T18" fmla="*/ 2939 w 7549"/>
                <a:gd name="T19" fmla="*/ 6316 h 7255"/>
                <a:gd name="T20" fmla="*/ 1869 w 7549"/>
                <a:gd name="T21" fmla="*/ 6748 h 7255"/>
                <a:gd name="T22" fmla="*/ 1254 w 7549"/>
                <a:gd name="T23" fmla="*/ 7203 h 7255"/>
                <a:gd name="T24" fmla="*/ 740 w 7549"/>
                <a:gd name="T25" fmla="*/ 6360 h 7255"/>
                <a:gd name="T26" fmla="*/ 323 w 7549"/>
                <a:gd name="T27" fmla="*/ 5480 h 7255"/>
                <a:gd name="T28" fmla="*/ 206 w 7549"/>
                <a:gd name="T29" fmla="*/ 4872 h 7255"/>
                <a:gd name="T30" fmla="*/ 777 w 7549"/>
                <a:gd name="T31" fmla="*/ 3818 h 7255"/>
                <a:gd name="T32" fmla="*/ 484 w 7549"/>
                <a:gd name="T33" fmla="*/ 2162 h 7255"/>
                <a:gd name="T34" fmla="*/ 1209 w 7549"/>
                <a:gd name="T35" fmla="*/ 2104 h 7255"/>
                <a:gd name="T36" fmla="*/ 1913 w 7549"/>
                <a:gd name="T37" fmla="*/ 1481 h 7255"/>
                <a:gd name="T38" fmla="*/ 3701 w 7549"/>
                <a:gd name="T39" fmla="*/ 447 h 7255"/>
                <a:gd name="T40" fmla="*/ 4441 w 7549"/>
                <a:gd name="T41" fmla="*/ 770 h 7255"/>
                <a:gd name="T42" fmla="*/ 4573 w 7549"/>
                <a:gd name="T43" fmla="*/ 1590 h 7255"/>
                <a:gd name="T44" fmla="*/ 5562 w 7549"/>
                <a:gd name="T45" fmla="*/ 1195 h 7255"/>
                <a:gd name="T46" fmla="*/ 5569 w 7549"/>
                <a:gd name="T47" fmla="*/ 66 h 7255"/>
                <a:gd name="T48" fmla="*/ 5569 w 7549"/>
                <a:gd name="T49" fmla="*/ 37 h 7255"/>
                <a:gd name="T50" fmla="*/ 5152 w 7549"/>
                <a:gd name="T51" fmla="*/ 418 h 7255"/>
                <a:gd name="T52" fmla="*/ 5166 w 7549"/>
                <a:gd name="T53" fmla="*/ 1327 h 7255"/>
                <a:gd name="T54" fmla="*/ 4434 w 7549"/>
                <a:gd name="T55" fmla="*/ 1627 h 7255"/>
                <a:gd name="T56" fmla="*/ 4346 w 7549"/>
                <a:gd name="T57" fmla="*/ 1114 h 7255"/>
                <a:gd name="T58" fmla="*/ 4236 w 7549"/>
                <a:gd name="T59" fmla="*/ 513 h 7255"/>
                <a:gd name="T60" fmla="*/ 3664 w 7549"/>
                <a:gd name="T61" fmla="*/ 381 h 7255"/>
                <a:gd name="T62" fmla="*/ 2616 w 7549"/>
                <a:gd name="T63" fmla="*/ 924 h 7255"/>
                <a:gd name="T64" fmla="*/ 1818 w 7549"/>
                <a:gd name="T65" fmla="*/ 1547 h 7255"/>
                <a:gd name="T66" fmla="*/ 1334 w 7549"/>
                <a:gd name="T67" fmla="*/ 2147 h 7255"/>
                <a:gd name="T68" fmla="*/ 631 w 7549"/>
                <a:gd name="T69" fmla="*/ 2067 h 7255"/>
                <a:gd name="T70" fmla="*/ 316 w 7549"/>
                <a:gd name="T71" fmla="*/ 2558 h 7255"/>
                <a:gd name="T72" fmla="*/ 755 w 7549"/>
                <a:gd name="T73" fmla="*/ 3730 h 7255"/>
                <a:gd name="T74" fmla="*/ 543 w 7549"/>
                <a:gd name="T75" fmla="*/ 4492 h 7255"/>
                <a:gd name="T76" fmla="*/ 103 w 7549"/>
                <a:gd name="T77" fmla="*/ 5114 h 7255"/>
                <a:gd name="T78" fmla="*/ 404 w 7549"/>
                <a:gd name="T79" fmla="*/ 5458 h 7255"/>
                <a:gd name="T80" fmla="*/ 374 w 7549"/>
                <a:gd name="T81" fmla="*/ 5957 h 7255"/>
                <a:gd name="T82" fmla="*/ 653 w 7549"/>
                <a:gd name="T83" fmla="*/ 6382 h 7255"/>
                <a:gd name="T84" fmla="*/ 1034 w 7549"/>
                <a:gd name="T85" fmla="*/ 7151 h 7255"/>
                <a:gd name="T86" fmla="*/ 1722 w 7549"/>
                <a:gd name="T87" fmla="*/ 7246 h 7255"/>
                <a:gd name="T88" fmla="*/ 2147 w 7549"/>
                <a:gd name="T89" fmla="*/ 6689 h 7255"/>
                <a:gd name="T90" fmla="*/ 2785 w 7549"/>
                <a:gd name="T91" fmla="*/ 6301 h 7255"/>
                <a:gd name="T92" fmla="*/ 3628 w 7549"/>
                <a:gd name="T93" fmla="*/ 5906 h 7255"/>
                <a:gd name="T94" fmla="*/ 4016 w 7549"/>
                <a:gd name="T95" fmla="*/ 5341 h 7255"/>
                <a:gd name="T96" fmla="*/ 4426 w 7549"/>
                <a:gd name="T97" fmla="*/ 5935 h 7255"/>
                <a:gd name="T98" fmla="*/ 4822 w 7549"/>
                <a:gd name="T99" fmla="*/ 5957 h 7255"/>
                <a:gd name="T100" fmla="*/ 5335 w 7549"/>
                <a:gd name="T101" fmla="*/ 5510 h 7255"/>
                <a:gd name="T102" fmla="*/ 5569 w 7549"/>
                <a:gd name="T103" fmla="*/ 4880 h 7255"/>
                <a:gd name="T104" fmla="*/ 5877 w 7549"/>
                <a:gd name="T105" fmla="*/ 4836 h 7255"/>
                <a:gd name="T106" fmla="*/ 5958 w 7549"/>
                <a:gd name="T107" fmla="*/ 4177 h 7255"/>
                <a:gd name="T108" fmla="*/ 5965 w 7549"/>
                <a:gd name="T109" fmla="*/ 3899 h 7255"/>
                <a:gd name="T110" fmla="*/ 6383 w 7549"/>
                <a:gd name="T111" fmla="*/ 3518 h 7255"/>
                <a:gd name="T112" fmla="*/ 7342 w 7549"/>
                <a:gd name="T113" fmla="*/ 3203 h 7255"/>
                <a:gd name="T114" fmla="*/ 7394 w 7549"/>
                <a:gd name="T115" fmla="*/ 2888 h 7255"/>
                <a:gd name="T116" fmla="*/ 7181 w 7549"/>
                <a:gd name="T117" fmla="*/ 1964 h 7255"/>
                <a:gd name="T118" fmla="*/ 6749 w 7549"/>
                <a:gd name="T119" fmla="*/ 1305 h 7255"/>
                <a:gd name="T120" fmla="*/ 6690 w 7549"/>
                <a:gd name="T121" fmla="*/ 682 h 7255"/>
                <a:gd name="T122" fmla="*/ 6471 w 7549"/>
                <a:gd name="T123" fmla="*/ 403 h 7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549" h="7255">
                  <a:moveTo>
                    <a:pt x="5862" y="30"/>
                  </a:moveTo>
                  <a:lnTo>
                    <a:pt x="5862" y="30"/>
                  </a:lnTo>
                  <a:cubicBezTo>
                    <a:pt x="5884" y="30"/>
                    <a:pt x="5899" y="44"/>
                    <a:pt x="5921" y="59"/>
                  </a:cubicBezTo>
                  <a:cubicBezTo>
                    <a:pt x="5965" y="96"/>
                    <a:pt x="5928" y="147"/>
                    <a:pt x="5965" y="191"/>
                  </a:cubicBezTo>
                  <a:cubicBezTo>
                    <a:pt x="5994" y="242"/>
                    <a:pt x="6009" y="323"/>
                    <a:pt x="5987" y="359"/>
                  </a:cubicBezTo>
                  <a:cubicBezTo>
                    <a:pt x="5972" y="389"/>
                    <a:pt x="5950" y="440"/>
                    <a:pt x="6024" y="469"/>
                  </a:cubicBezTo>
                  <a:cubicBezTo>
                    <a:pt x="6075" y="484"/>
                    <a:pt x="6148" y="499"/>
                    <a:pt x="6207" y="499"/>
                  </a:cubicBezTo>
                  <a:cubicBezTo>
                    <a:pt x="6243" y="499"/>
                    <a:pt x="6273" y="499"/>
                    <a:pt x="6295" y="484"/>
                  </a:cubicBezTo>
                  <a:cubicBezTo>
                    <a:pt x="6361" y="447"/>
                    <a:pt x="6492" y="477"/>
                    <a:pt x="6500" y="403"/>
                  </a:cubicBezTo>
                  <a:cubicBezTo>
                    <a:pt x="6507" y="338"/>
                    <a:pt x="6559" y="330"/>
                    <a:pt x="6588" y="264"/>
                  </a:cubicBezTo>
                  <a:cubicBezTo>
                    <a:pt x="6610" y="191"/>
                    <a:pt x="6624" y="162"/>
                    <a:pt x="6676" y="154"/>
                  </a:cubicBezTo>
                  <a:cubicBezTo>
                    <a:pt x="6705" y="147"/>
                    <a:pt x="6734" y="140"/>
                    <a:pt x="6764" y="140"/>
                  </a:cubicBezTo>
                  <a:cubicBezTo>
                    <a:pt x="6786" y="140"/>
                    <a:pt x="6808" y="140"/>
                    <a:pt x="6822" y="162"/>
                  </a:cubicBezTo>
                  <a:cubicBezTo>
                    <a:pt x="6866" y="206"/>
                    <a:pt x="6830" y="242"/>
                    <a:pt x="6786" y="271"/>
                  </a:cubicBezTo>
                  <a:cubicBezTo>
                    <a:pt x="6749" y="294"/>
                    <a:pt x="6756" y="345"/>
                    <a:pt x="6800" y="374"/>
                  </a:cubicBezTo>
                  <a:cubicBezTo>
                    <a:pt x="6837" y="396"/>
                    <a:pt x="6837" y="440"/>
                    <a:pt x="6808" y="484"/>
                  </a:cubicBezTo>
                  <a:cubicBezTo>
                    <a:pt x="6771" y="528"/>
                    <a:pt x="6756" y="645"/>
                    <a:pt x="6690" y="653"/>
                  </a:cubicBezTo>
                  <a:cubicBezTo>
                    <a:pt x="6617" y="660"/>
                    <a:pt x="6588" y="667"/>
                    <a:pt x="6559" y="733"/>
                  </a:cubicBezTo>
                  <a:cubicBezTo>
                    <a:pt x="6537" y="792"/>
                    <a:pt x="6500" y="836"/>
                    <a:pt x="6537" y="865"/>
                  </a:cubicBezTo>
                  <a:cubicBezTo>
                    <a:pt x="6566" y="902"/>
                    <a:pt x="6566" y="946"/>
                    <a:pt x="6624" y="968"/>
                  </a:cubicBezTo>
                  <a:cubicBezTo>
                    <a:pt x="6690" y="997"/>
                    <a:pt x="6756" y="1012"/>
                    <a:pt x="6720" y="1034"/>
                  </a:cubicBezTo>
                  <a:cubicBezTo>
                    <a:pt x="6690" y="1063"/>
                    <a:pt x="6647" y="1070"/>
                    <a:pt x="6654" y="1107"/>
                  </a:cubicBezTo>
                  <a:cubicBezTo>
                    <a:pt x="6661" y="1136"/>
                    <a:pt x="6654" y="1166"/>
                    <a:pt x="6617" y="1180"/>
                  </a:cubicBezTo>
                  <a:cubicBezTo>
                    <a:pt x="6588" y="1195"/>
                    <a:pt x="6588" y="1261"/>
                    <a:pt x="6595" y="1283"/>
                  </a:cubicBezTo>
                  <a:cubicBezTo>
                    <a:pt x="6602" y="1305"/>
                    <a:pt x="6624" y="1334"/>
                    <a:pt x="6712" y="1334"/>
                  </a:cubicBezTo>
                  <a:cubicBezTo>
                    <a:pt x="6734" y="1334"/>
                    <a:pt x="6756" y="1334"/>
                    <a:pt x="6778" y="1334"/>
                  </a:cubicBezTo>
                  <a:cubicBezTo>
                    <a:pt x="6830" y="1334"/>
                    <a:pt x="6859" y="1334"/>
                    <a:pt x="6873" y="1371"/>
                  </a:cubicBezTo>
                  <a:cubicBezTo>
                    <a:pt x="6888" y="1407"/>
                    <a:pt x="6866" y="1437"/>
                    <a:pt x="6873" y="1473"/>
                  </a:cubicBezTo>
                  <a:cubicBezTo>
                    <a:pt x="6881" y="1503"/>
                    <a:pt x="6940" y="1539"/>
                    <a:pt x="6940" y="1539"/>
                  </a:cubicBezTo>
                  <a:cubicBezTo>
                    <a:pt x="6940" y="1539"/>
                    <a:pt x="6947" y="1635"/>
                    <a:pt x="6961" y="1686"/>
                  </a:cubicBezTo>
                  <a:cubicBezTo>
                    <a:pt x="6969" y="1730"/>
                    <a:pt x="6976" y="1796"/>
                    <a:pt x="6947" y="1832"/>
                  </a:cubicBezTo>
                  <a:cubicBezTo>
                    <a:pt x="6932" y="1869"/>
                    <a:pt x="6954" y="1920"/>
                    <a:pt x="6991" y="1920"/>
                  </a:cubicBezTo>
                  <a:cubicBezTo>
                    <a:pt x="7006" y="1920"/>
                    <a:pt x="7020" y="1913"/>
                    <a:pt x="7035" y="1906"/>
                  </a:cubicBezTo>
                  <a:cubicBezTo>
                    <a:pt x="7057" y="1891"/>
                    <a:pt x="7071" y="1884"/>
                    <a:pt x="7086" y="1884"/>
                  </a:cubicBezTo>
                  <a:cubicBezTo>
                    <a:pt x="7130" y="1884"/>
                    <a:pt x="7152" y="1920"/>
                    <a:pt x="7152" y="1964"/>
                  </a:cubicBezTo>
                  <a:cubicBezTo>
                    <a:pt x="7152" y="2023"/>
                    <a:pt x="7181" y="2074"/>
                    <a:pt x="7225" y="2074"/>
                  </a:cubicBezTo>
                  <a:cubicBezTo>
                    <a:pt x="7262" y="2074"/>
                    <a:pt x="7284" y="2133"/>
                    <a:pt x="7284" y="2199"/>
                  </a:cubicBezTo>
                  <a:cubicBezTo>
                    <a:pt x="7284" y="2250"/>
                    <a:pt x="7313" y="2265"/>
                    <a:pt x="7364" y="2265"/>
                  </a:cubicBezTo>
                  <a:cubicBezTo>
                    <a:pt x="7387" y="2265"/>
                    <a:pt x="7401" y="2265"/>
                    <a:pt x="7423" y="2257"/>
                  </a:cubicBezTo>
                  <a:cubicBezTo>
                    <a:pt x="7430" y="2257"/>
                    <a:pt x="7438" y="2257"/>
                    <a:pt x="7438" y="2257"/>
                  </a:cubicBezTo>
                  <a:cubicBezTo>
                    <a:pt x="7511" y="2257"/>
                    <a:pt x="7489" y="2331"/>
                    <a:pt x="7460" y="2382"/>
                  </a:cubicBezTo>
                  <a:cubicBezTo>
                    <a:pt x="7423" y="2433"/>
                    <a:pt x="7474" y="2411"/>
                    <a:pt x="7474" y="2462"/>
                  </a:cubicBezTo>
                  <a:cubicBezTo>
                    <a:pt x="7474" y="2514"/>
                    <a:pt x="7438" y="2558"/>
                    <a:pt x="7401" y="2580"/>
                  </a:cubicBezTo>
                  <a:cubicBezTo>
                    <a:pt x="7364" y="2609"/>
                    <a:pt x="7364" y="2646"/>
                    <a:pt x="7372" y="2704"/>
                  </a:cubicBezTo>
                  <a:cubicBezTo>
                    <a:pt x="7387" y="2763"/>
                    <a:pt x="7438" y="2807"/>
                    <a:pt x="7394" y="2844"/>
                  </a:cubicBezTo>
                  <a:cubicBezTo>
                    <a:pt x="7350" y="2888"/>
                    <a:pt x="7299" y="2924"/>
                    <a:pt x="7350" y="2968"/>
                  </a:cubicBezTo>
                  <a:cubicBezTo>
                    <a:pt x="7379" y="2990"/>
                    <a:pt x="7416" y="2997"/>
                    <a:pt x="7438" y="2997"/>
                  </a:cubicBezTo>
                  <a:cubicBezTo>
                    <a:pt x="7445" y="2997"/>
                    <a:pt x="7452" y="2997"/>
                    <a:pt x="7452" y="2997"/>
                  </a:cubicBezTo>
                  <a:cubicBezTo>
                    <a:pt x="7438" y="3005"/>
                    <a:pt x="7423" y="3019"/>
                    <a:pt x="7423" y="3019"/>
                  </a:cubicBezTo>
                  <a:cubicBezTo>
                    <a:pt x="7423" y="3019"/>
                    <a:pt x="7438" y="3005"/>
                    <a:pt x="7452" y="2997"/>
                  </a:cubicBezTo>
                  <a:cubicBezTo>
                    <a:pt x="7467" y="2990"/>
                    <a:pt x="7474" y="2990"/>
                    <a:pt x="7474" y="2990"/>
                  </a:cubicBezTo>
                  <a:cubicBezTo>
                    <a:pt x="7474" y="2990"/>
                    <a:pt x="7445" y="3049"/>
                    <a:pt x="7387" y="3049"/>
                  </a:cubicBezTo>
                  <a:cubicBezTo>
                    <a:pt x="7328" y="3049"/>
                    <a:pt x="7277" y="3071"/>
                    <a:pt x="7277" y="3107"/>
                  </a:cubicBezTo>
                  <a:cubicBezTo>
                    <a:pt x="7277" y="3151"/>
                    <a:pt x="7342" y="3137"/>
                    <a:pt x="7313" y="3188"/>
                  </a:cubicBezTo>
                  <a:cubicBezTo>
                    <a:pt x="7291" y="3239"/>
                    <a:pt x="7247" y="3320"/>
                    <a:pt x="7203" y="3364"/>
                  </a:cubicBezTo>
                  <a:cubicBezTo>
                    <a:pt x="7159" y="3408"/>
                    <a:pt x="7042" y="3525"/>
                    <a:pt x="6998" y="3562"/>
                  </a:cubicBezTo>
                  <a:cubicBezTo>
                    <a:pt x="6961" y="3591"/>
                    <a:pt x="6940" y="3657"/>
                    <a:pt x="6866" y="3657"/>
                  </a:cubicBezTo>
                  <a:lnTo>
                    <a:pt x="6859" y="3657"/>
                  </a:lnTo>
                  <a:cubicBezTo>
                    <a:pt x="6778" y="3650"/>
                    <a:pt x="6749" y="3584"/>
                    <a:pt x="6771" y="3532"/>
                  </a:cubicBezTo>
                  <a:cubicBezTo>
                    <a:pt x="6800" y="3488"/>
                    <a:pt x="6771" y="3474"/>
                    <a:pt x="6720" y="3459"/>
                  </a:cubicBezTo>
                  <a:cubicBezTo>
                    <a:pt x="6676" y="3445"/>
                    <a:pt x="6647" y="3393"/>
                    <a:pt x="6602" y="3393"/>
                  </a:cubicBezTo>
                  <a:cubicBezTo>
                    <a:pt x="6595" y="3393"/>
                    <a:pt x="6588" y="3393"/>
                    <a:pt x="6573" y="3400"/>
                  </a:cubicBezTo>
                  <a:cubicBezTo>
                    <a:pt x="6515" y="3422"/>
                    <a:pt x="6427" y="3452"/>
                    <a:pt x="6361" y="3496"/>
                  </a:cubicBezTo>
                  <a:cubicBezTo>
                    <a:pt x="6302" y="3532"/>
                    <a:pt x="6324" y="3554"/>
                    <a:pt x="6361" y="3606"/>
                  </a:cubicBezTo>
                  <a:cubicBezTo>
                    <a:pt x="6405" y="3657"/>
                    <a:pt x="6456" y="3671"/>
                    <a:pt x="6471" y="3708"/>
                  </a:cubicBezTo>
                  <a:cubicBezTo>
                    <a:pt x="6492" y="3737"/>
                    <a:pt x="6507" y="3789"/>
                    <a:pt x="6434" y="3811"/>
                  </a:cubicBezTo>
                  <a:cubicBezTo>
                    <a:pt x="6375" y="3818"/>
                    <a:pt x="6309" y="3847"/>
                    <a:pt x="6258" y="3847"/>
                  </a:cubicBezTo>
                  <a:cubicBezTo>
                    <a:pt x="6243" y="3847"/>
                    <a:pt x="6221" y="3840"/>
                    <a:pt x="6214" y="3833"/>
                  </a:cubicBezTo>
                  <a:cubicBezTo>
                    <a:pt x="6185" y="3818"/>
                    <a:pt x="6163" y="3811"/>
                    <a:pt x="6141" y="3811"/>
                  </a:cubicBezTo>
                  <a:cubicBezTo>
                    <a:pt x="6119" y="3811"/>
                    <a:pt x="6097" y="3818"/>
                    <a:pt x="6075" y="3840"/>
                  </a:cubicBezTo>
                  <a:cubicBezTo>
                    <a:pt x="6053" y="3862"/>
                    <a:pt x="6024" y="3869"/>
                    <a:pt x="5994" y="3869"/>
                  </a:cubicBezTo>
                  <a:cubicBezTo>
                    <a:pt x="5972" y="3869"/>
                    <a:pt x="5950" y="3869"/>
                    <a:pt x="5928" y="3869"/>
                  </a:cubicBezTo>
                  <a:cubicBezTo>
                    <a:pt x="5877" y="3869"/>
                    <a:pt x="5906" y="3891"/>
                    <a:pt x="5833" y="3943"/>
                  </a:cubicBezTo>
                  <a:cubicBezTo>
                    <a:pt x="5767" y="3994"/>
                    <a:pt x="5760" y="3987"/>
                    <a:pt x="5716" y="4060"/>
                  </a:cubicBezTo>
                  <a:cubicBezTo>
                    <a:pt x="5672" y="4140"/>
                    <a:pt x="5635" y="4163"/>
                    <a:pt x="5665" y="4206"/>
                  </a:cubicBezTo>
                  <a:cubicBezTo>
                    <a:pt x="5701" y="4250"/>
                    <a:pt x="5687" y="4265"/>
                    <a:pt x="5716" y="4295"/>
                  </a:cubicBezTo>
                  <a:cubicBezTo>
                    <a:pt x="5730" y="4302"/>
                    <a:pt x="5738" y="4302"/>
                    <a:pt x="5752" y="4302"/>
                  </a:cubicBezTo>
                  <a:cubicBezTo>
                    <a:pt x="5774" y="4302"/>
                    <a:pt x="5797" y="4287"/>
                    <a:pt x="5826" y="4265"/>
                  </a:cubicBezTo>
                  <a:cubicBezTo>
                    <a:pt x="5870" y="4236"/>
                    <a:pt x="5906" y="4214"/>
                    <a:pt x="5965" y="4206"/>
                  </a:cubicBezTo>
                  <a:cubicBezTo>
                    <a:pt x="5972" y="4206"/>
                    <a:pt x="5980" y="4206"/>
                    <a:pt x="5980" y="4206"/>
                  </a:cubicBezTo>
                  <a:cubicBezTo>
                    <a:pt x="6016" y="4206"/>
                    <a:pt x="6009" y="4236"/>
                    <a:pt x="6024" y="4295"/>
                  </a:cubicBezTo>
                  <a:cubicBezTo>
                    <a:pt x="6038" y="4360"/>
                    <a:pt x="6046" y="4390"/>
                    <a:pt x="6068" y="4419"/>
                  </a:cubicBezTo>
                  <a:cubicBezTo>
                    <a:pt x="6082" y="4456"/>
                    <a:pt x="6082" y="4463"/>
                    <a:pt x="6060" y="4514"/>
                  </a:cubicBezTo>
                  <a:cubicBezTo>
                    <a:pt x="6031" y="4565"/>
                    <a:pt x="6009" y="4565"/>
                    <a:pt x="5972" y="4608"/>
                  </a:cubicBezTo>
                  <a:cubicBezTo>
                    <a:pt x="5936" y="4645"/>
                    <a:pt x="5906" y="4667"/>
                    <a:pt x="5950" y="4711"/>
                  </a:cubicBezTo>
                  <a:cubicBezTo>
                    <a:pt x="5987" y="4748"/>
                    <a:pt x="5980" y="4740"/>
                    <a:pt x="5936" y="4748"/>
                  </a:cubicBezTo>
                  <a:cubicBezTo>
                    <a:pt x="5899" y="4762"/>
                    <a:pt x="5870" y="4792"/>
                    <a:pt x="5855" y="4821"/>
                  </a:cubicBezTo>
                  <a:cubicBezTo>
                    <a:pt x="5848" y="4821"/>
                    <a:pt x="5848" y="4828"/>
                    <a:pt x="5848" y="4828"/>
                  </a:cubicBezTo>
                  <a:cubicBezTo>
                    <a:pt x="5848" y="4828"/>
                    <a:pt x="5870" y="4784"/>
                    <a:pt x="5818" y="4784"/>
                  </a:cubicBezTo>
                  <a:cubicBezTo>
                    <a:pt x="5782" y="4784"/>
                    <a:pt x="5730" y="4762"/>
                    <a:pt x="5679" y="4762"/>
                  </a:cubicBezTo>
                  <a:cubicBezTo>
                    <a:pt x="5657" y="4762"/>
                    <a:pt x="5635" y="4770"/>
                    <a:pt x="5613" y="4784"/>
                  </a:cubicBezTo>
                  <a:cubicBezTo>
                    <a:pt x="5555" y="4836"/>
                    <a:pt x="5525" y="4806"/>
                    <a:pt x="5540" y="4887"/>
                  </a:cubicBezTo>
                  <a:cubicBezTo>
                    <a:pt x="5555" y="4960"/>
                    <a:pt x="5569" y="4997"/>
                    <a:pt x="5599" y="5026"/>
                  </a:cubicBezTo>
                  <a:cubicBezTo>
                    <a:pt x="5620" y="5048"/>
                    <a:pt x="5635" y="5034"/>
                    <a:pt x="5591" y="5070"/>
                  </a:cubicBezTo>
                  <a:cubicBezTo>
                    <a:pt x="5547" y="5114"/>
                    <a:pt x="5533" y="5107"/>
                    <a:pt x="5496" y="5165"/>
                  </a:cubicBezTo>
                  <a:cubicBezTo>
                    <a:pt x="5459" y="5224"/>
                    <a:pt x="5430" y="5217"/>
                    <a:pt x="5430" y="5283"/>
                  </a:cubicBezTo>
                  <a:cubicBezTo>
                    <a:pt x="5430" y="5356"/>
                    <a:pt x="5459" y="5349"/>
                    <a:pt x="5408" y="5378"/>
                  </a:cubicBezTo>
                  <a:cubicBezTo>
                    <a:pt x="5357" y="5415"/>
                    <a:pt x="5357" y="5407"/>
                    <a:pt x="5328" y="5466"/>
                  </a:cubicBezTo>
                  <a:cubicBezTo>
                    <a:pt x="5291" y="5525"/>
                    <a:pt x="5320" y="5532"/>
                    <a:pt x="5225" y="5561"/>
                  </a:cubicBezTo>
                  <a:cubicBezTo>
                    <a:pt x="5196" y="5568"/>
                    <a:pt x="5181" y="5568"/>
                    <a:pt x="5166" y="5568"/>
                  </a:cubicBezTo>
                  <a:cubicBezTo>
                    <a:pt x="5122" y="5568"/>
                    <a:pt x="5108" y="5546"/>
                    <a:pt x="5086" y="5517"/>
                  </a:cubicBezTo>
                  <a:cubicBezTo>
                    <a:pt x="5071" y="5488"/>
                    <a:pt x="5064" y="5473"/>
                    <a:pt x="5049" y="5473"/>
                  </a:cubicBezTo>
                  <a:cubicBezTo>
                    <a:pt x="5042" y="5473"/>
                    <a:pt x="5034" y="5480"/>
                    <a:pt x="5020" y="5510"/>
                  </a:cubicBezTo>
                  <a:cubicBezTo>
                    <a:pt x="4998" y="5568"/>
                    <a:pt x="5005" y="5590"/>
                    <a:pt x="4932" y="5627"/>
                  </a:cubicBezTo>
                  <a:cubicBezTo>
                    <a:pt x="4866" y="5664"/>
                    <a:pt x="4844" y="5671"/>
                    <a:pt x="4815" y="5722"/>
                  </a:cubicBezTo>
                  <a:cubicBezTo>
                    <a:pt x="4792" y="5774"/>
                    <a:pt x="4734" y="5752"/>
                    <a:pt x="4741" y="5810"/>
                  </a:cubicBezTo>
                  <a:cubicBezTo>
                    <a:pt x="4749" y="5876"/>
                    <a:pt x="4771" y="5839"/>
                    <a:pt x="4785" y="5913"/>
                  </a:cubicBezTo>
                  <a:cubicBezTo>
                    <a:pt x="4792" y="5994"/>
                    <a:pt x="4815" y="6015"/>
                    <a:pt x="4763" y="6089"/>
                  </a:cubicBezTo>
                  <a:cubicBezTo>
                    <a:pt x="4749" y="6111"/>
                    <a:pt x="4727" y="6140"/>
                    <a:pt x="4712" y="6162"/>
                  </a:cubicBezTo>
                  <a:cubicBezTo>
                    <a:pt x="4712" y="6147"/>
                    <a:pt x="4712" y="6133"/>
                    <a:pt x="4712" y="6118"/>
                  </a:cubicBezTo>
                  <a:cubicBezTo>
                    <a:pt x="4712" y="6096"/>
                    <a:pt x="4705" y="6089"/>
                    <a:pt x="4690" y="6089"/>
                  </a:cubicBezTo>
                  <a:cubicBezTo>
                    <a:pt x="4675" y="6089"/>
                    <a:pt x="4661" y="6096"/>
                    <a:pt x="4639" y="6103"/>
                  </a:cubicBezTo>
                  <a:cubicBezTo>
                    <a:pt x="4631" y="6103"/>
                    <a:pt x="4617" y="6103"/>
                    <a:pt x="4609" y="6103"/>
                  </a:cubicBezTo>
                  <a:cubicBezTo>
                    <a:pt x="4580" y="6103"/>
                    <a:pt x="4566" y="6096"/>
                    <a:pt x="4573" y="6059"/>
                  </a:cubicBezTo>
                  <a:cubicBezTo>
                    <a:pt x="4580" y="6015"/>
                    <a:pt x="4529" y="6001"/>
                    <a:pt x="4499" y="5964"/>
                  </a:cubicBezTo>
                  <a:cubicBezTo>
                    <a:pt x="4478" y="5935"/>
                    <a:pt x="4434" y="5906"/>
                    <a:pt x="4411" y="5884"/>
                  </a:cubicBezTo>
                  <a:cubicBezTo>
                    <a:pt x="4382" y="5854"/>
                    <a:pt x="4382" y="5788"/>
                    <a:pt x="4390" y="5759"/>
                  </a:cubicBezTo>
                  <a:cubicBezTo>
                    <a:pt x="4397" y="5737"/>
                    <a:pt x="4426" y="5686"/>
                    <a:pt x="4419" y="5649"/>
                  </a:cubicBezTo>
                  <a:cubicBezTo>
                    <a:pt x="4411" y="5620"/>
                    <a:pt x="4346" y="5612"/>
                    <a:pt x="4346" y="5612"/>
                  </a:cubicBezTo>
                  <a:cubicBezTo>
                    <a:pt x="4346" y="5612"/>
                    <a:pt x="4346" y="5612"/>
                    <a:pt x="4331" y="5612"/>
                  </a:cubicBezTo>
                  <a:cubicBezTo>
                    <a:pt x="4316" y="5612"/>
                    <a:pt x="4287" y="5605"/>
                    <a:pt x="4272" y="5583"/>
                  </a:cubicBezTo>
                  <a:cubicBezTo>
                    <a:pt x="4258" y="5546"/>
                    <a:pt x="4228" y="5525"/>
                    <a:pt x="4199" y="5510"/>
                  </a:cubicBezTo>
                  <a:cubicBezTo>
                    <a:pt x="4162" y="5488"/>
                    <a:pt x="4104" y="5466"/>
                    <a:pt x="4126" y="5422"/>
                  </a:cubicBezTo>
                  <a:cubicBezTo>
                    <a:pt x="4155" y="5378"/>
                    <a:pt x="4155" y="5327"/>
                    <a:pt x="4126" y="5297"/>
                  </a:cubicBezTo>
                  <a:cubicBezTo>
                    <a:pt x="4118" y="5283"/>
                    <a:pt x="4104" y="5275"/>
                    <a:pt x="4089" y="5275"/>
                  </a:cubicBezTo>
                  <a:cubicBezTo>
                    <a:pt x="4067" y="5275"/>
                    <a:pt x="4038" y="5290"/>
                    <a:pt x="4001" y="5319"/>
                  </a:cubicBezTo>
                  <a:cubicBezTo>
                    <a:pt x="3943" y="5363"/>
                    <a:pt x="3965" y="5422"/>
                    <a:pt x="3957" y="5466"/>
                  </a:cubicBezTo>
                  <a:cubicBezTo>
                    <a:pt x="3950" y="5510"/>
                    <a:pt x="3950" y="5568"/>
                    <a:pt x="3921" y="5590"/>
                  </a:cubicBezTo>
                  <a:cubicBezTo>
                    <a:pt x="3899" y="5620"/>
                    <a:pt x="3855" y="5634"/>
                    <a:pt x="3818" y="5678"/>
                  </a:cubicBezTo>
                  <a:cubicBezTo>
                    <a:pt x="3789" y="5722"/>
                    <a:pt x="3789" y="5744"/>
                    <a:pt x="3774" y="5803"/>
                  </a:cubicBezTo>
                  <a:cubicBezTo>
                    <a:pt x="3752" y="5862"/>
                    <a:pt x="3781" y="5839"/>
                    <a:pt x="3708" y="5854"/>
                  </a:cubicBezTo>
                  <a:cubicBezTo>
                    <a:pt x="3642" y="5876"/>
                    <a:pt x="3606" y="5854"/>
                    <a:pt x="3598" y="5898"/>
                  </a:cubicBezTo>
                  <a:cubicBezTo>
                    <a:pt x="3598" y="5927"/>
                    <a:pt x="3576" y="5949"/>
                    <a:pt x="3554" y="5949"/>
                  </a:cubicBezTo>
                  <a:cubicBezTo>
                    <a:pt x="3547" y="5949"/>
                    <a:pt x="3547" y="5949"/>
                    <a:pt x="3540" y="5935"/>
                  </a:cubicBezTo>
                  <a:cubicBezTo>
                    <a:pt x="3540" y="5920"/>
                    <a:pt x="3532" y="5913"/>
                    <a:pt x="3525" y="5913"/>
                  </a:cubicBezTo>
                  <a:cubicBezTo>
                    <a:pt x="3503" y="5913"/>
                    <a:pt x="3474" y="5942"/>
                    <a:pt x="3430" y="5971"/>
                  </a:cubicBezTo>
                  <a:cubicBezTo>
                    <a:pt x="3371" y="6015"/>
                    <a:pt x="3312" y="6015"/>
                    <a:pt x="3276" y="6023"/>
                  </a:cubicBezTo>
                  <a:cubicBezTo>
                    <a:pt x="3247" y="6037"/>
                    <a:pt x="3173" y="6067"/>
                    <a:pt x="3144" y="6125"/>
                  </a:cubicBezTo>
                  <a:cubicBezTo>
                    <a:pt x="3107" y="6184"/>
                    <a:pt x="3107" y="6199"/>
                    <a:pt x="3085" y="6228"/>
                  </a:cubicBezTo>
                  <a:cubicBezTo>
                    <a:pt x="3056" y="6265"/>
                    <a:pt x="2983" y="6287"/>
                    <a:pt x="2939" y="6316"/>
                  </a:cubicBezTo>
                  <a:cubicBezTo>
                    <a:pt x="2931" y="6316"/>
                    <a:pt x="2924" y="6323"/>
                    <a:pt x="2917" y="6323"/>
                  </a:cubicBezTo>
                  <a:cubicBezTo>
                    <a:pt x="2873" y="6323"/>
                    <a:pt x="2821" y="6272"/>
                    <a:pt x="2785" y="6272"/>
                  </a:cubicBezTo>
                  <a:cubicBezTo>
                    <a:pt x="2741" y="6272"/>
                    <a:pt x="2690" y="6330"/>
                    <a:pt x="2646" y="6367"/>
                  </a:cubicBezTo>
                  <a:cubicBezTo>
                    <a:pt x="2609" y="6396"/>
                    <a:pt x="2572" y="6418"/>
                    <a:pt x="2528" y="6418"/>
                  </a:cubicBezTo>
                  <a:cubicBezTo>
                    <a:pt x="2499" y="6418"/>
                    <a:pt x="2470" y="6396"/>
                    <a:pt x="2440" y="6396"/>
                  </a:cubicBezTo>
                  <a:cubicBezTo>
                    <a:pt x="2426" y="6396"/>
                    <a:pt x="2411" y="6404"/>
                    <a:pt x="2404" y="6418"/>
                  </a:cubicBezTo>
                  <a:cubicBezTo>
                    <a:pt x="2367" y="6462"/>
                    <a:pt x="2360" y="6492"/>
                    <a:pt x="2330" y="6499"/>
                  </a:cubicBezTo>
                  <a:cubicBezTo>
                    <a:pt x="2309" y="6514"/>
                    <a:pt x="2213" y="6499"/>
                    <a:pt x="2206" y="6536"/>
                  </a:cubicBezTo>
                  <a:cubicBezTo>
                    <a:pt x="2199" y="6572"/>
                    <a:pt x="2206" y="6594"/>
                    <a:pt x="2155" y="6602"/>
                  </a:cubicBezTo>
                  <a:cubicBezTo>
                    <a:pt x="2103" y="6609"/>
                    <a:pt x="2103" y="6675"/>
                    <a:pt x="2118" y="6704"/>
                  </a:cubicBezTo>
                  <a:cubicBezTo>
                    <a:pt x="2140" y="6741"/>
                    <a:pt x="2111" y="6792"/>
                    <a:pt x="2067" y="6844"/>
                  </a:cubicBezTo>
                  <a:cubicBezTo>
                    <a:pt x="2059" y="6858"/>
                    <a:pt x="2045" y="6865"/>
                    <a:pt x="2030" y="6865"/>
                  </a:cubicBezTo>
                  <a:cubicBezTo>
                    <a:pt x="1994" y="6865"/>
                    <a:pt x="1964" y="6829"/>
                    <a:pt x="1942" y="6807"/>
                  </a:cubicBezTo>
                  <a:cubicBezTo>
                    <a:pt x="1920" y="6792"/>
                    <a:pt x="1898" y="6748"/>
                    <a:pt x="1869" y="6748"/>
                  </a:cubicBezTo>
                  <a:cubicBezTo>
                    <a:pt x="1862" y="6748"/>
                    <a:pt x="1854" y="6756"/>
                    <a:pt x="1840" y="6763"/>
                  </a:cubicBezTo>
                  <a:cubicBezTo>
                    <a:pt x="1796" y="6807"/>
                    <a:pt x="1803" y="6821"/>
                    <a:pt x="1803" y="6887"/>
                  </a:cubicBezTo>
                  <a:cubicBezTo>
                    <a:pt x="1803" y="6946"/>
                    <a:pt x="1840" y="6939"/>
                    <a:pt x="1876" y="6968"/>
                  </a:cubicBezTo>
                  <a:cubicBezTo>
                    <a:pt x="1906" y="7005"/>
                    <a:pt x="1840" y="7049"/>
                    <a:pt x="1847" y="7085"/>
                  </a:cubicBezTo>
                  <a:cubicBezTo>
                    <a:pt x="1854" y="7129"/>
                    <a:pt x="1847" y="7166"/>
                    <a:pt x="1803" y="7188"/>
                  </a:cubicBezTo>
                  <a:cubicBezTo>
                    <a:pt x="1781" y="7203"/>
                    <a:pt x="1752" y="7217"/>
                    <a:pt x="1722" y="7217"/>
                  </a:cubicBezTo>
                  <a:cubicBezTo>
                    <a:pt x="1708" y="7217"/>
                    <a:pt x="1693" y="7210"/>
                    <a:pt x="1678" y="7203"/>
                  </a:cubicBezTo>
                  <a:cubicBezTo>
                    <a:pt x="1664" y="7180"/>
                    <a:pt x="1642" y="7151"/>
                    <a:pt x="1627" y="7151"/>
                  </a:cubicBezTo>
                  <a:cubicBezTo>
                    <a:pt x="1627" y="7151"/>
                    <a:pt x="1620" y="7151"/>
                    <a:pt x="1620" y="7166"/>
                  </a:cubicBezTo>
                  <a:cubicBezTo>
                    <a:pt x="1613" y="7180"/>
                    <a:pt x="1605" y="7188"/>
                    <a:pt x="1590" y="7188"/>
                  </a:cubicBezTo>
                  <a:cubicBezTo>
                    <a:pt x="1576" y="7188"/>
                    <a:pt x="1547" y="7173"/>
                    <a:pt x="1532" y="7158"/>
                  </a:cubicBezTo>
                  <a:cubicBezTo>
                    <a:pt x="1510" y="7129"/>
                    <a:pt x="1480" y="7085"/>
                    <a:pt x="1429" y="7085"/>
                  </a:cubicBezTo>
                  <a:cubicBezTo>
                    <a:pt x="1422" y="7085"/>
                    <a:pt x="1415" y="7085"/>
                    <a:pt x="1407" y="7085"/>
                  </a:cubicBezTo>
                  <a:cubicBezTo>
                    <a:pt x="1349" y="7107"/>
                    <a:pt x="1319" y="7122"/>
                    <a:pt x="1254" y="7203"/>
                  </a:cubicBezTo>
                  <a:cubicBezTo>
                    <a:pt x="1239" y="7217"/>
                    <a:pt x="1224" y="7225"/>
                    <a:pt x="1209" y="7225"/>
                  </a:cubicBezTo>
                  <a:cubicBezTo>
                    <a:pt x="1173" y="7225"/>
                    <a:pt x="1158" y="7144"/>
                    <a:pt x="1136" y="7115"/>
                  </a:cubicBezTo>
                  <a:cubicBezTo>
                    <a:pt x="1114" y="7078"/>
                    <a:pt x="1099" y="7063"/>
                    <a:pt x="1070" y="7063"/>
                  </a:cubicBezTo>
                  <a:cubicBezTo>
                    <a:pt x="1063" y="7063"/>
                    <a:pt x="1056" y="7063"/>
                    <a:pt x="1048" y="7063"/>
                  </a:cubicBezTo>
                  <a:cubicBezTo>
                    <a:pt x="1019" y="7071"/>
                    <a:pt x="1019" y="7107"/>
                    <a:pt x="1004" y="7144"/>
                  </a:cubicBezTo>
                  <a:cubicBezTo>
                    <a:pt x="997" y="7137"/>
                    <a:pt x="989" y="7129"/>
                    <a:pt x="982" y="7115"/>
                  </a:cubicBezTo>
                  <a:cubicBezTo>
                    <a:pt x="946" y="7063"/>
                    <a:pt x="960" y="7027"/>
                    <a:pt x="1004" y="6939"/>
                  </a:cubicBezTo>
                  <a:cubicBezTo>
                    <a:pt x="1048" y="6844"/>
                    <a:pt x="989" y="6844"/>
                    <a:pt x="960" y="6777"/>
                  </a:cubicBezTo>
                  <a:cubicBezTo>
                    <a:pt x="931" y="6719"/>
                    <a:pt x="894" y="6660"/>
                    <a:pt x="814" y="6660"/>
                  </a:cubicBezTo>
                  <a:cubicBezTo>
                    <a:pt x="806" y="6660"/>
                    <a:pt x="792" y="6660"/>
                    <a:pt x="777" y="6660"/>
                  </a:cubicBezTo>
                  <a:cubicBezTo>
                    <a:pt x="748" y="6668"/>
                    <a:pt x="733" y="6675"/>
                    <a:pt x="718" y="6675"/>
                  </a:cubicBezTo>
                  <a:cubicBezTo>
                    <a:pt x="682" y="6675"/>
                    <a:pt x="689" y="6653"/>
                    <a:pt x="667" y="6616"/>
                  </a:cubicBezTo>
                  <a:cubicBezTo>
                    <a:pt x="631" y="6572"/>
                    <a:pt x="594" y="6565"/>
                    <a:pt x="616" y="6470"/>
                  </a:cubicBezTo>
                  <a:cubicBezTo>
                    <a:pt x="645" y="6382"/>
                    <a:pt x="653" y="6433"/>
                    <a:pt x="740" y="6360"/>
                  </a:cubicBezTo>
                  <a:cubicBezTo>
                    <a:pt x="836" y="6279"/>
                    <a:pt x="792" y="6308"/>
                    <a:pt x="770" y="6243"/>
                  </a:cubicBezTo>
                  <a:cubicBezTo>
                    <a:pt x="755" y="6221"/>
                    <a:pt x="748" y="6213"/>
                    <a:pt x="740" y="6213"/>
                  </a:cubicBezTo>
                  <a:cubicBezTo>
                    <a:pt x="726" y="6213"/>
                    <a:pt x="711" y="6221"/>
                    <a:pt x="682" y="6221"/>
                  </a:cubicBezTo>
                  <a:cubicBezTo>
                    <a:pt x="667" y="6221"/>
                    <a:pt x="653" y="6221"/>
                    <a:pt x="631" y="6213"/>
                  </a:cubicBezTo>
                  <a:cubicBezTo>
                    <a:pt x="543" y="6177"/>
                    <a:pt x="594" y="6162"/>
                    <a:pt x="565" y="6074"/>
                  </a:cubicBezTo>
                  <a:cubicBezTo>
                    <a:pt x="528" y="5986"/>
                    <a:pt x="543" y="5994"/>
                    <a:pt x="506" y="5935"/>
                  </a:cubicBezTo>
                  <a:cubicBezTo>
                    <a:pt x="491" y="5920"/>
                    <a:pt x="477" y="5913"/>
                    <a:pt x="462" y="5913"/>
                  </a:cubicBezTo>
                  <a:cubicBezTo>
                    <a:pt x="440" y="5913"/>
                    <a:pt x="404" y="5927"/>
                    <a:pt x="374" y="5927"/>
                  </a:cubicBezTo>
                  <a:cubicBezTo>
                    <a:pt x="367" y="5927"/>
                    <a:pt x="367" y="5927"/>
                    <a:pt x="359" y="5927"/>
                  </a:cubicBezTo>
                  <a:cubicBezTo>
                    <a:pt x="301" y="5913"/>
                    <a:pt x="294" y="5884"/>
                    <a:pt x="316" y="5803"/>
                  </a:cubicBezTo>
                  <a:cubicBezTo>
                    <a:pt x="337" y="5722"/>
                    <a:pt x="301" y="5737"/>
                    <a:pt x="257" y="5708"/>
                  </a:cubicBezTo>
                  <a:cubicBezTo>
                    <a:pt x="213" y="5686"/>
                    <a:pt x="176" y="5656"/>
                    <a:pt x="235" y="5642"/>
                  </a:cubicBezTo>
                  <a:cubicBezTo>
                    <a:pt x="294" y="5634"/>
                    <a:pt x="294" y="5583"/>
                    <a:pt x="294" y="5517"/>
                  </a:cubicBezTo>
                  <a:cubicBezTo>
                    <a:pt x="294" y="5488"/>
                    <a:pt x="308" y="5480"/>
                    <a:pt x="323" y="5480"/>
                  </a:cubicBezTo>
                  <a:cubicBezTo>
                    <a:pt x="345" y="5480"/>
                    <a:pt x="374" y="5488"/>
                    <a:pt x="404" y="5488"/>
                  </a:cubicBezTo>
                  <a:cubicBezTo>
                    <a:pt x="411" y="5488"/>
                    <a:pt x="418" y="5488"/>
                    <a:pt x="425" y="5488"/>
                  </a:cubicBezTo>
                  <a:cubicBezTo>
                    <a:pt x="491" y="5473"/>
                    <a:pt x="447" y="5393"/>
                    <a:pt x="447" y="5327"/>
                  </a:cubicBezTo>
                  <a:cubicBezTo>
                    <a:pt x="447" y="5261"/>
                    <a:pt x="447" y="5239"/>
                    <a:pt x="396" y="5239"/>
                  </a:cubicBezTo>
                  <a:cubicBezTo>
                    <a:pt x="337" y="5239"/>
                    <a:pt x="279" y="5202"/>
                    <a:pt x="323" y="5136"/>
                  </a:cubicBezTo>
                  <a:cubicBezTo>
                    <a:pt x="359" y="5077"/>
                    <a:pt x="337" y="5048"/>
                    <a:pt x="308" y="5048"/>
                  </a:cubicBezTo>
                  <a:cubicBezTo>
                    <a:pt x="301" y="5048"/>
                    <a:pt x="294" y="5056"/>
                    <a:pt x="294" y="5056"/>
                  </a:cubicBezTo>
                  <a:cubicBezTo>
                    <a:pt x="257" y="5063"/>
                    <a:pt x="220" y="5056"/>
                    <a:pt x="132" y="5077"/>
                  </a:cubicBezTo>
                  <a:cubicBezTo>
                    <a:pt x="118" y="5077"/>
                    <a:pt x="110" y="5077"/>
                    <a:pt x="103" y="5077"/>
                  </a:cubicBezTo>
                  <a:cubicBezTo>
                    <a:pt x="52" y="5077"/>
                    <a:pt x="74" y="5012"/>
                    <a:pt x="74" y="4938"/>
                  </a:cubicBezTo>
                  <a:cubicBezTo>
                    <a:pt x="74" y="4858"/>
                    <a:pt x="15" y="4814"/>
                    <a:pt x="66" y="4784"/>
                  </a:cubicBezTo>
                  <a:cubicBezTo>
                    <a:pt x="88" y="4762"/>
                    <a:pt x="103" y="4755"/>
                    <a:pt x="110" y="4755"/>
                  </a:cubicBezTo>
                  <a:cubicBezTo>
                    <a:pt x="125" y="4755"/>
                    <a:pt x="132" y="4770"/>
                    <a:pt x="132" y="4792"/>
                  </a:cubicBezTo>
                  <a:cubicBezTo>
                    <a:pt x="132" y="4828"/>
                    <a:pt x="176" y="4872"/>
                    <a:pt x="206" y="4872"/>
                  </a:cubicBezTo>
                  <a:cubicBezTo>
                    <a:pt x="213" y="4872"/>
                    <a:pt x="220" y="4865"/>
                    <a:pt x="220" y="4858"/>
                  </a:cubicBezTo>
                  <a:cubicBezTo>
                    <a:pt x="242" y="4828"/>
                    <a:pt x="264" y="4748"/>
                    <a:pt x="323" y="4704"/>
                  </a:cubicBezTo>
                  <a:cubicBezTo>
                    <a:pt x="381" y="4660"/>
                    <a:pt x="381" y="4689"/>
                    <a:pt x="418" y="4623"/>
                  </a:cubicBezTo>
                  <a:cubicBezTo>
                    <a:pt x="447" y="4557"/>
                    <a:pt x="491" y="4543"/>
                    <a:pt x="550" y="4521"/>
                  </a:cubicBezTo>
                  <a:cubicBezTo>
                    <a:pt x="609" y="4499"/>
                    <a:pt x="631" y="4521"/>
                    <a:pt x="631" y="4485"/>
                  </a:cubicBezTo>
                  <a:cubicBezTo>
                    <a:pt x="631" y="4456"/>
                    <a:pt x="609" y="4434"/>
                    <a:pt x="609" y="4434"/>
                  </a:cubicBezTo>
                  <a:cubicBezTo>
                    <a:pt x="689" y="4375"/>
                    <a:pt x="689" y="4375"/>
                    <a:pt x="689" y="4375"/>
                  </a:cubicBezTo>
                  <a:cubicBezTo>
                    <a:pt x="689" y="4375"/>
                    <a:pt x="682" y="4353"/>
                    <a:pt x="653" y="4353"/>
                  </a:cubicBezTo>
                  <a:cubicBezTo>
                    <a:pt x="645" y="4353"/>
                    <a:pt x="638" y="4353"/>
                    <a:pt x="616" y="4360"/>
                  </a:cubicBezTo>
                  <a:cubicBezTo>
                    <a:pt x="579" y="4382"/>
                    <a:pt x="543" y="4404"/>
                    <a:pt x="506" y="4404"/>
                  </a:cubicBezTo>
                  <a:cubicBezTo>
                    <a:pt x="491" y="4404"/>
                    <a:pt x="469" y="4397"/>
                    <a:pt x="447" y="4390"/>
                  </a:cubicBezTo>
                  <a:cubicBezTo>
                    <a:pt x="396" y="4353"/>
                    <a:pt x="462" y="4236"/>
                    <a:pt x="506" y="4185"/>
                  </a:cubicBezTo>
                  <a:cubicBezTo>
                    <a:pt x="550" y="4126"/>
                    <a:pt x="587" y="4045"/>
                    <a:pt x="653" y="3957"/>
                  </a:cubicBezTo>
                  <a:cubicBezTo>
                    <a:pt x="718" y="3862"/>
                    <a:pt x="755" y="3884"/>
                    <a:pt x="777" y="3818"/>
                  </a:cubicBezTo>
                  <a:cubicBezTo>
                    <a:pt x="799" y="3752"/>
                    <a:pt x="755" y="3686"/>
                    <a:pt x="799" y="3591"/>
                  </a:cubicBezTo>
                  <a:cubicBezTo>
                    <a:pt x="843" y="3503"/>
                    <a:pt x="799" y="3422"/>
                    <a:pt x="777" y="3335"/>
                  </a:cubicBezTo>
                  <a:cubicBezTo>
                    <a:pt x="755" y="3239"/>
                    <a:pt x="718" y="3232"/>
                    <a:pt x="711" y="3173"/>
                  </a:cubicBezTo>
                  <a:cubicBezTo>
                    <a:pt x="697" y="3115"/>
                    <a:pt x="667" y="3071"/>
                    <a:pt x="594" y="3005"/>
                  </a:cubicBezTo>
                  <a:cubicBezTo>
                    <a:pt x="528" y="2931"/>
                    <a:pt x="543" y="2924"/>
                    <a:pt x="594" y="2880"/>
                  </a:cubicBezTo>
                  <a:cubicBezTo>
                    <a:pt x="653" y="2836"/>
                    <a:pt x="572" y="2807"/>
                    <a:pt x="521" y="2785"/>
                  </a:cubicBezTo>
                  <a:cubicBezTo>
                    <a:pt x="462" y="2763"/>
                    <a:pt x="447" y="2741"/>
                    <a:pt x="447" y="2675"/>
                  </a:cubicBezTo>
                  <a:cubicBezTo>
                    <a:pt x="447" y="2609"/>
                    <a:pt x="447" y="2558"/>
                    <a:pt x="396" y="2536"/>
                  </a:cubicBezTo>
                  <a:cubicBezTo>
                    <a:pt x="367" y="2528"/>
                    <a:pt x="337" y="2521"/>
                    <a:pt x="316" y="2521"/>
                  </a:cubicBezTo>
                  <a:cubicBezTo>
                    <a:pt x="294" y="2521"/>
                    <a:pt x="279" y="2528"/>
                    <a:pt x="279" y="2528"/>
                  </a:cubicBezTo>
                  <a:cubicBezTo>
                    <a:pt x="279" y="2528"/>
                    <a:pt x="301" y="2492"/>
                    <a:pt x="359" y="2470"/>
                  </a:cubicBezTo>
                  <a:cubicBezTo>
                    <a:pt x="418" y="2448"/>
                    <a:pt x="396" y="2389"/>
                    <a:pt x="337" y="2345"/>
                  </a:cubicBezTo>
                  <a:cubicBezTo>
                    <a:pt x="279" y="2301"/>
                    <a:pt x="279" y="2243"/>
                    <a:pt x="345" y="2235"/>
                  </a:cubicBezTo>
                  <a:cubicBezTo>
                    <a:pt x="418" y="2221"/>
                    <a:pt x="462" y="2206"/>
                    <a:pt x="484" y="2162"/>
                  </a:cubicBezTo>
                  <a:cubicBezTo>
                    <a:pt x="499" y="2133"/>
                    <a:pt x="521" y="2118"/>
                    <a:pt x="543" y="2118"/>
                  </a:cubicBezTo>
                  <a:cubicBezTo>
                    <a:pt x="550" y="2118"/>
                    <a:pt x="565" y="2126"/>
                    <a:pt x="572" y="2140"/>
                  </a:cubicBezTo>
                  <a:cubicBezTo>
                    <a:pt x="594" y="2184"/>
                    <a:pt x="631" y="2199"/>
                    <a:pt x="711" y="2199"/>
                  </a:cubicBezTo>
                  <a:cubicBezTo>
                    <a:pt x="792" y="2199"/>
                    <a:pt x="689" y="2096"/>
                    <a:pt x="653" y="2052"/>
                  </a:cubicBezTo>
                  <a:cubicBezTo>
                    <a:pt x="616" y="2008"/>
                    <a:pt x="689" y="1994"/>
                    <a:pt x="718" y="1994"/>
                  </a:cubicBezTo>
                  <a:cubicBezTo>
                    <a:pt x="755" y="1994"/>
                    <a:pt x="770" y="2059"/>
                    <a:pt x="792" y="2111"/>
                  </a:cubicBezTo>
                  <a:cubicBezTo>
                    <a:pt x="806" y="2140"/>
                    <a:pt x="843" y="2147"/>
                    <a:pt x="880" y="2147"/>
                  </a:cubicBezTo>
                  <a:cubicBezTo>
                    <a:pt x="902" y="2147"/>
                    <a:pt x="924" y="2147"/>
                    <a:pt x="946" y="2140"/>
                  </a:cubicBezTo>
                  <a:cubicBezTo>
                    <a:pt x="953" y="2140"/>
                    <a:pt x="960" y="2140"/>
                    <a:pt x="968" y="2140"/>
                  </a:cubicBezTo>
                  <a:cubicBezTo>
                    <a:pt x="1034" y="2140"/>
                    <a:pt x="1092" y="2177"/>
                    <a:pt x="1144" y="2221"/>
                  </a:cubicBezTo>
                  <a:cubicBezTo>
                    <a:pt x="1173" y="2243"/>
                    <a:pt x="1195" y="2257"/>
                    <a:pt x="1217" y="2257"/>
                  </a:cubicBezTo>
                  <a:cubicBezTo>
                    <a:pt x="1231" y="2257"/>
                    <a:pt x="1239" y="2250"/>
                    <a:pt x="1246" y="2235"/>
                  </a:cubicBezTo>
                  <a:cubicBezTo>
                    <a:pt x="1254" y="2184"/>
                    <a:pt x="1173" y="2155"/>
                    <a:pt x="1187" y="2118"/>
                  </a:cubicBezTo>
                  <a:cubicBezTo>
                    <a:pt x="1187" y="2111"/>
                    <a:pt x="1202" y="2104"/>
                    <a:pt x="1209" y="2104"/>
                  </a:cubicBezTo>
                  <a:cubicBezTo>
                    <a:pt x="1239" y="2104"/>
                    <a:pt x="1283" y="2126"/>
                    <a:pt x="1312" y="2162"/>
                  </a:cubicBezTo>
                  <a:cubicBezTo>
                    <a:pt x="1327" y="2184"/>
                    <a:pt x="1341" y="2191"/>
                    <a:pt x="1363" y="2191"/>
                  </a:cubicBezTo>
                  <a:cubicBezTo>
                    <a:pt x="1407" y="2191"/>
                    <a:pt x="1459" y="2155"/>
                    <a:pt x="1480" y="2133"/>
                  </a:cubicBezTo>
                  <a:cubicBezTo>
                    <a:pt x="1517" y="2096"/>
                    <a:pt x="1686" y="2030"/>
                    <a:pt x="1752" y="2008"/>
                  </a:cubicBezTo>
                  <a:cubicBezTo>
                    <a:pt x="1774" y="2001"/>
                    <a:pt x="1788" y="1994"/>
                    <a:pt x="1796" y="1994"/>
                  </a:cubicBezTo>
                  <a:cubicBezTo>
                    <a:pt x="1840" y="1994"/>
                    <a:pt x="1854" y="2023"/>
                    <a:pt x="1869" y="2059"/>
                  </a:cubicBezTo>
                  <a:cubicBezTo>
                    <a:pt x="1869" y="2074"/>
                    <a:pt x="1876" y="2081"/>
                    <a:pt x="1891" y="2081"/>
                  </a:cubicBezTo>
                  <a:cubicBezTo>
                    <a:pt x="1928" y="2081"/>
                    <a:pt x="2001" y="2023"/>
                    <a:pt x="2023" y="1971"/>
                  </a:cubicBezTo>
                  <a:cubicBezTo>
                    <a:pt x="2059" y="1906"/>
                    <a:pt x="2067" y="1891"/>
                    <a:pt x="2103" y="1832"/>
                  </a:cubicBezTo>
                  <a:cubicBezTo>
                    <a:pt x="2140" y="1781"/>
                    <a:pt x="2118" y="1781"/>
                    <a:pt x="2081" y="1730"/>
                  </a:cubicBezTo>
                  <a:cubicBezTo>
                    <a:pt x="2045" y="1686"/>
                    <a:pt x="1994" y="1657"/>
                    <a:pt x="1920" y="1605"/>
                  </a:cubicBezTo>
                  <a:cubicBezTo>
                    <a:pt x="1854" y="1561"/>
                    <a:pt x="1832" y="1539"/>
                    <a:pt x="1869" y="1495"/>
                  </a:cubicBezTo>
                  <a:cubicBezTo>
                    <a:pt x="1876" y="1481"/>
                    <a:pt x="1884" y="1473"/>
                    <a:pt x="1891" y="1473"/>
                  </a:cubicBezTo>
                  <a:cubicBezTo>
                    <a:pt x="1898" y="1473"/>
                    <a:pt x="1906" y="1481"/>
                    <a:pt x="1913" y="1481"/>
                  </a:cubicBezTo>
                  <a:cubicBezTo>
                    <a:pt x="1920" y="1481"/>
                    <a:pt x="1928" y="1473"/>
                    <a:pt x="1935" y="1459"/>
                  </a:cubicBezTo>
                  <a:cubicBezTo>
                    <a:pt x="1957" y="1415"/>
                    <a:pt x="1994" y="1356"/>
                    <a:pt x="2059" y="1356"/>
                  </a:cubicBezTo>
                  <a:cubicBezTo>
                    <a:pt x="2125" y="1356"/>
                    <a:pt x="2162" y="1356"/>
                    <a:pt x="2191" y="1327"/>
                  </a:cubicBezTo>
                  <a:cubicBezTo>
                    <a:pt x="2228" y="1290"/>
                    <a:pt x="2243" y="1188"/>
                    <a:pt x="2287" y="1158"/>
                  </a:cubicBezTo>
                  <a:cubicBezTo>
                    <a:pt x="2330" y="1121"/>
                    <a:pt x="2375" y="1158"/>
                    <a:pt x="2397" y="1107"/>
                  </a:cubicBezTo>
                  <a:cubicBezTo>
                    <a:pt x="2418" y="1063"/>
                    <a:pt x="2418" y="1019"/>
                    <a:pt x="2499" y="1004"/>
                  </a:cubicBezTo>
                  <a:cubicBezTo>
                    <a:pt x="2565" y="997"/>
                    <a:pt x="2602" y="968"/>
                    <a:pt x="2616" y="960"/>
                  </a:cubicBezTo>
                  <a:lnTo>
                    <a:pt x="2624" y="960"/>
                  </a:lnTo>
                  <a:cubicBezTo>
                    <a:pt x="2660" y="960"/>
                    <a:pt x="2697" y="953"/>
                    <a:pt x="2719" y="924"/>
                  </a:cubicBezTo>
                  <a:cubicBezTo>
                    <a:pt x="2748" y="872"/>
                    <a:pt x="2902" y="880"/>
                    <a:pt x="2953" y="872"/>
                  </a:cubicBezTo>
                  <a:cubicBezTo>
                    <a:pt x="3005" y="865"/>
                    <a:pt x="3173" y="850"/>
                    <a:pt x="3232" y="792"/>
                  </a:cubicBezTo>
                  <a:cubicBezTo>
                    <a:pt x="3298" y="733"/>
                    <a:pt x="3430" y="653"/>
                    <a:pt x="3481" y="623"/>
                  </a:cubicBezTo>
                  <a:cubicBezTo>
                    <a:pt x="3532" y="587"/>
                    <a:pt x="3576" y="557"/>
                    <a:pt x="3635" y="528"/>
                  </a:cubicBezTo>
                  <a:cubicBezTo>
                    <a:pt x="3693" y="491"/>
                    <a:pt x="3686" y="484"/>
                    <a:pt x="3701" y="447"/>
                  </a:cubicBezTo>
                  <a:cubicBezTo>
                    <a:pt x="3723" y="418"/>
                    <a:pt x="3745" y="396"/>
                    <a:pt x="3686" y="359"/>
                  </a:cubicBezTo>
                  <a:cubicBezTo>
                    <a:pt x="3628" y="316"/>
                    <a:pt x="3686" y="294"/>
                    <a:pt x="3701" y="257"/>
                  </a:cubicBezTo>
                  <a:cubicBezTo>
                    <a:pt x="3716" y="220"/>
                    <a:pt x="3730" y="191"/>
                    <a:pt x="3759" y="191"/>
                  </a:cubicBezTo>
                  <a:cubicBezTo>
                    <a:pt x="3774" y="191"/>
                    <a:pt x="3781" y="191"/>
                    <a:pt x="3796" y="206"/>
                  </a:cubicBezTo>
                  <a:cubicBezTo>
                    <a:pt x="3847" y="235"/>
                    <a:pt x="3862" y="271"/>
                    <a:pt x="3906" y="286"/>
                  </a:cubicBezTo>
                  <a:cubicBezTo>
                    <a:pt x="3950" y="308"/>
                    <a:pt x="3921" y="359"/>
                    <a:pt x="3943" y="403"/>
                  </a:cubicBezTo>
                  <a:cubicBezTo>
                    <a:pt x="3957" y="455"/>
                    <a:pt x="4001" y="469"/>
                    <a:pt x="4045" y="477"/>
                  </a:cubicBezTo>
                  <a:cubicBezTo>
                    <a:pt x="4082" y="484"/>
                    <a:pt x="4104" y="506"/>
                    <a:pt x="4133" y="535"/>
                  </a:cubicBezTo>
                  <a:cubicBezTo>
                    <a:pt x="4155" y="550"/>
                    <a:pt x="4177" y="557"/>
                    <a:pt x="4199" y="557"/>
                  </a:cubicBezTo>
                  <a:cubicBezTo>
                    <a:pt x="4214" y="557"/>
                    <a:pt x="4236" y="550"/>
                    <a:pt x="4258" y="535"/>
                  </a:cubicBezTo>
                  <a:cubicBezTo>
                    <a:pt x="4265" y="528"/>
                    <a:pt x="4287" y="521"/>
                    <a:pt x="4309" y="521"/>
                  </a:cubicBezTo>
                  <a:cubicBezTo>
                    <a:pt x="4338" y="521"/>
                    <a:pt x="4375" y="535"/>
                    <a:pt x="4390" y="557"/>
                  </a:cubicBezTo>
                  <a:cubicBezTo>
                    <a:pt x="4419" y="601"/>
                    <a:pt x="4411" y="682"/>
                    <a:pt x="4456" y="697"/>
                  </a:cubicBezTo>
                  <a:cubicBezTo>
                    <a:pt x="4507" y="711"/>
                    <a:pt x="4521" y="762"/>
                    <a:pt x="4441" y="770"/>
                  </a:cubicBezTo>
                  <a:cubicBezTo>
                    <a:pt x="4368" y="785"/>
                    <a:pt x="4382" y="821"/>
                    <a:pt x="4397" y="858"/>
                  </a:cubicBezTo>
                  <a:cubicBezTo>
                    <a:pt x="4419" y="895"/>
                    <a:pt x="4426" y="895"/>
                    <a:pt x="4397" y="946"/>
                  </a:cubicBezTo>
                  <a:cubicBezTo>
                    <a:pt x="4375" y="997"/>
                    <a:pt x="4411" y="1048"/>
                    <a:pt x="4360" y="1070"/>
                  </a:cubicBezTo>
                  <a:cubicBezTo>
                    <a:pt x="4309" y="1092"/>
                    <a:pt x="4287" y="1121"/>
                    <a:pt x="4360" y="1166"/>
                  </a:cubicBezTo>
                  <a:cubicBezTo>
                    <a:pt x="4411" y="1202"/>
                    <a:pt x="4456" y="1217"/>
                    <a:pt x="4492" y="1217"/>
                  </a:cubicBezTo>
                  <a:cubicBezTo>
                    <a:pt x="4499" y="1217"/>
                    <a:pt x="4507" y="1217"/>
                    <a:pt x="4521" y="1217"/>
                  </a:cubicBezTo>
                  <a:lnTo>
                    <a:pt x="4529" y="1217"/>
                  </a:lnTo>
                  <a:cubicBezTo>
                    <a:pt x="4566" y="1217"/>
                    <a:pt x="4558" y="1246"/>
                    <a:pt x="4543" y="1297"/>
                  </a:cubicBezTo>
                  <a:cubicBezTo>
                    <a:pt x="4529" y="1356"/>
                    <a:pt x="4551" y="1393"/>
                    <a:pt x="4478" y="1422"/>
                  </a:cubicBezTo>
                  <a:cubicBezTo>
                    <a:pt x="4397" y="1444"/>
                    <a:pt x="4390" y="1444"/>
                    <a:pt x="4338" y="1488"/>
                  </a:cubicBezTo>
                  <a:cubicBezTo>
                    <a:pt x="4287" y="1532"/>
                    <a:pt x="4280" y="1539"/>
                    <a:pt x="4338" y="1569"/>
                  </a:cubicBezTo>
                  <a:cubicBezTo>
                    <a:pt x="4397" y="1605"/>
                    <a:pt x="4390" y="1657"/>
                    <a:pt x="4434" y="1657"/>
                  </a:cubicBezTo>
                  <a:cubicBezTo>
                    <a:pt x="4441" y="1657"/>
                    <a:pt x="4441" y="1657"/>
                    <a:pt x="4448" y="1657"/>
                  </a:cubicBezTo>
                  <a:cubicBezTo>
                    <a:pt x="4507" y="1642"/>
                    <a:pt x="4543" y="1620"/>
                    <a:pt x="4573" y="1590"/>
                  </a:cubicBezTo>
                  <a:cubicBezTo>
                    <a:pt x="4587" y="1569"/>
                    <a:pt x="4609" y="1561"/>
                    <a:pt x="4646" y="1561"/>
                  </a:cubicBezTo>
                  <a:cubicBezTo>
                    <a:pt x="4661" y="1561"/>
                    <a:pt x="4683" y="1561"/>
                    <a:pt x="4705" y="1561"/>
                  </a:cubicBezTo>
                  <a:cubicBezTo>
                    <a:pt x="4734" y="1569"/>
                    <a:pt x="4756" y="1569"/>
                    <a:pt x="4778" y="1569"/>
                  </a:cubicBezTo>
                  <a:cubicBezTo>
                    <a:pt x="4815" y="1569"/>
                    <a:pt x="4844" y="1561"/>
                    <a:pt x="4873" y="1547"/>
                  </a:cubicBezTo>
                  <a:cubicBezTo>
                    <a:pt x="4925" y="1517"/>
                    <a:pt x="4917" y="1495"/>
                    <a:pt x="4961" y="1444"/>
                  </a:cubicBezTo>
                  <a:cubicBezTo>
                    <a:pt x="4998" y="1400"/>
                    <a:pt x="5012" y="1356"/>
                    <a:pt x="5056" y="1356"/>
                  </a:cubicBezTo>
                  <a:cubicBezTo>
                    <a:pt x="5064" y="1356"/>
                    <a:pt x="5064" y="1356"/>
                    <a:pt x="5071" y="1356"/>
                  </a:cubicBezTo>
                  <a:cubicBezTo>
                    <a:pt x="5078" y="1363"/>
                    <a:pt x="5093" y="1363"/>
                    <a:pt x="5100" y="1363"/>
                  </a:cubicBezTo>
                  <a:cubicBezTo>
                    <a:pt x="5122" y="1363"/>
                    <a:pt x="5144" y="1356"/>
                    <a:pt x="5166" y="1356"/>
                  </a:cubicBezTo>
                  <a:cubicBezTo>
                    <a:pt x="5188" y="1356"/>
                    <a:pt x="5203" y="1363"/>
                    <a:pt x="5218" y="1378"/>
                  </a:cubicBezTo>
                  <a:cubicBezTo>
                    <a:pt x="5232" y="1400"/>
                    <a:pt x="5276" y="1429"/>
                    <a:pt x="5306" y="1429"/>
                  </a:cubicBezTo>
                  <a:cubicBezTo>
                    <a:pt x="5320" y="1429"/>
                    <a:pt x="5328" y="1429"/>
                    <a:pt x="5335" y="1407"/>
                  </a:cubicBezTo>
                  <a:cubicBezTo>
                    <a:pt x="5349" y="1356"/>
                    <a:pt x="5371" y="1327"/>
                    <a:pt x="5430" y="1297"/>
                  </a:cubicBezTo>
                  <a:cubicBezTo>
                    <a:pt x="5489" y="1276"/>
                    <a:pt x="5584" y="1239"/>
                    <a:pt x="5562" y="1195"/>
                  </a:cubicBezTo>
                  <a:cubicBezTo>
                    <a:pt x="5547" y="1158"/>
                    <a:pt x="5503" y="1158"/>
                    <a:pt x="5474" y="1129"/>
                  </a:cubicBezTo>
                  <a:cubicBezTo>
                    <a:pt x="5437" y="1107"/>
                    <a:pt x="5452" y="1114"/>
                    <a:pt x="5474" y="1048"/>
                  </a:cubicBezTo>
                  <a:cubicBezTo>
                    <a:pt x="5489" y="975"/>
                    <a:pt x="5525" y="762"/>
                    <a:pt x="5489" y="733"/>
                  </a:cubicBezTo>
                  <a:cubicBezTo>
                    <a:pt x="5452" y="697"/>
                    <a:pt x="5445" y="682"/>
                    <a:pt x="5437" y="623"/>
                  </a:cubicBezTo>
                  <a:cubicBezTo>
                    <a:pt x="5430" y="557"/>
                    <a:pt x="5371" y="521"/>
                    <a:pt x="5313" y="499"/>
                  </a:cubicBezTo>
                  <a:cubicBezTo>
                    <a:pt x="5247" y="484"/>
                    <a:pt x="5196" y="447"/>
                    <a:pt x="5181" y="403"/>
                  </a:cubicBezTo>
                  <a:cubicBezTo>
                    <a:pt x="5166" y="367"/>
                    <a:pt x="5115" y="286"/>
                    <a:pt x="5181" y="286"/>
                  </a:cubicBezTo>
                  <a:cubicBezTo>
                    <a:pt x="5240" y="286"/>
                    <a:pt x="5261" y="308"/>
                    <a:pt x="5306" y="308"/>
                  </a:cubicBezTo>
                  <a:cubicBezTo>
                    <a:pt x="5313" y="308"/>
                    <a:pt x="5328" y="308"/>
                    <a:pt x="5335" y="308"/>
                  </a:cubicBezTo>
                  <a:cubicBezTo>
                    <a:pt x="5349" y="301"/>
                    <a:pt x="5357" y="301"/>
                    <a:pt x="5371" y="301"/>
                  </a:cubicBezTo>
                  <a:cubicBezTo>
                    <a:pt x="5386" y="301"/>
                    <a:pt x="5393" y="301"/>
                    <a:pt x="5408" y="301"/>
                  </a:cubicBezTo>
                  <a:cubicBezTo>
                    <a:pt x="5437" y="301"/>
                    <a:pt x="5459" y="301"/>
                    <a:pt x="5474" y="264"/>
                  </a:cubicBezTo>
                  <a:cubicBezTo>
                    <a:pt x="5489" y="206"/>
                    <a:pt x="5430" y="176"/>
                    <a:pt x="5481" y="147"/>
                  </a:cubicBezTo>
                  <a:cubicBezTo>
                    <a:pt x="5533" y="110"/>
                    <a:pt x="5533" y="66"/>
                    <a:pt x="5569" y="66"/>
                  </a:cubicBezTo>
                  <a:cubicBezTo>
                    <a:pt x="5613" y="66"/>
                    <a:pt x="5591" y="110"/>
                    <a:pt x="5635" y="110"/>
                  </a:cubicBezTo>
                  <a:cubicBezTo>
                    <a:pt x="5642" y="110"/>
                    <a:pt x="5650" y="110"/>
                    <a:pt x="5657" y="110"/>
                  </a:cubicBezTo>
                  <a:cubicBezTo>
                    <a:pt x="5738" y="96"/>
                    <a:pt x="5752" y="96"/>
                    <a:pt x="5804" y="59"/>
                  </a:cubicBezTo>
                  <a:cubicBezTo>
                    <a:pt x="5826" y="44"/>
                    <a:pt x="5848" y="30"/>
                    <a:pt x="5862" y="30"/>
                  </a:cubicBezTo>
                  <a:lnTo>
                    <a:pt x="5862" y="0"/>
                  </a:lnTo>
                  <a:lnTo>
                    <a:pt x="5862" y="0"/>
                  </a:lnTo>
                  <a:cubicBezTo>
                    <a:pt x="5840" y="0"/>
                    <a:pt x="5818" y="15"/>
                    <a:pt x="5789" y="30"/>
                  </a:cubicBezTo>
                  <a:cubicBezTo>
                    <a:pt x="5745" y="59"/>
                    <a:pt x="5730" y="59"/>
                    <a:pt x="5679" y="74"/>
                  </a:cubicBezTo>
                  <a:cubicBezTo>
                    <a:pt x="5650" y="81"/>
                    <a:pt x="5650" y="81"/>
                    <a:pt x="5650" y="81"/>
                  </a:cubicBezTo>
                  <a:cubicBezTo>
                    <a:pt x="5642" y="81"/>
                    <a:pt x="5635" y="81"/>
                    <a:pt x="5635" y="81"/>
                  </a:cubicBezTo>
                  <a:cubicBezTo>
                    <a:pt x="5628" y="81"/>
                    <a:pt x="5628" y="81"/>
                    <a:pt x="5628" y="81"/>
                  </a:cubicBezTo>
                  <a:lnTo>
                    <a:pt x="5628" y="81"/>
                  </a:lnTo>
                  <a:cubicBezTo>
                    <a:pt x="5628" y="81"/>
                    <a:pt x="5628" y="81"/>
                    <a:pt x="5628" y="74"/>
                  </a:cubicBezTo>
                  <a:cubicBezTo>
                    <a:pt x="5620" y="66"/>
                    <a:pt x="5613" y="37"/>
                    <a:pt x="5569" y="37"/>
                  </a:cubicBezTo>
                  <a:cubicBezTo>
                    <a:pt x="5533" y="37"/>
                    <a:pt x="5518" y="59"/>
                    <a:pt x="5503" y="81"/>
                  </a:cubicBezTo>
                  <a:cubicBezTo>
                    <a:pt x="5489" y="96"/>
                    <a:pt x="5481" y="103"/>
                    <a:pt x="5459" y="118"/>
                  </a:cubicBezTo>
                  <a:cubicBezTo>
                    <a:pt x="5416" y="147"/>
                    <a:pt x="5430" y="191"/>
                    <a:pt x="5437" y="213"/>
                  </a:cubicBezTo>
                  <a:cubicBezTo>
                    <a:pt x="5445" y="228"/>
                    <a:pt x="5445" y="235"/>
                    <a:pt x="5445" y="257"/>
                  </a:cubicBezTo>
                  <a:cubicBezTo>
                    <a:pt x="5437" y="271"/>
                    <a:pt x="5437" y="271"/>
                    <a:pt x="5408" y="271"/>
                  </a:cubicBezTo>
                  <a:cubicBezTo>
                    <a:pt x="5401" y="271"/>
                    <a:pt x="5393" y="271"/>
                    <a:pt x="5393" y="271"/>
                  </a:cubicBezTo>
                  <a:cubicBezTo>
                    <a:pt x="5386" y="271"/>
                    <a:pt x="5379" y="271"/>
                    <a:pt x="5371" y="271"/>
                  </a:cubicBezTo>
                  <a:cubicBezTo>
                    <a:pt x="5357" y="271"/>
                    <a:pt x="5342" y="271"/>
                    <a:pt x="5328" y="271"/>
                  </a:cubicBezTo>
                  <a:cubicBezTo>
                    <a:pt x="5320" y="279"/>
                    <a:pt x="5313" y="279"/>
                    <a:pt x="5306" y="279"/>
                  </a:cubicBezTo>
                  <a:cubicBezTo>
                    <a:pt x="5291" y="279"/>
                    <a:pt x="5276" y="271"/>
                    <a:pt x="5261" y="271"/>
                  </a:cubicBezTo>
                  <a:cubicBezTo>
                    <a:pt x="5240" y="264"/>
                    <a:pt x="5218" y="257"/>
                    <a:pt x="5181" y="257"/>
                  </a:cubicBezTo>
                  <a:cubicBezTo>
                    <a:pt x="5152" y="257"/>
                    <a:pt x="5130" y="271"/>
                    <a:pt x="5122" y="286"/>
                  </a:cubicBezTo>
                  <a:cubicBezTo>
                    <a:pt x="5108" y="316"/>
                    <a:pt x="5122" y="359"/>
                    <a:pt x="5144" y="396"/>
                  </a:cubicBezTo>
                  <a:cubicBezTo>
                    <a:pt x="5144" y="403"/>
                    <a:pt x="5152" y="411"/>
                    <a:pt x="5152" y="418"/>
                  </a:cubicBezTo>
                  <a:cubicBezTo>
                    <a:pt x="5174" y="469"/>
                    <a:pt x="5225" y="506"/>
                    <a:pt x="5298" y="528"/>
                  </a:cubicBezTo>
                  <a:cubicBezTo>
                    <a:pt x="5349" y="543"/>
                    <a:pt x="5401" y="579"/>
                    <a:pt x="5408" y="623"/>
                  </a:cubicBezTo>
                  <a:cubicBezTo>
                    <a:pt x="5416" y="689"/>
                    <a:pt x="5430" y="711"/>
                    <a:pt x="5467" y="755"/>
                  </a:cubicBezTo>
                  <a:cubicBezTo>
                    <a:pt x="5481" y="777"/>
                    <a:pt x="5467" y="953"/>
                    <a:pt x="5445" y="1041"/>
                  </a:cubicBezTo>
                  <a:cubicBezTo>
                    <a:pt x="5437" y="1056"/>
                    <a:pt x="5430" y="1070"/>
                    <a:pt x="5430" y="1078"/>
                  </a:cubicBezTo>
                  <a:cubicBezTo>
                    <a:pt x="5416" y="1114"/>
                    <a:pt x="5423" y="1129"/>
                    <a:pt x="5452" y="1151"/>
                  </a:cubicBezTo>
                  <a:cubicBezTo>
                    <a:pt x="5467" y="1166"/>
                    <a:pt x="5481" y="1173"/>
                    <a:pt x="5496" y="1180"/>
                  </a:cubicBezTo>
                  <a:cubicBezTo>
                    <a:pt x="5518" y="1188"/>
                    <a:pt x="5533" y="1195"/>
                    <a:pt x="5533" y="1209"/>
                  </a:cubicBezTo>
                  <a:cubicBezTo>
                    <a:pt x="5533" y="1224"/>
                    <a:pt x="5467" y="1253"/>
                    <a:pt x="5437" y="1261"/>
                  </a:cubicBezTo>
                  <a:cubicBezTo>
                    <a:pt x="5416" y="1276"/>
                    <a:pt x="5416" y="1276"/>
                    <a:pt x="5416" y="1276"/>
                  </a:cubicBezTo>
                  <a:cubicBezTo>
                    <a:pt x="5342" y="1305"/>
                    <a:pt x="5320" y="1349"/>
                    <a:pt x="5306" y="1400"/>
                  </a:cubicBezTo>
                  <a:lnTo>
                    <a:pt x="5306" y="1400"/>
                  </a:lnTo>
                  <a:cubicBezTo>
                    <a:pt x="5291" y="1400"/>
                    <a:pt x="5254" y="1378"/>
                    <a:pt x="5240" y="1356"/>
                  </a:cubicBezTo>
                  <a:cubicBezTo>
                    <a:pt x="5218" y="1334"/>
                    <a:pt x="5188" y="1327"/>
                    <a:pt x="5166" y="1327"/>
                  </a:cubicBezTo>
                  <a:cubicBezTo>
                    <a:pt x="5159" y="1327"/>
                    <a:pt x="5144" y="1327"/>
                    <a:pt x="5137" y="1327"/>
                  </a:cubicBezTo>
                  <a:cubicBezTo>
                    <a:pt x="5122" y="1327"/>
                    <a:pt x="5115" y="1334"/>
                    <a:pt x="5100" y="1334"/>
                  </a:cubicBezTo>
                  <a:cubicBezTo>
                    <a:pt x="5093" y="1334"/>
                    <a:pt x="5086" y="1327"/>
                    <a:pt x="5078" y="1327"/>
                  </a:cubicBezTo>
                  <a:cubicBezTo>
                    <a:pt x="5071" y="1327"/>
                    <a:pt x="5064" y="1327"/>
                    <a:pt x="5056" y="1327"/>
                  </a:cubicBezTo>
                  <a:cubicBezTo>
                    <a:pt x="5005" y="1327"/>
                    <a:pt x="4983" y="1363"/>
                    <a:pt x="4961" y="1393"/>
                  </a:cubicBezTo>
                  <a:cubicBezTo>
                    <a:pt x="4954" y="1400"/>
                    <a:pt x="4947" y="1415"/>
                    <a:pt x="4939" y="1422"/>
                  </a:cubicBezTo>
                  <a:cubicBezTo>
                    <a:pt x="4917" y="1444"/>
                    <a:pt x="4910" y="1466"/>
                    <a:pt x="4902" y="1481"/>
                  </a:cubicBezTo>
                  <a:cubicBezTo>
                    <a:pt x="4888" y="1495"/>
                    <a:pt x="4888" y="1510"/>
                    <a:pt x="4866" y="1517"/>
                  </a:cubicBezTo>
                  <a:cubicBezTo>
                    <a:pt x="4837" y="1532"/>
                    <a:pt x="4807" y="1539"/>
                    <a:pt x="4778" y="1539"/>
                  </a:cubicBezTo>
                  <a:cubicBezTo>
                    <a:pt x="4756" y="1539"/>
                    <a:pt x="4734" y="1539"/>
                    <a:pt x="4712" y="1532"/>
                  </a:cubicBezTo>
                  <a:cubicBezTo>
                    <a:pt x="4683" y="1532"/>
                    <a:pt x="4661" y="1525"/>
                    <a:pt x="4646" y="1525"/>
                  </a:cubicBezTo>
                  <a:cubicBezTo>
                    <a:pt x="4617" y="1525"/>
                    <a:pt x="4573" y="1532"/>
                    <a:pt x="4543" y="1569"/>
                  </a:cubicBezTo>
                  <a:cubicBezTo>
                    <a:pt x="4529" y="1598"/>
                    <a:pt x="4499" y="1612"/>
                    <a:pt x="4441" y="1627"/>
                  </a:cubicBezTo>
                  <a:lnTo>
                    <a:pt x="4434" y="1627"/>
                  </a:lnTo>
                  <a:cubicBezTo>
                    <a:pt x="4426" y="1627"/>
                    <a:pt x="4426" y="1627"/>
                    <a:pt x="4411" y="1605"/>
                  </a:cubicBezTo>
                  <a:cubicBezTo>
                    <a:pt x="4404" y="1590"/>
                    <a:pt x="4390" y="1561"/>
                    <a:pt x="4353" y="1547"/>
                  </a:cubicBezTo>
                  <a:cubicBezTo>
                    <a:pt x="4346" y="1539"/>
                    <a:pt x="4338" y="1532"/>
                    <a:pt x="4331" y="1532"/>
                  </a:cubicBezTo>
                  <a:cubicBezTo>
                    <a:pt x="4338" y="1525"/>
                    <a:pt x="4353" y="1517"/>
                    <a:pt x="4360" y="1510"/>
                  </a:cubicBezTo>
                  <a:cubicBezTo>
                    <a:pt x="4404" y="1473"/>
                    <a:pt x="4411" y="1473"/>
                    <a:pt x="4463" y="1451"/>
                  </a:cubicBezTo>
                  <a:cubicBezTo>
                    <a:pt x="4485" y="1451"/>
                    <a:pt x="4485" y="1451"/>
                    <a:pt x="4485" y="1451"/>
                  </a:cubicBezTo>
                  <a:cubicBezTo>
                    <a:pt x="4551" y="1422"/>
                    <a:pt x="4566" y="1393"/>
                    <a:pt x="4566" y="1349"/>
                  </a:cubicBezTo>
                  <a:cubicBezTo>
                    <a:pt x="4566" y="1334"/>
                    <a:pt x="4573" y="1319"/>
                    <a:pt x="4573" y="1305"/>
                  </a:cubicBezTo>
                  <a:cubicBezTo>
                    <a:pt x="4587" y="1261"/>
                    <a:pt x="4595" y="1231"/>
                    <a:pt x="4580" y="1202"/>
                  </a:cubicBezTo>
                  <a:cubicBezTo>
                    <a:pt x="4573" y="1195"/>
                    <a:pt x="4558" y="1180"/>
                    <a:pt x="4529" y="1180"/>
                  </a:cubicBezTo>
                  <a:cubicBezTo>
                    <a:pt x="4529" y="1180"/>
                    <a:pt x="4521" y="1180"/>
                    <a:pt x="4514" y="1188"/>
                  </a:cubicBezTo>
                  <a:cubicBezTo>
                    <a:pt x="4507" y="1188"/>
                    <a:pt x="4499" y="1188"/>
                    <a:pt x="4492" y="1188"/>
                  </a:cubicBezTo>
                  <a:cubicBezTo>
                    <a:pt x="4463" y="1188"/>
                    <a:pt x="4426" y="1173"/>
                    <a:pt x="4375" y="1136"/>
                  </a:cubicBezTo>
                  <a:cubicBezTo>
                    <a:pt x="4353" y="1129"/>
                    <a:pt x="4346" y="1121"/>
                    <a:pt x="4346" y="1114"/>
                  </a:cubicBezTo>
                  <a:cubicBezTo>
                    <a:pt x="4346" y="1114"/>
                    <a:pt x="4353" y="1107"/>
                    <a:pt x="4368" y="1100"/>
                  </a:cubicBezTo>
                  <a:cubicBezTo>
                    <a:pt x="4419" y="1078"/>
                    <a:pt x="4419" y="1034"/>
                    <a:pt x="4419" y="1004"/>
                  </a:cubicBezTo>
                  <a:cubicBezTo>
                    <a:pt x="4419" y="990"/>
                    <a:pt x="4419" y="968"/>
                    <a:pt x="4426" y="953"/>
                  </a:cubicBezTo>
                  <a:cubicBezTo>
                    <a:pt x="4456" y="902"/>
                    <a:pt x="4448" y="887"/>
                    <a:pt x="4434" y="858"/>
                  </a:cubicBezTo>
                  <a:cubicBezTo>
                    <a:pt x="4434" y="850"/>
                    <a:pt x="4426" y="850"/>
                    <a:pt x="4426" y="843"/>
                  </a:cubicBezTo>
                  <a:cubicBezTo>
                    <a:pt x="4419" y="821"/>
                    <a:pt x="4411" y="814"/>
                    <a:pt x="4419" y="814"/>
                  </a:cubicBezTo>
                  <a:lnTo>
                    <a:pt x="4419" y="814"/>
                  </a:lnTo>
                  <a:cubicBezTo>
                    <a:pt x="4419" y="814"/>
                    <a:pt x="4419" y="807"/>
                    <a:pt x="4448" y="807"/>
                  </a:cubicBezTo>
                  <a:cubicBezTo>
                    <a:pt x="4514" y="792"/>
                    <a:pt x="4529" y="755"/>
                    <a:pt x="4529" y="740"/>
                  </a:cubicBezTo>
                  <a:cubicBezTo>
                    <a:pt x="4529" y="711"/>
                    <a:pt x="4507" y="682"/>
                    <a:pt x="4470" y="667"/>
                  </a:cubicBezTo>
                  <a:cubicBezTo>
                    <a:pt x="4456" y="660"/>
                    <a:pt x="4448" y="645"/>
                    <a:pt x="4441" y="609"/>
                  </a:cubicBezTo>
                  <a:cubicBezTo>
                    <a:pt x="4434" y="587"/>
                    <a:pt x="4426" y="565"/>
                    <a:pt x="4419" y="543"/>
                  </a:cubicBezTo>
                  <a:cubicBezTo>
                    <a:pt x="4390" y="506"/>
                    <a:pt x="4346" y="491"/>
                    <a:pt x="4309" y="491"/>
                  </a:cubicBezTo>
                  <a:cubicBezTo>
                    <a:pt x="4280" y="491"/>
                    <a:pt x="4258" y="499"/>
                    <a:pt x="4236" y="513"/>
                  </a:cubicBezTo>
                  <a:cubicBezTo>
                    <a:pt x="4228" y="521"/>
                    <a:pt x="4214" y="521"/>
                    <a:pt x="4199" y="521"/>
                  </a:cubicBezTo>
                  <a:cubicBezTo>
                    <a:pt x="4177" y="521"/>
                    <a:pt x="4162" y="521"/>
                    <a:pt x="4155" y="513"/>
                  </a:cubicBezTo>
                  <a:cubicBezTo>
                    <a:pt x="4148" y="506"/>
                    <a:pt x="4140" y="499"/>
                    <a:pt x="4133" y="491"/>
                  </a:cubicBezTo>
                  <a:cubicBezTo>
                    <a:pt x="4111" y="469"/>
                    <a:pt x="4089" y="455"/>
                    <a:pt x="4045" y="447"/>
                  </a:cubicBezTo>
                  <a:cubicBezTo>
                    <a:pt x="4009" y="440"/>
                    <a:pt x="3979" y="433"/>
                    <a:pt x="3972" y="396"/>
                  </a:cubicBezTo>
                  <a:cubicBezTo>
                    <a:pt x="3965" y="381"/>
                    <a:pt x="3965" y="367"/>
                    <a:pt x="3965" y="352"/>
                  </a:cubicBezTo>
                  <a:cubicBezTo>
                    <a:pt x="3965" y="323"/>
                    <a:pt x="3965" y="279"/>
                    <a:pt x="3921" y="257"/>
                  </a:cubicBezTo>
                  <a:cubicBezTo>
                    <a:pt x="3899" y="250"/>
                    <a:pt x="3884" y="242"/>
                    <a:pt x="3869" y="228"/>
                  </a:cubicBezTo>
                  <a:cubicBezTo>
                    <a:pt x="3855" y="213"/>
                    <a:pt x="3840" y="191"/>
                    <a:pt x="3811" y="176"/>
                  </a:cubicBezTo>
                  <a:cubicBezTo>
                    <a:pt x="3796" y="169"/>
                    <a:pt x="3781" y="162"/>
                    <a:pt x="3759" y="162"/>
                  </a:cubicBezTo>
                  <a:cubicBezTo>
                    <a:pt x="3708" y="162"/>
                    <a:pt x="3686" y="220"/>
                    <a:pt x="3671" y="242"/>
                  </a:cubicBezTo>
                  <a:cubicBezTo>
                    <a:pt x="3671" y="250"/>
                    <a:pt x="3664" y="257"/>
                    <a:pt x="3657" y="271"/>
                  </a:cubicBezTo>
                  <a:cubicBezTo>
                    <a:pt x="3642" y="286"/>
                    <a:pt x="3628" y="301"/>
                    <a:pt x="3628" y="330"/>
                  </a:cubicBezTo>
                  <a:cubicBezTo>
                    <a:pt x="3635" y="352"/>
                    <a:pt x="3649" y="367"/>
                    <a:pt x="3664" y="381"/>
                  </a:cubicBezTo>
                  <a:cubicBezTo>
                    <a:pt x="3693" y="396"/>
                    <a:pt x="3693" y="403"/>
                    <a:pt x="3693" y="403"/>
                  </a:cubicBezTo>
                  <a:cubicBezTo>
                    <a:pt x="3693" y="403"/>
                    <a:pt x="3686" y="411"/>
                    <a:pt x="3686" y="418"/>
                  </a:cubicBezTo>
                  <a:cubicBezTo>
                    <a:pt x="3679" y="426"/>
                    <a:pt x="3679" y="433"/>
                    <a:pt x="3679" y="433"/>
                  </a:cubicBezTo>
                  <a:cubicBezTo>
                    <a:pt x="3671" y="447"/>
                    <a:pt x="3671" y="447"/>
                    <a:pt x="3664" y="455"/>
                  </a:cubicBezTo>
                  <a:cubicBezTo>
                    <a:pt x="3657" y="469"/>
                    <a:pt x="3657" y="477"/>
                    <a:pt x="3620" y="499"/>
                  </a:cubicBezTo>
                  <a:cubicBezTo>
                    <a:pt x="3561" y="535"/>
                    <a:pt x="3518" y="557"/>
                    <a:pt x="3466" y="594"/>
                  </a:cubicBezTo>
                  <a:cubicBezTo>
                    <a:pt x="3452" y="601"/>
                    <a:pt x="3437" y="616"/>
                    <a:pt x="3415" y="623"/>
                  </a:cubicBezTo>
                  <a:cubicBezTo>
                    <a:pt x="3349" y="667"/>
                    <a:pt x="3261" y="719"/>
                    <a:pt x="3210" y="770"/>
                  </a:cubicBezTo>
                  <a:cubicBezTo>
                    <a:pt x="3166" y="814"/>
                    <a:pt x="3034" y="828"/>
                    <a:pt x="2975" y="843"/>
                  </a:cubicBezTo>
                  <a:cubicBezTo>
                    <a:pt x="2968" y="843"/>
                    <a:pt x="2953" y="843"/>
                    <a:pt x="2946" y="843"/>
                  </a:cubicBezTo>
                  <a:cubicBezTo>
                    <a:pt x="2939" y="843"/>
                    <a:pt x="2917" y="850"/>
                    <a:pt x="2895" y="850"/>
                  </a:cubicBezTo>
                  <a:cubicBezTo>
                    <a:pt x="2821" y="850"/>
                    <a:pt x="2726" y="858"/>
                    <a:pt x="2690" y="909"/>
                  </a:cubicBezTo>
                  <a:cubicBezTo>
                    <a:pt x="2682" y="924"/>
                    <a:pt x="2660" y="924"/>
                    <a:pt x="2624" y="924"/>
                  </a:cubicBezTo>
                  <a:cubicBezTo>
                    <a:pt x="2616" y="924"/>
                    <a:pt x="2616" y="924"/>
                    <a:pt x="2616" y="924"/>
                  </a:cubicBezTo>
                  <a:cubicBezTo>
                    <a:pt x="2609" y="924"/>
                    <a:pt x="2609" y="924"/>
                    <a:pt x="2609" y="924"/>
                  </a:cubicBezTo>
                  <a:cubicBezTo>
                    <a:pt x="2602" y="931"/>
                    <a:pt x="2602" y="931"/>
                    <a:pt x="2602" y="931"/>
                  </a:cubicBezTo>
                  <a:cubicBezTo>
                    <a:pt x="2580" y="953"/>
                    <a:pt x="2543" y="968"/>
                    <a:pt x="2499" y="975"/>
                  </a:cubicBezTo>
                  <a:cubicBezTo>
                    <a:pt x="2418" y="990"/>
                    <a:pt x="2397" y="1034"/>
                    <a:pt x="2382" y="1070"/>
                  </a:cubicBezTo>
                  <a:cubicBezTo>
                    <a:pt x="2382" y="1078"/>
                    <a:pt x="2375" y="1085"/>
                    <a:pt x="2375" y="1100"/>
                  </a:cubicBezTo>
                  <a:cubicBezTo>
                    <a:pt x="2367" y="1107"/>
                    <a:pt x="2367" y="1107"/>
                    <a:pt x="2345" y="1107"/>
                  </a:cubicBezTo>
                  <a:cubicBezTo>
                    <a:pt x="2323" y="1107"/>
                    <a:pt x="2294" y="1107"/>
                    <a:pt x="2265" y="1129"/>
                  </a:cubicBezTo>
                  <a:cubicBezTo>
                    <a:pt x="2235" y="1158"/>
                    <a:pt x="2221" y="1202"/>
                    <a:pt x="2206" y="1239"/>
                  </a:cubicBezTo>
                  <a:cubicBezTo>
                    <a:pt x="2191" y="1268"/>
                    <a:pt x="2184" y="1290"/>
                    <a:pt x="2177" y="1305"/>
                  </a:cubicBezTo>
                  <a:cubicBezTo>
                    <a:pt x="2147" y="1327"/>
                    <a:pt x="2125" y="1327"/>
                    <a:pt x="2059" y="1327"/>
                  </a:cubicBezTo>
                  <a:cubicBezTo>
                    <a:pt x="1964" y="1327"/>
                    <a:pt x="1928" y="1415"/>
                    <a:pt x="1906" y="1451"/>
                  </a:cubicBezTo>
                  <a:cubicBezTo>
                    <a:pt x="1906" y="1444"/>
                    <a:pt x="1898" y="1444"/>
                    <a:pt x="1891" y="1444"/>
                  </a:cubicBezTo>
                  <a:cubicBezTo>
                    <a:pt x="1862" y="1444"/>
                    <a:pt x="1847" y="1466"/>
                    <a:pt x="1840" y="1481"/>
                  </a:cubicBezTo>
                  <a:cubicBezTo>
                    <a:pt x="1825" y="1503"/>
                    <a:pt x="1818" y="1525"/>
                    <a:pt x="1818" y="1547"/>
                  </a:cubicBezTo>
                  <a:cubicBezTo>
                    <a:pt x="1825" y="1576"/>
                    <a:pt x="1862" y="1605"/>
                    <a:pt x="1906" y="1635"/>
                  </a:cubicBezTo>
                  <a:cubicBezTo>
                    <a:pt x="1928" y="1649"/>
                    <a:pt x="1928" y="1649"/>
                    <a:pt x="1928" y="1649"/>
                  </a:cubicBezTo>
                  <a:cubicBezTo>
                    <a:pt x="1986" y="1686"/>
                    <a:pt x="2030" y="1715"/>
                    <a:pt x="2059" y="1752"/>
                  </a:cubicBezTo>
                  <a:cubicBezTo>
                    <a:pt x="2067" y="1759"/>
                    <a:pt x="2074" y="1774"/>
                    <a:pt x="2081" y="1774"/>
                  </a:cubicBezTo>
                  <a:cubicBezTo>
                    <a:pt x="2081" y="1781"/>
                    <a:pt x="2089" y="1788"/>
                    <a:pt x="2089" y="1796"/>
                  </a:cubicBezTo>
                  <a:cubicBezTo>
                    <a:pt x="2089" y="1796"/>
                    <a:pt x="2089" y="1796"/>
                    <a:pt x="2081" y="1818"/>
                  </a:cubicBezTo>
                  <a:cubicBezTo>
                    <a:pt x="2067" y="1840"/>
                    <a:pt x="2059" y="1854"/>
                    <a:pt x="2052" y="1862"/>
                  </a:cubicBezTo>
                  <a:cubicBezTo>
                    <a:pt x="2037" y="1891"/>
                    <a:pt x="2023" y="1913"/>
                    <a:pt x="2001" y="1957"/>
                  </a:cubicBezTo>
                  <a:cubicBezTo>
                    <a:pt x="1979" y="2001"/>
                    <a:pt x="1920" y="2045"/>
                    <a:pt x="1898" y="2052"/>
                  </a:cubicBezTo>
                  <a:cubicBezTo>
                    <a:pt x="1876" y="1979"/>
                    <a:pt x="1825" y="1964"/>
                    <a:pt x="1796" y="1964"/>
                  </a:cubicBezTo>
                  <a:cubicBezTo>
                    <a:pt x="1781" y="1964"/>
                    <a:pt x="1766" y="1971"/>
                    <a:pt x="1744" y="1979"/>
                  </a:cubicBezTo>
                  <a:cubicBezTo>
                    <a:pt x="1693" y="1994"/>
                    <a:pt x="1503" y="2067"/>
                    <a:pt x="1459" y="2111"/>
                  </a:cubicBezTo>
                  <a:cubicBezTo>
                    <a:pt x="1437" y="2126"/>
                    <a:pt x="1393" y="2155"/>
                    <a:pt x="1363" y="2155"/>
                  </a:cubicBezTo>
                  <a:cubicBezTo>
                    <a:pt x="1349" y="2155"/>
                    <a:pt x="1341" y="2155"/>
                    <a:pt x="1334" y="2147"/>
                  </a:cubicBezTo>
                  <a:cubicBezTo>
                    <a:pt x="1297" y="2104"/>
                    <a:pt x="1254" y="2074"/>
                    <a:pt x="1209" y="2074"/>
                  </a:cubicBezTo>
                  <a:cubicBezTo>
                    <a:pt x="1187" y="2074"/>
                    <a:pt x="1165" y="2089"/>
                    <a:pt x="1158" y="2111"/>
                  </a:cubicBezTo>
                  <a:cubicBezTo>
                    <a:pt x="1144" y="2140"/>
                    <a:pt x="1173" y="2169"/>
                    <a:pt x="1187" y="2191"/>
                  </a:cubicBezTo>
                  <a:cubicBezTo>
                    <a:pt x="1202" y="2199"/>
                    <a:pt x="1217" y="2213"/>
                    <a:pt x="1209" y="2228"/>
                  </a:cubicBezTo>
                  <a:lnTo>
                    <a:pt x="1209" y="2228"/>
                  </a:lnTo>
                  <a:cubicBezTo>
                    <a:pt x="1202" y="2228"/>
                    <a:pt x="1187" y="2221"/>
                    <a:pt x="1158" y="2199"/>
                  </a:cubicBezTo>
                  <a:cubicBezTo>
                    <a:pt x="1107" y="2155"/>
                    <a:pt x="1041" y="2111"/>
                    <a:pt x="968" y="2111"/>
                  </a:cubicBezTo>
                  <a:cubicBezTo>
                    <a:pt x="960" y="2111"/>
                    <a:pt x="953" y="2111"/>
                    <a:pt x="946" y="2111"/>
                  </a:cubicBezTo>
                  <a:cubicBezTo>
                    <a:pt x="916" y="2118"/>
                    <a:pt x="902" y="2118"/>
                    <a:pt x="880" y="2118"/>
                  </a:cubicBezTo>
                  <a:cubicBezTo>
                    <a:pt x="843" y="2118"/>
                    <a:pt x="821" y="2111"/>
                    <a:pt x="814" y="2096"/>
                  </a:cubicBezTo>
                  <a:cubicBezTo>
                    <a:pt x="814" y="2081"/>
                    <a:pt x="806" y="2067"/>
                    <a:pt x="799" y="2052"/>
                  </a:cubicBezTo>
                  <a:cubicBezTo>
                    <a:pt x="785" y="2008"/>
                    <a:pt x="770" y="1964"/>
                    <a:pt x="718" y="1964"/>
                  </a:cubicBezTo>
                  <a:cubicBezTo>
                    <a:pt x="704" y="1964"/>
                    <a:pt x="638" y="1964"/>
                    <a:pt x="616" y="2008"/>
                  </a:cubicBezTo>
                  <a:cubicBezTo>
                    <a:pt x="616" y="2016"/>
                    <a:pt x="609" y="2038"/>
                    <a:pt x="631" y="2067"/>
                  </a:cubicBezTo>
                  <a:cubicBezTo>
                    <a:pt x="638" y="2074"/>
                    <a:pt x="645" y="2089"/>
                    <a:pt x="653" y="2096"/>
                  </a:cubicBezTo>
                  <a:cubicBezTo>
                    <a:pt x="667" y="2118"/>
                    <a:pt x="697" y="2147"/>
                    <a:pt x="704" y="2169"/>
                  </a:cubicBezTo>
                  <a:cubicBezTo>
                    <a:pt x="631" y="2169"/>
                    <a:pt x="616" y="2155"/>
                    <a:pt x="601" y="2126"/>
                  </a:cubicBezTo>
                  <a:cubicBezTo>
                    <a:pt x="587" y="2104"/>
                    <a:pt x="565" y="2089"/>
                    <a:pt x="543" y="2089"/>
                  </a:cubicBezTo>
                  <a:cubicBezTo>
                    <a:pt x="506" y="2089"/>
                    <a:pt x="477" y="2111"/>
                    <a:pt x="455" y="2147"/>
                  </a:cubicBezTo>
                  <a:cubicBezTo>
                    <a:pt x="440" y="2184"/>
                    <a:pt x="411" y="2191"/>
                    <a:pt x="345" y="2199"/>
                  </a:cubicBezTo>
                  <a:cubicBezTo>
                    <a:pt x="301" y="2206"/>
                    <a:pt x="272" y="2228"/>
                    <a:pt x="264" y="2257"/>
                  </a:cubicBezTo>
                  <a:cubicBezTo>
                    <a:pt x="257" y="2294"/>
                    <a:pt x="279" y="2338"/>
                    <a:pt x="316" y="2367"/>
                  </a:cubicBezTo>
                  <a:cubicBezTo>
                    <a:pt x="352" y="2397"/>
                    <a:pt x="359" y="2419"/>
                    <a:pt x="359" y="2433"/>
                  </a:cubicBezTo>
                  <a:cubicBezTo>
                    <a:pt x="359" y="2433"/>
                    <a:pt x="352" y="2440"/>
                    <a:pt x="345" y="2440"/>
                  </a:cubicBezTo>
                  <a:cubicBezTo>
                    <a:pt x="286" y="2470"/>
                    <a:pt x="257" y="2507"/>
                    <a:pt x="257" y="2507"/>
                  </a:cubicBezTo>
                  <a:cubicBezTo>
                    <a:pt x="213" y="2572"/>
                    <a:pt x="213" y="2572"/>
                    <a:pt x="213" y="2572"/>
                  </a:cubicBezTo>
                  <a:cubicBezTo>
                    <a:pt x="286" y="2558"/>
                    <a:pt x="286" y="2558"/>
                    <a:pt x="286" y="2558"/>
                  </a:cubicBezTo>
                  <a:cubicBezTo>
                    <a:pt x="286" y="2558"/>
                    <a:pt x="294" y="2558"/>
                    <a:pt x="316" y="2558"/>
                  </a:cubicBezTo>
                  <a:cubicBezTo>
                    <a:pt x="330" y="2558"/>
                    <a:pt x="359" y="2558"/>
                    <a:pt x="381" y="2565"/>
                  </a:cubicBezTo>
                  <a:cubicBezTo>
                    <a:pt x="418" y="2580"/>
                    <a:pt x="418" y="2602"/>
                    <a:pt x="418" y="2675"/>
                  </a:cubicBezTo>
                  <a:cubicBezTo>
                    <a:pt x="418" y="2748"/>
                    <a:pt x="433" y="2785"/>
                    <a:pt x="506" y="2814"/>
                  </a:cubicBezTo>
                  <a:cubicBezTo>
                    <a:pt x="528" y="2821"/>
                    <a:pt x="528" y="2821"/>
                    <a:pt x="528" y="2821"/>
                  </a:cubicBezTo>
                  <a:cubicBezTo>
                    <a:pt x="543" y="2829"/>
                    <a:pt x="572" y="2844"/>
                    <a:pt x="579" y="2851"/>
                  </a:cubicBezTo>
                  <a:lnTo>
                    <a:pt x="579" y="2851"/>
                  </a:lnTo>
                  <a:cubicBezTo>
                    <a:pt x="543" y="2880"/>
                    <a:pt x="521" y="2902"/>
                    <a:pt x="521" y="2931"/>
                  </a:cubicBezTo>
                  <a:cubicBezTo>
                    <a:pt x="521" y="2961"/>
                    <a:pt x="535" y="2990"/>
                    <a:pt x="572" y="3027"/>
                  </a:cubicBezTo>
                  <a:cubicBezTo>
                    <a:pt x="645" y="3093"/>
                    <a:pt x="675" y="3129"/>
                    <a:pt x="682" y="3181"/>
                  </a:cubicBezTo>
                  <a:cubicBezTo>
                    <a:pt x="689" y="3210"/>
                    <a:pt x="697" y="3232"/>
                    <a:pt x="711" y="3247"/>
                  </a:cubicBezTo>
                  <a:cubicBezTo>
                    <a:pt x="726" y="3269"/>
                    <a:pt x="740" y="3298"/>
                    <a:pt x="748" y="3342"/>
                  </a:cubicBezTo>
                  <a:cubicBezTo>
                    <a:pt x="755" y="3357"/>
                    <a:pt x="763" y="3378"/>
                    <a:pt x="763" y="3400"/>
                  </a:cubicBezTo>
                  <a:cubicBezTo>
                    <a:pt x="785" y="3466"/>
                    <a:pt x="806" y="3518"/>
                    <a:pt x="770" y="3576"/>
                  </a:cubicBezTo>
                  <a:cubicBezTo>
                    <a:pt x="740" y="3642"/>
                    <a:pt x="748" y="3694"/>
                    <a:pt x="755" y="3730"/>
                  </a:cubicBezTo>
                  <a:cubicBezTo>
                    <a:pt x="755" y="3759"/>
                    <a:pt x="755" y="3789"/>
                    <a:pt x="748" y="3811"/>
                  </a:cubicBezTo>
                  <a:cubicBezTo>
                    <a:pt x="740" y="3833"/>
                    <a:pt x="733" y="3840"/>
                    <a:pt x="711" y="3855"/>
                  </a:cubicBezTo>
                  <a:cubicBezTo>
                    <a:pt x="689" y="3869"/>
                    <a:pt x="667" y="3891"/>
                    <a:pt x="631" y="3935"/>
                  </a:cubicBezTo>
                  <a:cubicBezTo>
                    <a:pt x="594" y="3987"/>
                    <a:pt x="565" y="4030"/>
                    <a:pt x="543" y="4075"/>
                  </a:cubicBezTo>
                  <a:cubicBezTo>
                    <a:pt x="521" y="4104"/>
                    <a:pt x="499" y="4140"/>
                    <a:pt x="484" y="4163"/>
                  </a:cubicBezTo>
                  <a:cubicBezTo>
                    <a:pt x="469" y="4185"/>
                    <a:pt x="389" y="4287"/>
                    <a:pt x="396" y="4360"/>
                  </a:cubicBezTo>
                  <a:cubicBezTo>
                    <a:pt x="404" y="4382"/>
                    <a:pt x="418" y="4404"/>
                    <a:pt x="433" y="4412"/>
                  </a:cubicBezTo>
                  <a:cubicBezTo>
                    <a:pt x="455" y="4426"/>
                    <a:pt x="484" y="4434"/>
                    <a:pt x="506" y="4434"/>
                  </a:cubicBezTo>
                  <a:cubicBezTo>
                    <a:pt x="528" y="4434"/>
                    <a:pt x="550" y="4426"/>
                    <a:pt x="572" y="4419"/>
                  </a:cubicBezTo>
                  <a:cubicBezTo>
                    <a:pt x="565" y="4426"/>
                    <a:pt x="565" y="4426"/>
                    <a:pt x="565" y="4426"/>
                  </a:cubicBezTo>
                  <a:cubicBezTo>
                    <a:pt x="587" y="4456"/>
                    <a:pt x="587" y="4456"/>
                    <a:pt x="587" y="4456"/>
                  </a:cubicBezTo>
                  <a:lnTo>
                    <a:pt x="587" y="4456"/>
                  </a:lnTo>
                  <a:cubicBezTo>
                    <a:pt x="587" y="4456"/>
                    <a:pt x="594" y="4463"/>
                    <a:pt x="601" y="4478"/>
                  </a:cubicBezTo>
                  <a:cubicBezTo>
                    <a:pt x="587" y="4478"/>
                    <a:pt x="565" y="4485"/>
                    <a:pt x="543" y="4492"/>
                  </a:cubicBezTo>
                  <a:cubicBezTo>
                    <a:pt x="521" y="4499"/>
                    <a:pt x="521" y="4499"/>
                    <a:pt x="521" y="4499"/>
                  </a:cubicBezTo>
                  <a:cubicBezTo>
                    <a:pt x="469" y="4521"/>
                    <a:pt x="425" y="4535"/>
                    <a:pt x="389" y="4608"/>
                  </a:cubicBezTo>
                  <a:cubicBezTo>
                    <a:pt x="374" y="4638"/>
                    <a:pt x="367" y="4645"/>
                    <a:pt x="359" y="4645"/>
                  </a:cubicBezTo>
                  <a:cubicBezTo>
                    <a:pt x="345" y="4653"/>
                    <a:pt x="330" y="4660"/>
                    <a:pt x="308" y="4682"/>
                  </a:cubicBezTo>
                  <a:cubicBezTo>
                    <a:pt x="257" y="4711"/>
                    <a:pt x="235" y="4770"/>
                    <a:pt x="213" y="4806"/>
                  </a:cubicBezTo>
                  <a:cubicBezTo>
                    <a:pt x="213" y="4821"/>
                    <a:pt x="206" y="4828"/>
                    <a:pt x="198" y="4843"/>
                  </a:cubicBezTo>
                  <a:cubicBezTo>
                    <a:pt x="184" y="4836"/>
                    <a:pt x="162" y="4814"/>
                    <a:pt x="162" y="4792"/>
                  </a:cubicBezTo>
                  <a:cubicBezTo>
                    <a:pt x="162" y="4733"/>
                    <a:pt x="125" y="4726"/>
                    <a:pt x="110" y="4726"/>
                  </a:cubicBezTo>
                  <a:cubicBezTo>
                    <a:pt x="96" y="4726"/>
                    <a:pt x="74" y="4733"/>
                    <a:pt x="44" y="4755"/>
                  </a:cubicBezTo>
                  <a:cubicBezTo>
                    <a:pt x="0" y="4792"/>
                    <a:pt x="15" y="4836"/>
                    <a:pt x="30" y="4865"/>
                  </a:cubicBezTo>
                  <a:cubicBezTo>
                    <a:pt x="37" y="4887"/>
                    <a:pt x="44" y="4916"/>
                    <a:pt x="44" y="4938"/>
                  </a:cubicBezTo>
                  <a:cubicBezTo>
                    <a:pt x="44" y="4960"/>
                    <a:pt x="44" y="4975"/>
                    <a:pt x="44" y="4989"/>
                  </a:cubicBezTo>
                  <a:cubicBezTo>
                    <a:pt x="37" y="5034"/>
                    <a:pt x="37" y="5070"/>
                    <a:pt x="59" y="5092"/>
                  </a:cubicBezTo>
                  <a:cubicBezTo>
                    <a:pt x="66" y="5107"/>
                    <a:pt x="81" y="5114"/>
                    <a:pt x="103" y="5114"/>
                  </a:cubicBezTo>
                  <a:cubicBezTo>
                    <a:pt x="118" y="5114"/>
                    <a:pt x="125" y="5107"/>
                    <a:pt x="140" y="5107"/>
                  </a:cubicBezTo>
                  <a:cubicBezTo>
                    <a:pt x="191" y="5092"/>
                    <a:pt x="220" y="5092"/>
                    <a:pt x="242" y="5092"/>
                  </a:cubicBezTo>
                  <a:cubicBezTo>
                    <a:pt x="264" y="5092"/>
                    <a:pt x="279" y="5092"/>
                    <a:pt x="301" y="5085"/>
                  </a:cubicBezTo>
                  <a:lnTo>
                    <a:pt x="308" y="5085"/>
                  </a:lnTo>
                  <a:lnTo>
                    <a:pt x="316" y="5085"/>
                  </a:lnTo>
                  <a:cubicBezTo>
                    <a:pt x="316" y="5085"/>
                    <a:pt x="316" y="5092"/>
                    <a:pt x="301" y="5114"/>
                  </a:cubicBezTo>
                  <a:cubicBezTo>
                    <a:pt x="272" y="5158"/>
                    <a:pt x="279" y="5195"/>
                    <a:pt x="286" y="5217"/>
                  </a:cubicBezTo>
                  <a:cubicBezTo>
                    <a:pt x="301" y="5246"/>
                    <a:pt x="345" y="5268"/>
                    <a:pt x="396" y="5268"/>
                  </a:cubicBezTo>
                  <a:cubicBezTo>
                    <a:pt x="411" y="5268"/>
                    <a:pt x="418" y="5268"/>
                    <a:pt x="418" y="5268"/>
                  </a:cubicBezTo>
                  <a:cubicBezTo>
                    <a:pt x="418" y="5275"/>
                    <a:pt x="418" y="5305"/>
                    <a:pt x="418" y="5327"/>
                  </a:cubicBezTo>
                  <a:cubicBezTo>
                    <a:pt x="418" y="5349"/>
                    <a:pt x="425" y="5371"/>
                    <a:pt x="425" y="5393"/>
                  </a:cubicBezTo>
                  <a:cubicBezTo>
                    <a:pt x="433" y="5415"/>
                    <a:pt x="440" y="5444"/>
                    <a:pt x="433" y="5451"/>
                  </a:cubicBezTo>
                  <a:cubicBezTo>
                    <a:pt x="433" y="5451"/>
                    <a:pt x="425" y="5451"/>
                    <a:pt x="418" y="5451"/>
                  </a:cubicBezTo>
                  <a:cubicBezTo>
                    <a:pt x="418" y="5458"/>
                    <a:pt x="411" y="5458"/>
                    <a:pt x="404" y="5458"/>
                  </a:cubicBezTo>
                  <a:cubicBezTo>
                    <a:pt x="389" y="5458"/>
                    <a:pt x="374" y="5451"/>
                    <a:pt x="359" y="5451"/>
                  </a:cubicBezTo>
                  <a:cubicBezTo>
                    <a:pt x="352" y="5451"/>
                    <a:pt x="337" y="5451"/>
                    <a:pt x="323" y="5451"/>
                  </a:cubicBezTo>
                  <a:cubicBezTo>
                    <a:pt x="316" y="5451"/>
                    <a:pt x="294" y="5451"/>
                    <a:pt x="279" y="5466"/>
                  </a:cubicBezTo>
                  <a:cubicBezTo>
                    <a:pt x="264" y="5480"/>
                    <a:pt x="257" y="5495"/>
                    <a:pt x="257" y="5517"/>
                  </a:cubicBezTo>
                  <a:cubicBezTo>
                    <a:pt x="257" y="5598"/>
                    <a:pt x="257" y="5605"/>
                    <a:pt x="228" y="5612"/>
                  </a:cubicBezTo>
                  <a:cubicBezTo>
                    <a:pt x="184" y="5620"/>
                    <a:pt x="176" y="5642"/>
                    <a:pt x="176" y="5656"/>
                  </a:cubicBezTo>
                  <a:cubicBezTo>
                    <a:pt x="169" y="5693"/>
                    <a:pt x="206" y="5722"/>
                    <a:pt x="242" y="5737"/>
                  </a:cubicBezTo>
                  <a:cubicBezTo>
                    <a:pt x="257" y="5744"/>
                    <a:pt x="264" y="5744"/>
                    <a:pt x="272" y="5752"/>
                  </a:cubicBezTo>
                  <a:cubicBezTo>
                    <a:pt x="279" y="5752"/>
                    <a:pt x="286" y="5759"/>
                    <a:pt x="294" y="5759"/>
                  </a:cubicBezTo>
                  <a:lnTo>
                    <a:pt x="294" y="5759"/>
                  </a:lnTo>
                  <a:cubicBezTo>
                    <a:pt x="294" y="5759"/>
                    <a:pt x="294" y="5766"/>
                    <a:pt x="286" y="5796"/>
                  </a:cubicBezTo>
                  <a:cubicBezTo>
                    <a:pt x="264" y="5854"/>
                    <a:pt x="264" y="5891"/>
                    <a:pt x="286" y="5913"/>
                  </a:cubicBezTo>
                  <a:cubicBezTo>
                    <a:pt x="301" y="5935"/>
                    <a:pt x="323" y="5949"/>
                    <a:pt x="352" y="5957"/>
                  </a:cubicBezTo>
                  <a:cubicBezTo>
                    <a:pt x="359" y="5957"/>
                    <a:pt x="367" y="5957"/>
                    <a:pt x="374" y="5957"/>
                  </a:cubicBezTo>
                  <a:cubicBezTo>
                    <a:pt x="396" y="5957"/>
                    <a:pt x="411" y="5957"/>
                    <a:pt x="433" y="5949"/>
                  </a:cubicBezTo>
                  <a:cubicBezTo>
                    <a:pt x="440" y="5949"/>
                    <a:pt x="455" y="5942"/>
                    <a:pt x="462" y="5942"/>
                  </a:cubicBezTo>
                  <a:cubicBezTo>
                    <a:pt x="469" y="5942"/>
                    <a:pt x="477" y="5942"/>
                    <a:pt x="477" y="5957"/>
                  </a:cubicBezTo>
                  <a:cubicBezTo>
                    <a:pt x="499" y="5986"/>
                    <a:pt x="506" y="5994"/>
                    <a:pt x="513" y="6023"/>
                  </a:cubicBezTo>
                  <a:cubicBezTo>
                    <a:pt x="513" y="6037"/>
                    <a:pt x="521" y="6052"/>
                    <a:pt x="535" y="6081"/>
                  </a:cubicBezTo>
                  <a:cubicBezTo>
                    <a:pt x="543" y="6111"/>
                    <a:pt x="543" y="6133"/>
                    <a:pt x="543" y="6147"/>
                  </a:cubicBezTo>
                  <a:cubicBezTo>
                    <a:pt x="543" y="6191"/>
                    <a:pt x="557" y="6213"/>
                    <a:pt x="623" y="6235"/>
                  </a:cubicBezTo>
                  <a:cubicBezTo>
                    <a:pt x="645" y="6250"/>
                    <a:pt x="660" y="6250"/>
                    <a:pt x="682" y="6250"/>
                  </a:cubicBezTo>
                  <a:cubicBezTo>
                    <a:pt x="704" y="6250"/>
                    <a:pt x="718" y="6250"/>
                    <a:pt x="726" y="6243"/>
                  </a:cubicBezTo>
                  <a:lnTo>
                    <a:pt x="733" y="6243"/>
                  </a:lnTo>
                  <a:cubicBezTo>
                    <a:pt x="733" y="6243"/>
                    <a:pt x="733" y="6250"/>
                    <a:pt x="740" y="6257"/>
                  </a:cubicBezTo>
                  <a:cubicBezTo>
                    <a:pt x="748" y="6279"/>
                    <a:pt x="755" y="6294"/>
                    <a:pt x="763" y="6301"/>
                  </a:cubicBezTo>
                  <a:cubicBezTo>
                    <a:pt x="755" y="6308"/>
                    <a:pt x="733" y="6323"/>
                    <a:pt x="726" y="6338"/>
                  </a:cubicBezTo>
                  <a:cubicBezTo>
                    <a:pt x="689" y="6367"/>
                    <a:pt x="667" y="6375"/>
                    <a:pt x="653" y="6382"/>
                  </a:cubicBezTo>
                  <a:cubicBezTo>
                    <a:pt x="616" y="6389"/>
                    <a:pt x="601" y="6404"/>
                    <a:pt x="587" y="6462"/>
                  </a:cubicBezTo>
                  <a:cubicBezTo>
                    <a:pt x="572" y="6543"/>
                    <a:pt x="587" y="6580"/>
                    <a:pt x="623" y="6616"/>
                  </a:cubicBezTo>
                  <a:cubicBezTo>
                    <a:pt x="631" y="6624"/>
                    <a:pt x="631" y="6631"/>
                    <a:pt x="638" y="6638"/>
                  </a:cubicBezTo>
                  <a:cubicBezTo>
                    <a:pt x="645" y="6646"/>
                    <a:pt x="653" y="6653"/>
                    <a:pt x="653" y="6660"/>
                  </a:cubicBezTo>
                  <a:cubicBezTo>
                    <a:pt x="667" y="6675"/>
                    <a:pt x="675" y="6704"/>
                    <a:pt x="718" y="6704"/>
                  </a:cubicBezTo>
                  <a:cubicBezTo>
                    <a:pt x="733" y="6704"/>
                    <a:pt x="755" y="6697"/>
                    <a:pt x="785" y="6697"/>
                  </a:cubicBezTo>
                  <a:cubicBezTo>
                    <a:pt x="799" y="6689"/>
                    <a:pt x="806" y="6689"/>
                    <a:pt x="814" y="6689"/>
                  </a:cubicBezTo>
                  <a:cubicBezTo>
                    <a:pt x="872" y="6689"/>
                    <a:pt x="902" y="6726"/>
                    <a:pt x="931" y="6792"/>
                  </a:cubicBezTo>
                  <a:cubicBezTo>
                    <a:pt x="946" y="6814"/>
                    <a:pt x="960" y="6829"/>
                    <a:pt x="968" y="6844"/>
                  </a:cubicBezTo>
                  <a:cubicBezTo>
                    <a:pt x="997" y="6873"/>
                    <a:pt x="997" y="6880"/>
                    <a:pt x="975" y="6924"/>
                  </a:cubicBezTo>
                  <a:cubicBezTo>
                    <a:pt x="931" y="7012"/>
                    <a:pt x="909" y="7056"/>
                    <a:pt x="953" y="7129"/>
                  </a:cubicBezTo>
                  <a:cubicBezTo>
                    <a:pt x="960" y="7144"/>
                    <a:pt x="975" y="7158"/>
                    <a:pt x="989" y="7166"/>
                  </a:cubicBezTo>
                  <a:cubicBezTo>
                    <a:pt x="1026" y="7203"/>
                    <a:pt x="1026" y="7203"/>
                    <a:pt x="1026" y="7203"/>
                  </a:cubicBezTo>
                  <a:cubicBezTo>
                    <a:pt x="1034" y="7151"/>
                    <a:pt x="1034" y="7151"/>
                    <a:pt x="1034" y="7151"/>
                  </a:cubicBezTo>
                  <a:cubicBezTo>
                    <a:pt x="1041" y="7144"/>
                    <a:pt x="1041" y="7144"/>
                    <a:pt x="1041" y="7144"/>
                  </a:cubicBezTo>
                  <a:cubicBezTo>
                    <a:pt x="1041" y="7129"/>
                    <a:pt x="1048" y="7093"/>
                    <a:pt x="1056" y="7093"/>
                  </a:cubicBezTo>
                  <a:cubicBezTo>
                    <a:pt x="1063" y="7093"/>
                    <a:pt x="1063" y="7093"/>
                    <a:pt x="1070" y="7093"/>
                  </a:cubicBezTo>
                  <a:cubicBezTo>
                    <a:pt x="1078" y="7093"/>
                    <a:pt x="1085" y="7093"/>
                    <a:pt x="1107" y="7129"/>
                  </a:cubicBezTo>
                  <a:cubicBezTo>
                    <a:pt x="1114" y="7137"/>
                    <a:pt x="1122" y="7151"/>
                    <a:pt x="1122" y="7158"/>
                  </a:cubicBezTo>
                  <a:cubicBezTo>
                    <a:pt x="1144" y="7203"/>
                    <a:pt x="1165" y="7254"/>
                    <a:pt x="1209" y="7254"/>
                  </a:cubicBezTo>
                  <a:cubicBezTo>
                    <a:pt x="1231" y="7254"/>
                    <a:pt x="1254" y="7246"/>
                    <a:pt x="1275" y="7217"/>
                  </a:cubicBezTo>
                  <a:cubicBezTo>
                    <a:pt x="1341" y="7144"/>
                    <a:pt x="1363" y="7129"/>
                    <a:pt x="1415" y="7115"/>
                  </a:cubicBezTo>
                  <a:cubicBezTo>
                    <a:pt x="1422" y="7115"/>
                    <a:pt x="1422" y="7115"/>
                    <a:pt x="1429" y="7115"/>
                  </a:cubicBezTo>
                  <a:cubicBezTo>
                    <a:pt x="1459" y="7115"/>
                    <a:pt x="1488" y="7144"/>
                    <a:pt x="1510" y="7173"/>
                  </a:cubicBezTo>
                  <a:cubicBezTo>
                    <a:pt x="1532" y="7203"/>
                    <a:pt x="1561" y="7217"/>
                    <a:pt x="1590" y="7217"/>
                  </a:cubicBezTo>
                  <a:cubicBezTo>
                    <a:pt x="1613" y="7217"/>
                    <a:pt x="1627" y="7210"/>
                    <a:pt x="1635" y="7195"/>
                  </a:cubicBezTo>
                  <a:cubicBezTo>
                    <a:pt x="1642" y="7203"/>
                    <a:pt x="1649" y="7217"/>
                    <a:pt x="1656" y="7217"/>
                  </a:cubicBezTo>
                  <a:cubicBezTo>
                    <a:pt x="1671" y="7239"/>
                    <a:pt x="1700" y="7246"/>
                    <a:pt x="1722" y="7246"/>
                  </a:cubicBezTo>
                  <a:cubicBezTo>
                    <a:pt x="1759" y="7246"/>
                    <a:pt x="1796" y="7232"/>
                    <a:pt x="1825" y="7217"/>
                  </a:cubicBezTo>
                  <a:cubicBezTo>
                    <a:pt x="1869" y="7188"/>
                    <a:pt x="1891" y="7144"/>
                    <a:pt x="1876" y="7085"/>
                  </a:cubicBezTo>
                  <a:cubicBezTo>
                    <a:pt x="1876" y="7078"/>
                    <a:pt x="1884" y="7063"/>
                    <a:pt x="1891" y="7049"/>
                  </a:cubicBezTo>
                  <a:cubicBezTo>
                    <a:pt x="1906" y="7027"/>
                    <a:pt x="1935" y="6983"/>
                    <a:pt x="1898" y="6946"/>
                  </a:cubicBezTo>
                  <a:cubicBezTo>
                    <a:pt x="1884" y="6931"/>
                    <a:pt x="1869" y="6924"/>
                    <a:pt x="1862" y="6917"/>
                  </a:cubicBezTo>
                  <a:cubicBezTo>
                    <a:pt x="1840" y="6909"/>
                    <a:pt x="1840" y="6909"/>
                    <a:pt x="1840" y="6887"/>
                  </a:cubicBezTo>
                  <a:cubicBezTo>
                    <a:pt x="1840" y="6873"/>
                    <a:pt x="1840" y="6865"/>
                    <a:pt x="1840" y="6858"/>
                  </a:cubicBezTo>
                  <a:cubicBezTo>
                    <a:pt x="1832" y="6821"/>
                    <a:pt x="1832" y="6814"/>
                    <a:pt x="1862" y="6785"/>
                  </a:cubicBezTo>
                  <a:cubicBezTo>
                    <a:pt x="1869" y="6785"/>
                    <a:pt x="1869" y="6777"/>
                    <a:pt x="1869" y="6777"/>
                  </a:cubicBezTo>
                  <a:cubicBezTo>
                    <a:pt x="1876" y="6777"/>
                    <a:pt x="1898" y="6799"/>
                    <a:pt x="1906" y="6814"/>
                  </a:cubicBezTo>
                  <a:cubicBezTo>
                    <a:pt x="1913" y="6821"/>
                    <a:pt x="1913" y="6821"/>
                    <a:pt x="1920" y="6829"/>
                  </a:cubicBezTo>
                  <a:cubicBezTo>
                    <a:pt x="1942" y="6851"/>
                    <a:pt x="1986" y="6895"/>
                    <a:pt x="2030" y="6895"/>
                  </a:cubicBezTo>
                  <a:cubicBezTo>
                    <a:pt x="2045" y="6895"/>
                    <a:pt x="2074" y="6887"/>
                    <a:pt x="2096" y="6858"/>
                  </a:cubicBezTo>
                  <a:cubicBezTo>
                    <a:pt x="2155" y="6792"/>
                    <a:pt x="2169" y="6734"/>
                    <a:pt x="2147" y="6689"/>
                  </a:cubicBezTo>
                  <a:cubicBezTo>
                    <a:pt x="2140" y="6675"/>
                    <a:pt x="2140" y="6653"/>
                    <a:pt x="2147" y="6646"/>
                  </a:cubicBezTo>
                  <a:cubicBezTo>
                    <a:pt x="2147" y="6638"/>
                    <a:pt x="2147" y="6638"/>
                    <a:pt x="2162" y="6631"/>
                  </a:cubicBezTo>
                  <a:cubicBezTo>
                    <a:pt x="2221" y="6624"/>
                    <a:pt x="2228" y="6587"/>
                    <a:pt x="2235" y="6558"/>
                  </a:cubicBezTo>
                  <a:lnTo>
                    <a:pt x="2235" y="6550"/>
                  </a:lnTo>
                  <a:cubicBezTo>
                    <a:pt x="2243" y="6543"/>
                    <a:pt x="2279" y="6536"/>
                    <a:pt x="2294" y="6536"/>
                  </a:cubicBezTo>
                  <a:cubicBezTo>
                    <a:pt x="2316" y="6536"/>
                    <a:pt x="2330" y="6536"/>
                    <a:pt x="2345" y="6528"/>
                  </a:cubicBezTo>
                  <a:cubicBezTo>
                    <a:pt x="2367" y="6521"/>
                    <a:pt x="2382" y="6499"/>
                    <a:pt x="2397" y="6477"/>
                  </a:cubicBezTo>
                  <a:cubicBezTo>
                    <a:pt x="2404" y="6462"/>
                    <a:pt x="2411" y="6448"/>
                    <a:pt x="2426" y="6433"/>
                  </a:cubicBezTo>
                  <a:cubicBezTo>
                    <a:pt x="2433" y="6433"/>
                    <a:pt x="2433" y="6426"/>
                    <a:pt x="2440" y="6426"/>
                  </a:cubicBezTo>
                  <a:cubicBezTo>
                    <a:pt x="2448" y="6426"/>
                    <a:pt x="2462" y="6433"/>
                    <a:pt x="2477" y="6433"/>
                  </a:cubicBezTo>
                  <a:cubicBezTo>
                    <a:pt x="2492" y="6440"/>
                    <a:pt x="2514" y="6448"/>
                    <a:pt x="2528" y="6448"/>
                  </a:cubicBezTo>
                  <a:cubicBezTo>
                    <a:pt x="2587" y="6448"/>
                    <a:pt x="2631" y="6418"/>
                    <a:pt x="2668" y="6389"/>
                  </a:cubicBezTo>
                  <a:cubicBezTo>
                    <a:pt x="2682" y="6382"/>
                    <a:pt x="2690" y="6367"/>
                    <a:pt x="2704" y="6360"/>
                  </a:cubicBezTo>
                  <a:cubicBezTo>
                    <a:pt x="2726" y="6338"/>
                    <a:pt x="2763" y="6301"/>
                    <a:pt x="2785" y="6301"/>
                  </a:cubicBezTo>
                  <a:cubicBezTo>
                    <a:pt x="2792" y="6301"/>
                    <a:pt x="2814" y="6316"/>
                    <a:pt x="2829" y="6323"/>
                  </a:cubicBezTo>
                  <a:cubicBezTo>
                    <a:pt x="2858" y="6338"/>
                    <a:pt x="2887" y="6353"/>
                    <a:pt x="2917" y="6353"/>
                  </a:cubicBezTo>
                  <a:cubicBezTo>
                    <a:pt x="2931" y="6353"/>
                    <a:pt x="2939" y="6345"/>
                    <a:pt x="2953" y="6338"/>
                  </a:cubicBezTo>
                  <a:cubicBezTo>
                    <a:pt x="2968" y="6330"/>
                    <a:pt x="2983" y="6323"/>
                    <a:pt x="2997" y="6316"/>
                  </a:cubicBezTo>
                  <a:cubicBezTo>
                    <a:pt x="3041" y="6294"/>
                    <a:pt x="3085" y="6279"/>
                    <a:pt x="3107" y="6250"/>
                  </a:cubicBezTo>
                  <a:cubicBezTo>
                    <a:pt x="3122" y="6228"/>
                    <a:pt x="3129" y="6213"/>
                    <a:pt x="3144" y="6191"/>
                  </a:cubicBezTo>
                  <a:cubicBezTo>
                    <a:pt x="3144" y="6177"/>
                    <a:pt x="3159" y="6162"/>
                    <a:pt x="3166" y="6140"/>
                  </a:cubicBezTo>
                  <a:cubicBezTo>
                    <a:pt x="3195" y="6096"/>
                    <a:pt x="3254" y="6059"/>
                    <a:pt x="3283" y="6052"/>
                  </a:cubicBezTo>
                  <a:cubicBezTo>
                    <a:pt x="3290" y="6052"/>
                    <a:pt x="3298" y="6052"/>
                    <a:pt x="3312" y="6052"/>
                  </a:cubicBezTo>
                  <a:cubicBezTo>
                    <a:pt x="3349" y="6045"/>
                    <a:pt x="3393" y="6037"/>
                    <a:pt x="3452" y="6001"/>
                  </a:cubicBezTo>
                  <a:cubicBezTo>
                    <a:pt x="3459" y="5994"/>
                    <a:pt x="3466" y="5986"/>
                    <a:pt x="3481" y="5979"/>
                  </a:cubicBezTo>
                  <a:cubicBezTo>
                    <a:pt x="3488" y="5971"/>
                    <a:pt x="3503" y="5957"/>
                    <a:pt x="3518" y="5949"/>
                  </a:cubicBezTo>
                  <a:cubicBezTo>
                    <a:pt x="3525" y="5971"/>
                    <a:pt x="3540" y="5979"/>
                    <a:pt x="3554" y="5979"/>
                  </a:cubicBezTo>
                  <a:cubicBezTo>
                    <a:pt x="3591" y="5979"/>
                    <a:pt x="3620" y="5942"/>
                    <a:pt x="3628" y="5906"/>
                  </a:cubicBezTo>
                  <a:cubicBezTo>
                    <a:pt x="3628" y="5898"/>
                    <a:pt x="3635" y="5898"/>
                    <a:pt x="3635" y="5898"/>
                  </a:cubicBezTo>
                  <a:cubicBezTo>
                    <a:pt x="3635" y="5898"/>
                    <a:pt x="3649" y="5898"/>
                    <a:pt x="3657" y="5898"/>
                  </a:cubicBezTo>
                  <a:cubicBezTo>
                    <a:pt x="3671" y="5891"/>
                    <a:pt x="3693" y="5891"/>
                    <a:pt x="3716" y="5884"/>
                  </a:cubicBezTo>
                  <a:cubicBezTo>
                    <a:pt x="3737" y="5884"/>
                    <a:pt x="3745" y="5876"/>
                    <a:pt x="3752" y="5876"/>
                  </a:cubicBezTo>
                  <a:cubicBezTo>
                    <a:pt x="3781" y="5876"/>
                    <a:pt x="3789" y="5869"/>
                    <a:pt x="3796" y="5839"/>
                  </a:cubicBezTo>
                  <a:cubicBezTo>
                    <a:pt x="3796" y="5832"/>
                    <a:pt x="3796" y="5825"/>
                    <a:pt x="3803" y="5810"/>
                  </a:cubicBezTo>
                  <a:cubicBezTo>
                    <a:pt x="3803" y="5803"/>
                    <a:pt x="3803" y="5788"/>
                    <a:pt x="3811" y="5781"/>
                  </a:cubicBezTo>
                  <a:cubicBezTo>
                    <a:pt x="3818" y="5744"/>
                    <a:pt x="3825" y="5722"/>
                    <a:pt x="3847" y="5693"/>
                  </a:cubicBezTo>
                  <a:cubicBezTo>
                    <a:pt x="3862" y="5671"/>
                    <a:pt x="3884" y="5656"/>
                    <a:pt x="3906" y="5649"/>
                  </a:cubicBezTo>
                  <a:cubicBezTo>
                    <a:pt x="3921" y="5634"/>
                    <a:pt x="3935" y="5627"/>
                    <a:pt x="3943" y="5612"/>
                  </a:cubicBezTo>
                  <a:cubicBezTo>
                    <a:pt x="3972" y="5590"/>
                    <a:pt x="3979" y="5546"/>
                    <a:pt x="3979" y="5503"/>
                  </a:cubicBezTo>
                  <a:cubicBezTo>
                    <a:pt x="3987" y="5495"/>
                    <a:pt x="3987" y="5480"/>
                    <a:pt x="3987" y="5473"/>
                  </a:cubicBezTo>
                  <a:cubicBezTo>
                    <a:pt x="3994" y="5458"/>
                    <a:pt x="3987" y="5437"/>
                    <a:pt x="3987" y="5422"/>
                  </a:cubicBezTo>
                  <a:cubicBezTo>
                    <a:pt x="3987" y="5385"/>
                    <a:pt x="3987" y="5363"/>
                    <a:pt x="4016" y="5341"/>
                  </a:cubicBezTo>
                  <a:cubicBezTo>
                    <a:pt x="4052" y="5319"/>
                    <a:pt x="4082" y="5305"/>
                    <a:pt x="4089" y="5305"/>
                  </a:cubicBezTo>
                  <a:cubicBezTo>
                    <a:pt x="4097" y="5305"/>
                    <a:pt x="4097" y="5305"/>
                    <a:pt x="4104" y="5312"/>
                  </a:cubicBezTo>
                  <a:cubicBezTo>
                    <a:pt x="4118" y="5334"/>
                    <a:pt x="4118" y="5378"/>
                    <a:pt x="4104" y="5407"/>
                  </a:cubicBezTo>
                  <a:cubicBezTo>
                    <a:pt x="4089" y="5429"/>
                    <a:pt x="4089" y="5444"/>
                    <a:pt x="4097" y="5458"/>
                  </a:cubicBezTo>
                  <a:cubicBezTo>
                    <a:pt x="4104" y="5495"/>
                    <a:pt x="4148" y="5517"/>
                    <a:pt x="4177" y="5532"/>
                  </a:cubicBezTo>
                  <a:cubicBezTo>
                    <a:pt x="4184" y="5532"/>
                    <a:pt x="4184" y="5532"/>
                    <a:pt x="4184" y="5532"/>
                  </a:cubicBezTo>
                  <a:cubicBezTo>
                    <a:pt x="4206" y="5546"/>
                    <a:pt x="4228" y="5568"/>
                    <a:pt x="4243" y="5598"/>
                  </a:cubicBezTo>
                  <a:cubicBezTo>
                    <a:pt x="4258" y="5627"/>
                    <a:pt x="4287" y="5642"/>
                    <a:pt x="4331" y="5642"/>
                  </a:cubicBezTo>
                  <a:cubicBezTo>
                    <a:pt x="4338" y="5642"/>
                    <a:pt x="4346" y="5642"/>
                    <a:pt x="4346" y="5642"/>
                  </a:cubicBezTo>
                  <a:cubicBezTo>
                    <a:pt x="4368" y="5642"/>
                    <a:pt x="4382" y="5656"/>
                    <a:pt x="4390" y="5656"/>
                  </a:cubicBezTo>
                  <a:cubicBezTo>
                    <a:pt x="4390" y="5678"/>
                    <a:pt x="4375" y="5715"/>
                    <a:pt x="4368" y="5730"/>
                  </a:cubicBezTo>
                  <a:cubicBezTo>
                    <a:pt x="4368" y="5737"/>
                    <a:pt x="4368" y="5744"/>
                    <a:pt x="4360" y="5752"/>
                  </a:cubicBezTo>
                  <a:cubicBezTo>
                    <a:pt x="4353" y="5788"/>
                    <a:pt x="4353" y="5869"/>
                    <a:pt x="4390" y="5906"/>
                  </a:cubicBezTo>
                  <a:cubicBezTo>
                    <a:pt x="4397" y="5913"/>
                    <a:pt x="4411" y="5927"/>
                    <a:pt x="4426" y="5935"/>
                  </a:cubicBezTo>
                  <a:cubicBezTo>
                    <a:pt x="4441" y="5949"/>
                    <a:pt x="4463" y="5964"/>
                    <a:pt x="4478" y="5986"/>
                  </a:cubicBezTo>
                  <a:cubicBezTo>
                    <a:pt x="4485" y="6001"/>
                    <a:pt x="4499" y="6008"/>
                    <a:pt x="4514" y="6023"/>
                  </a:cubicBezTo>
                  <a:cubicBezTo>
                    <a:pt x="4536" y="6037"/>
                    <a:pt x="4543" y="6045"/>
                    <a:pt x="4543" y="6052"/>
                  </a:cubicBezTo>
                  <a:cubicBezTo>
                    <a:pt x="4536" y="6081"/>
                    <a:pt x="4543" y="6103"/>
                    <a:pt x="4551" y="6111"/>
                  </a:cubicBezTo>
                  <a:cubicBezTo>
                    <a:pt x="4558" y="6125"/>
                    <a:pt x="4580" y="6133"/>
                    <a:pt x="4609" y="6133"/>
                  </a:cubicBezTo>
                  <a:cubicBezTo>
                    <a:pt x="4624" y="6133"/>
                    <a:pt x="4631" y="6133"/>
                    <a:pt x="4646" y="6133"/>
                  </a:cubicBezTo>
                  <a:cubicBezTo>
                    <a:pt x="4653" y="6133"/>
                    <a:pt x="4661" y="6125"/>
                    <a:pt x="4668" y="6125"/>
                  </a:cubicBezTo>
                  <a:cubicBezTo>
                    <a:pt x="4675" y="6125"/>
                    <a:pt x="4675" y="6125"/>
                    <a:pt x="4683" y="6125"/>
                  </a:cubicBezTo>
                  <a:cubicBezTo>
                    <a:pt x="4683" y="6125"/>
                    <a:pt x="4683" y="6133"/>
                    <a:pt x="4683" y="6140"/>
                  </a:cubicBezTo>
                  <a:cubicBezTo>
                    <a:pt x="4683" y="6147"/>
                    <a:pt x="4683" y="6155"/>
                    <a:pt x="4683" y="6162"/>
                  </a:cubicBezTo>
                  <a:cubicBezTo>
                    <a:pt x="4683" y="6272"/>
                    <a:pt x="4683" y="6272"/>
                    <a:pt x="4683" y="6272"/>
                  </a:cubicBezTo>
                  <a:cubicBezTo>
                    <a:pt x="4741" y="6177"/>
                    <a:pt x="4741" y="6177"/>
                    <a:pt x="4741" y="6177"/>
                  </a:cubicBezTo>
                  <a:cubicBezTo>
                    <a:pt x="4756" y="6147"/>
                    <a:pt x="4771" y="6125"/>
                    <a:pt x="4792" y="6103"/>
                  </a:cubicBezTo>
                  <a:cubicBezTo>
                    <a:pt x="4837" y="6045"/>
                    <a:pt x="4829" y="6001"/>
                    <a:pt x="4822" y="5957"/>
                  </a:cubicBezTo>
                  <a:cubicBezTo>
                    <a:pt x="4815" y="5942"/>
                    <a:pt x="4815" y="5927"/>
                    <a:pt x="4815" y="5913"/>
                  </a:cubicBezTo>
                  <a:cubicBezTo>
                    <a:pt x="4807" y="5862"/>
                    <a:pt x="4792" y="5847"/>
                    <a:pt x="4778" y="5832"/>
                  </a:cubicBezTo>
                  <a:cubicBezTo>
                    <a:pt x="4778" y="5832"/>
                    <a:pt x="4771" y="5825"/>
                    <a:pt x="4771" y="5810"/>
                  </a:cubicBezTo>
                  <a:cubicBezTo>
                    <a:pt x="4771" y="5796"/>
                    <a:pt x="4771" y="5796"/>
                    <a:pt x="4785" y="5788"/>
                  </a:cubicBezTo>
                  <a:cubicBezTo>
                    <a:pt x="4807" y="5774"/>
                    <a:pt x="4829" y="5766"/>
                    <a:pt x="4844" y="5737"/>
                  </a:cubicBezTo>
                  <a:cubicBezTo>
                    <a:pt x="4859" y="5693"/>
                    <a:pt x="4880" y="5686"/>
                    <a:pt x="4932" y="5664"/>
                  </a:cubicBezTo>
                  <a:cubicBezTo>
                    <a:pt x="4947" y="5656"/>
                    <a:pt x="4947" y="5656"/>
                    <a:pt x="4947" y="5656"/>
                  </a:cubicBezTo>
                  <a:cubicBezTo>
                    <a:pt x="5012" y="5620"/>
                    <a:pt x="5020" y="5598"/>
                    <a:pt x="5034" y="5554"/>
                  </a:cubicBezTo>
                  <a:cubicBezTo>
                    <a:pt x="5042" y="5546"/>
                    <a:pt x="5042" y="5532"/>
                    <a:pt x="5049" y="5517"/>
                  </a:cubicBezTo>
                  <a:cubicBezTo>
                    <a:pt x="5049" y="5517"/>
                    <a:pt x="5049" y="5517"/>
                    <a:pt x="5049" y="5510"/>
                  </a:cubicBezTo>
                  <a:cubicBezTo>
                    <a:pt x="5056" y="5517"/>
                    <a:pt x="5056" y="5525"/>
                    <a:pt x="5064" y="5532"/>
                  </a:cubicBezTo>
                  <a:cubicBezTo>
                    <a:pt x="5078" y="5561"/>
                    <a:pt x="5100" y="5598"/>
                    <a:pt x="5166" y="5598"/>
                  </a:cubicBezTo>
                  <a:cubicBezTo>
                    <a:pt x="5181" y="5598"/>
                    <a:pt x="5203" y="5598"/>
                    <a:pt x="5232" y="5590"/>
                  </a:cubicBezTo>
                  <a:cubicBezTo>
                    <a:pt x="5306" y="5568"/>
                    <a:pt x="5320" y="5554"/>
                    <a:pt x="5335" y="5510"/>
                  </a:cubicBezTo>
                  <a:cubicBezTo>
                    <a:pt x="5342" y="5503"/>
                    <a:pt x="5342" y="5495"/>
                    <a:pt x="5349" y="5480"/>
                  </a:cubicBezTo>
                  <a:cubicBezTo>
                    <a:pt x="5379" y="5437"/>
                    <a:pt x="5379" y="5437"/>
                    <a:pt x="5401" y="5422"/>
                  </a:cubicBezTo>
                  <a:cubicBezTo>
                    <a:pt x="5408" y="5415"/>
                    <a:pt x="5416" y="5415"/>
                    <a:pt x="5430" y="5407"/>
                  </a:cubicBezTo>
                  <a:cubicBezTo>
                    <a:pt x="5467" y="5378"/>
                    <a:pt x="5474" y="5363"/>
                    <a:pt x="5467" y="5327"/>
                  </a:cubicBezTo>
                  <a:cubicBezTo>
                    <a:pt x="5459" y="5319"/>
                    <a:pt x="5459" y="5305"/>
                    <a:pt x="5459" y="5283"/>
                  </a:cubicBezTo>
                  <a:cubicBezTo>
                    <a:pt x="5459" y="5253"/>
                    <a:pt x="5467" y="5253"/>
                    <a:pt x="5481" y="5239"/>
                  </a:cubicBezTo>
                  <a:cubicBezTo>
                    <a:pt x="5496" y="5224"/>
                    <a:pt x="5511" y="5209"/>
                    <a:pt x="5525" y="5180"/>
                  </a:cubicBezTo>
                  <a:cubicBezTo>
                    <a:pt x="5540" y="5151"/>
                    <a:pt x="5555" y="5144"/>
                    <a:pt x="5569" y="5129"/>
                  </a:cubicBezTo>
                  <a:cubicBezTo>
                    <a:pt x="5577" y="5121"/>
                    <a:pt x="5591" y="5114"/>
                    <a:pt x="5613" y="5092"/>
                  </a:cubicBezTo>
                  <a:cubicBezTo>
                    <a:pt x="5620" y="5092"/>
                    <a:pt x="5620" y="5085"/>
                    <a:pt x="5628" y="5077"/>
                  </a:cubicBezTo>
                  <a:cubicBezTo>
                    <a:pt x="5642" y="5063"/>
                    <a:pt x="5650" y="5056"/>
                    <a:pt x="5650" y="5041"/>
                  </a:cubicBezTo>
                  <a:cubicBezTo>
                    <a:pt x="5650" y="5026"/>
                    <a:pt x="5635" y="5012"/>
                    <a:pt x="5628" y="5012"/>
                  </a:cubicBezTo>
                  <a:cubicBezTo>
                    <a:pt x="5628" y="5012"/>
                    <a:pt x="5628" y="5004"/>
                    <a:pt x="5620" y="5004"/>
                  </a:cubicBezTo>
                  <a:cubicBezTo>
                    <a:pt x="5599" y="4982"/>
                    <a:pt x="5584" y="4953"/>
                    <a:pt x="5569" y="4880"/>
                  </a:cubicBezTo>
                  <a:cubicBezTo>
                    <a:pt x="5562" y="4858"/>
                    <a:pt x="5562" y="4850"/>
                    <a:pt x="5562" y="4850"/>
                  </a:cubicBezTo>
                  <a:cubicBezTo>
                    <a:pt x="5569" y="4850"/>
                    <a:pt x="5577" y="4850"/>
                    <a:pt x="5577" y="4843"/>
                  </a:cubicBezTo>
                  <a:cubicBezTo>
                    <a:pt x="5591" y="4836"/>
                    <a:pt x="5613" y="4828"/>
                    <a:pt x="5635" y="4806"/>
                  </a:cubicBezTo>
                  <a:cubicBezTo>
                    <a:pt x="5650" y="4799"/>
                    <a:pt x="5665" y="4792"/>
                    <a:pt x="5679" y="4792"/>
                  </a:cubicBezTo>
                  <a:cubicBezTo>
                    <a:pt x="5701" y="4792"/>
                    <a:pt x="5723" y="4799"/>
                    <a:pt x="5752" y="4806"/>
                  </a:cubicBezTo>
                  <a:cubicBezTo>
                    <a:pt x="5774" y="4806"/>
                    <a:pt x="5797" y="4814"/>
                    <a:pt x="5818" y="4814"/>
                  </a:cubicBezTo>
                  <a:lnTo>
                    <a:pt x="5818" y="4814"/>
                  </a:lnTo>
                  <a:cubicBezTo>
                    <a:pt x="5818" y="4828"/>
                    <a:pt x="5818" y="4828"/>
                    <a:pt x="5818" y="4828"/>
                  </a:cubicBezTo>
                  <a:cubicBezTo>
                    <a:pt x="5826" y="4843"/>
                    <a:pt x="5826" y="4843"/>
                    <a:pt x="5826" y="4843"/>
                  </a:cubicBezTo>
                  <a:cubicBezTo>
                    <a:pt x="5833" y="4858"/>
                    <a:pt x="5833" y="4858"/>
                    <a:pt x="5833" y="4858"/>
                  </a:cubicBezTo>
                  <a:cubicBezTo>
                    <a:pt x="5848" y="4858"/>
                    <a:pt x="5848" y="4858"/>
                    <a:pt x="5848" y="4858"/>
                  </a:cubicBezTo>
                  <a:cubicBezTo>
                    <a:pt x="5862" y="4858"/>
                    <a:pt x="5862" y="4858"/>
                    <a:pt x="5862" y="4858"/>
                  </a:cubicBezTo>
                  <a:cubicBezTo>
                    <a:pt x="5877" y="4836"/>
                    <a:pt x="5877" y="4836"/>
                    <a:pt x="5877" y="4836"/>
                  </a:cubicBezTo>
                  <a:lnTo>
                    <a:pt x="5877" y="4836"/>
                  </a:lnTo>
                  <a:cubicBezTo>
                    <a:pt x="5892" y="4814"/>
                    <a:pt x="5914" y="4784"/>
                    <a:pt x="5943" y="4777"/>
                  </a:cubicBezTo>
                  <a:cubicBezTo>
                    <a:pt x="5950" y="4777"/>
                    <a:pt x="5958" y="4777"/>
                    <a:pt x="5958" y="4777"/>
                  </a:cubicBezTo>
                  <a:cubicBezTo>
                    <a:pt x="5980" y="4777"/>
                    <a:pt x="5994" y="4770"/>
                    <a:pt x="6002" y="4748"/>
                  </a:cubicBezTo>
                  <a:cubicBezTo>
                    <a:pt x="6009" y="4726"/>
                    <a:pt x="5994" y="4718"/>
                    <a:pt x="5972" y="4689"/>
                  </a:cubicBezTo>
                  <a:cubicBezTo>
                    <a:pt x="5958" y="4675"/>
                    <a:pt x="5958" y="4675"/>
                    <a:pt x="5958" y="4675"/>
                  </a:cubicBezTo>
                  <a:cubicBezTo>
                    <a:pt x="5958" y="4667"/>
                    <a:pt x="5972" y="4660"/>
                    <a:pt x="5980" y="4645"/>
                  </a:cubicBezTo>
                  <a:cubicBezTo>
                    <a:pt x="5980" y="4638"/>
                    <a:pt x="5987" y="4630"/>
                    <a:pt x="5994" y="4623"/>
                  </a:cubicBezTo>
                  <a:cubicBezTo>
                    <a:pt x="6009" y="4608"/>
                    <a:pt x="6016" y="4601"/>
                    <a:pt x="6031" y="4594"/>
                  </a:cubicBezTo>
                  <a:cubicBezTo>
                    <a:pt x="6046" y="4579"/>
                    <a:pt x="6068" y="4565"/>
                    <a:pt x="6082" y="4529"/>
                  </a:cubicBezTo>
                  <a:cubicBezTo>
                    <a:pt x="6111" y="4470"/>
                    <a:pt x="6119" y="4456"/>
                    <a:pt x="6090" y="4404"/>
                  </a:cubicBezTo>
                  <a:cubicBezTo>
                    <a:pt x="6075" y="4375"/>
                    <a:pt x="6068" y="4353"/>
                    <a:pt x="6053" y="4287"/>
                  </a:cubicBezTo>
                  <a:cubicBezTo>
                    <a:pt x="6046" y="4272"/>
                    <a:pt x="6046" y="4258"/>
                    <a:pt x="6046" y="4243"/>
                  </a:cubicBezTo>
                  <a:cubicBezTo>
                    <a:pt x="6038" y="4214"/>
                    <a:pt x="6038" y="4177"/>
                    <a:pt x="5980" y="4177"/>
                  </a:cubicBezTo>
                  <a:cubicBezTo>
                    <a:pt x="5980" y="4177"/>
                    <a:pt x="5972" y="4177"/>
                    <a:pt x="5958" y="4177"/>
                  </a:cubicBezTo>
                  <a:cubicBezTo>
                    <a:pt x="5899" y="4185"/>
                    <a:pt x="5855" y="4206"/>
                    <a:pt x="5811" y="4243"/>
                  </a:cubicBezTo>
                  <a:cubicBezTo>
                    <a:pt x="5789" y="4258"/>
                    <a:pt x="5767" y="4272"/>
                    <a:pt x="5752" y="4272"/>
                  </a:cubicBezTo>
                  <a:cubicBezTo>
                    <a:pt x="5745" y="4272"/>
                    <a:pt x="5745" y="4272"/>
                    <a:pt x="5738" y="4265"/>
                  </a:cubicBezTo>
                  <a:cubicBezTo>
                    <a:pt x="5723" y="4258"/>
                    <a:pt x="5723" y="4258"/>
                    <a:pt x="5723" y="4243"/>
                  </a:cubicBezTo>
                  <a:cubicBezTo>
                    <a:pt x="5716" y="4228"/>
                    <a:pt x="5709" y="4214"/>
                    <a:pt x="5694" y="4192"/>
                  </a:cubicBezTo>
                  <a:cubicBezTo>
                    <a:pt x="5679" y="4177"/>
                    <a:pt x="5679" y="4177"/>
                    <a:pt x="5709" y="4133"/>
                  </a:cubicBezTo>
                  <a:cubicBezTo>
                    <a:pt x="5716" y="4119"/>
                    <a:pt x="5730" y="4104"/>
                    <a:pt x="5745" y="4075"/>
                  </a:cubicBezTo>
                  <a:cubicBezTo>
                    <a:pt x="5774" y="4023"/>
                    <a:pt x="5782" y="4016"/>
                    <a:pt x="5818" y="3994"/>
                  </a:cubicBezTo>
                  <a:cubicBezTo>
                    <a:pt x="5826" y="3987"/>
                    <a:pt x="5840" y="3979"/>
                    <a:pt x="5855" y="3965"/>
                  </a:cubicBezTo>
                  <a:cubicBezTo>
                    <a:pt x="5892" y="3943"/>
                    <a:pt x="5906" y="3921"/>
                    <a:pt x="5914" y="3906"/>
                  </a:cubicBezTo>
                  <a:cubicBezTo>
                    <a:pt x="5914" y="3906"/>
                    <a:pt x="5914" y="3899"/>
                    <a:pt x="5921" y="3899"/>
                  </a:cubicBezTo>
                  <a:lnTo>
                    <a:pt x="5921" y="3899"/>
                  </a:lnTo>
                  <a:cubicBezTo>
                    <a:pt x="5921" y="3899"/>
                    <a:pt x="5921" y="3899"/>
                    <a:pt x="5928" y="3899"/>
                  </a:cubicBezTo>
                  <a:cubicBezTo>
                    <a:pt x="5943" y="3899"/>
                    <a:pt x="5950" y="3899"/>
                    <a:pt x="5965" y="3899"/>
                  </a:cubicBezTo>
                  <a:cubicBezTo>
                    <a:pt x="5972" y="3899"/>
                    <a:pt x="5987" y="3899"/>
                    <a:pt x="5994" y="3899"/>
                  </a:cubicBezTo>
                  <a:cubicBezTo>
                    <a:pt x="6024" y="3899"/>
                    <a:pt x="6060" y="3899"/>
                    <a:pt x="6097" y="3862"/>
                  </a:cubicBezTo>
                  <a:cubicBezTo>
                    <a:pt x="6119" y="3840"/>
                    <a:pt x="6133" y="3840"/>
                    <a:pt x="6141" y="3840"/>
                  </a:cubicBezTo>
                  <a:cubicBezTo>
                    <a:pt x="6156" y="3840"/>
                    <a:pt x="6178" y="3847"/>
                    <a:pt x="6192" y="3862"/>
                  </a:cubicBezTo>
                  <a:cubicBezTo>
                    <a:pt x="6214" y="3869"/>
                    <a:pt x="6236" y="3877"/>
                    <a:pt x="6258" y="3877"/>
                  </a:cubicBezTo>
                  <a:cubicBezTo>
                    <a:pt x="6302" y="3877"/>
                    <a:pt x="6339" y="3862"/>
                    <a:pt x="6383" y="3855"/>
                  </a:cubicBezTo>
                  <a:cubicBezTo>
                    <a:pt x="6405" y="3847"/>
                    <a:pt x="6419" y="3840"/>
                    <a:pt x="6441" y="3840"/>
                  </a:cubicBezTo>
                  <a:cubicBezTo>
                    <a:pt x="6478" y="3833"/>
                    <a:pt x="6500" y="3811"/>
                    <a:pt x="6515" y="3789"/>
                  </a:cubicBezTo>
                  <a:cubicBezTo>
                    <a:pt x="6529" y="3752"/>
                    <a:pt x="6515" y="3716"/>
                    <a:pt x="6500" y="3694"/>
                  </a:cubicBezTo>
                  <a:cubicBezTo>
                    <a:pt x="6492" y="3671"/>
                    <a:pt x="6471" y="3650"/>
                    <a:pt x="6449" y="3635"/>
                  </a:cubicBezTo>
                  <a:cubicBezTo>
                    <a:pt x="6427" y="3620"/>
                    <a:pt x="6405" y="3606"/>
                    <a:pt x="6390" y="3584"/>
                  </a:cubicBezTo>
                  <a:cubicBezTo>
                    <a:pt x="6383" y="3584"/>
                    <a:pt x="6383" y="3584"/>
                    <a:pt x="6383" y="3584"/>
                  </a:cubicBezTo>
                  <a:cubicBezTo>
                    <a:pt x="6368" y="3569"/>
                    <a:pt x="6353" y="3547"/>
                    <a:pt x="6353" y="3540"/>
                  </a:cubicBezTo>
                  <a:cubicBezTo>
                    <a:pt x="6353" y="3540"/>
                    <a:pt x="6361" y="3532"/>
                    <a:pt x="6383" y="3518"/>
                  </a:cubicBezTo>
                  <a:cubicBezTo>
                    <a:pt x="6419" y="3488"/>
                    <a:pt x="6478" y="3466"/>
                    <a:pt x="6529" y="3452"/>
                  </a:cubicBezTo>
                  <a:cubicBezTo>
                    <a:pt x="6551" y="3445"/>
                    <a:pt x="6573" y="3437"/>
                    <a:pt x="6588" y="3430"/>
                  </a:cubicBezTo>
                  <a:cubicBezTo>
                    <a:pt x="6595" y="3422"/>
                    <a:pt x="6595" y="3422"/>
                    <a:pt x="6602" y="3422"/>
                  </a:cubicBezTo>
                  <a:cubicBezTo>
                    <a:pt x="6617" y="3422"/>
                    <a:pt x="6632" y="3437"/>
                    <a:pt x="6654" y="3452"/>
                  </a:cubicBezTo>
                  <a:cubicBezTo>
                    <a:pt x="6668" y="3466"/>
                    <a:pt x="6690" y="3481"/>
                    <a:pt x="6712" y="3488"/>
                  </a:cubicBezTo>
                  <a:cubicBezTo>
                    <a:pt x="6727" y="3496"/>
                    <a:pt x="6749" y="3503"/>
                    <a:pt x="6749" y="3503"/>
                  </a:cubicBezTo>
                  <a:cubicBezTo>
                    <a:pt x="6749" y="3503"/>
                    <a:pt x="6749" y="3510"/>
                    <a:pt x="6742" y="3525"/>
                  </a:cubicBezTo>
                  <a:cubicBezTo>
                    <a:pt x="6727" y="3554"/>
                    <a:pt x="6727" y="3591"/>
                    <a:pt x="6749" y="3620"/>
                  </a:cubicBezTo>
                  <a:cubicBezTo>
                    <a:pt x="6764" y="3657"/>
                    <a:pt x="6808" y="3679"/>
                    <a:pt x="6852" y="3686"/>
                  </a:cubicBezTo>
                  <a:cubicBezTo>
                    <a:pt x="6859" y="3686"/>
                    <a:pt x="6866" y="3686"/>
                    <a:pt x="6866" y="3686"/>
                  </a:cubicBezTo>
                  <a:cubicBezTo>
                    <a:pt x="6932" y="3686"/>
                    <a:pt x="6961" y="3650"/>
                    <a:pt x="6991" y="3613"/>
                  </a:cubicBezTo>
                  <a:cubicBezTo>
                    <a:pt x="6998" y="3606"/>
                    <a:pt x="7013" y="3591"/>
                    <a:pt x="7020" y="3584"/>
                  </a:cubicBezTo>
                  <a:cubicBezTo>
                    <a:pt x="7049" y="3562"/>
                    <a:pt x="7115" y="3496"/>
                    <a:pt x="7225" y="3386"/>
                  </a:cubicBezTo>
                  <a:cubicBezTo>
                    <a:pt x="7277" y="3342"/>
                    <a:pt x="7321" y="3247"/>
                    <a:pt x="7342" y="3203"/>
                  </a:cubicBezTo>
                  <a:cubicBezTo>
                    <a:pt x="7372" y="3144"/>
                    <a:pt x="7328" y="3122"/>
                    <a:pt x="7313" y="3115"/>
                  </a:cubicBezTo>
                  <a:cubicBezTo>
                    <a:pt x="7313" y="3115"/>
                    <a:pt x="7306" y="3115"/>
                    <a:pt x="7306" y="3107"/>
                  </a:cubicBezTo>
                  <a:cubicBezTo>
                    <a:pt x="7306" y="3093"/>
                    <a:pt x="7342" y="3078"/>
                    <a:pt x="7387" y="3078"/>
                  </a:cubicBezTo>
                  <a:cubicBezTo>
                    <a:pt x="7460" y="3078"/>
                    <a:pt x="7504" y="3012"/>
                    <a:pt x="7504" y="3005"/>
                  </a:cubicBezTo>
                  <a:cubicBezTo>
                    <a:pt x="7518" y="2983"/>
                    <a:pt x="7518" y="2983"/>
                    <a:pt x="7518" y="2983"/>
                  </a:cubicBezTo>
                  <a:cubicBezTo>
                    <a:pt x="7548" y="2954"/>
                    <a:pt x="7548" y="2954"/>
                    <a:pt x="7548" y="2954"/>
                  </a:cubicBezTo>
                  <a:cubicBezTo>
                    <a:pt x="7533" y="2961"/>
                    <a:pt x="7533" y="2961"/>
                    <a:pt x="7533" y="2961"/>
                  </a:cubicBezTo>
                  <a:cubicBezTo>
                    <a:pt x="7533" y="2954"/>
                    <a:pt x="7533" y="2954"/>
                    <a:pt x="7533" y="2954"/>
                  </a:cubicBezTo>
                  <a:cubicBezTo>
                    <a:pt x="7474" y="2961"/>
                    <a:pt x="7474" y="2961"/>
                    <a:pt x="7474" y="2961"/>
                  </a:cubicBezTo>
                  <a:cubicBezTo>
                    <a:pt x="7474" y="2961"/>
                    <a:pt x="7467" y="2961"/>
                    <a:pt x="7452" y="2961"/>
                  </a:cubicBezTo>
                  <a:cubicBezTo>
                    <a:pt x="7452" y="2961"/>
                    <a:pt x="7445" y="2968"/>
                    <a:pt x="7438" y="2968"/>
                  </a:cubicBezTo>
                  <a:cubicBezTo>
                    <a:pt x="7423" y="2968"/>
                    <a:pt x="7394" y="2961"/>
                    <a:pt x="7372" y="2946"/>
                  </a:cubicBezTo>
                  <a:cubicBezTo>
                    <a:pt x="7364" y="2939"/>
                    <a:pt x="7357" y="2931"/>
                    <a:pt x="7357" y="2931"/>
                  </a:cubicBezTo>
                  <a:cubicBezTo>
                    <a:pt x="7357" y="2924"/>
                    <a:pt x="7379" y="2902"/>
                    <a:pt x="7394" y="2888"/>
                  </a:cubicBezTo>
                  <a:cubicBezTo>
                    <a:pt x="7401" y="2880"/>
                    <a:pt x="7409" y="2873"/>
                    <a:pt x="7416" y="2866"/>
                  </a:cubicBezTo>
                  <a:cubicBezTo>
                    <a:pt x="7452" y="2829"/>
                    <a:pt x="7438" y="2778"/>
                    <a:pt x="7423" y="2748"/>
                  </a:cubicBezTo>
                  <a:cubicBezTo>
                    <a:pt x="7416" y="2734"/>
                    <a:pt x="7409" y="2712"/>
                    <a:pt x="7409" y="2697"/>
                  </a:cubicBezTo>
                  <a:cubicBezTo>
                    <a:pt x="7394" y="2638"/>
                    <a:pt x="7401" y="2624"/>
                    <a:pt x="7416" y="2609"/>
                  </a:cubicBezTo>
                  <a:cubicBezTo>
                    <a:pt x="7460" y="2580"/>
                    <a:pt x="7511" y="2528"/>
                    <a:pt x="7511" y="2462"/>
                  </a:cubicBezTo>
                  <a:cubicBezTo>
                    <a:pt x="7511" y="2433"/>
                    <a:pt x="7489" y="2411"/>
                    <a:pt x="7482" y="2404"/>
                  </a:cubicBezTo>
                  <a:cubicBezTo>
                    <a:pt x="7482" y="2404"/>
                    <a:pt x="7482" y="2397"/>
                    <a:pt x="7489" y="2397"/>
                  </a:cubicBezTo>
                  <a:cubicBezTo>
                    <a:pt x="7511" y="2360"/>
                    <a:pt x="7533" y="2301"/>
                    <a:pt x="7511" y="2265"/>
                  </a:cubicBezTo>
                  <a:cubicBezTo>
                    <a:pt x="7504" y="2250"/>
                    <a:pt x="7482" y="2228"/>
                    <a:pt x="7438" y="2228"/>
                  </a:cubicBezTo>
                  <a:cubicBezTo>
                    <a:pt x="7430" y="2228"/>
                    <a:pt x="7430" y="2228"/>
                    <a:pt x="7423" y="2228"/>
                  </a:cubicBezTo>
                  <a:cubicBezTo>
                    <a:pt x="7401" y="2235"/>
                    <a:pt x="7387" y="2235"/>
                    <a:pt x="7364" y="2235"/>
                  </a:cubicBezTo>
                  <a:cubicBezTo>
                    <a:pt x="7313" y="2235"/>
                    <a:pt x="7313" y="2221"/>
                    <a:pt x="7313" y="2199"/>
                  </a:cubicBezTo>
                  <a:cubicBezTo>
                    <a:pt x="7313" y="2059"/>
                    <a:pt x="7247" y="2045"/>
                    <a:pt x="7225" y="2045"/>
                  </a:cubicBezTo>
                  <a:cubicBezTo>
                    <a:pt x="7203" y="2045"/>
                    <a:pt x="7181" y="2008"/>
                    <a:pt x="7181" y="1964"/>
                  </a:cubicBezTo>
                  <a:cubicBezTo>
                    <a:pt x="7181" y="1898"/>
                    <a:pt x="7145" y="1854"/>
                    <a:pt x="7086" y="1854"/>
                  </a:cubicBezTo>
                  <a:cubicBezTo>
                    <a:pt x="7064" y="1854"/>
                    <a:pt x="7042" y="1862"/>
                    <a:pt x="7020" y="1876"/>
                  </a:cubicBezTo>
                  <a:cubicBezTo>
                    <a:pt x="7006" y="1884"/>
                    <a:pt x="6998" y="1891"/>
                    <a:pt x="6991" y="1891"/>
                  </a:cubicBezTo>
                  <a:cubicBezTo>
                    <a:pt x="6983" y="1891"/>
                    <a:pt x="6983" y="1884"/>
                    <a:pt x="6976" y="1884"/>
                  </a:cubicBezTo>
                  <a:cubicBezTo>
                    <a:pt x="6969" y="1869"/>
                    <a:pt x="6969" y="1862"/>
                    <a:pt x="6976" y="1854"/>
                  </a:cubicBezTo>
                  <a:cubicBezTo>
                    <a:pt x="7006" y="1796"/>
                    <a:pt x="6998" y="1722"/>
                    <a:pt x="6991" y="1678"/>
                  </a:cubicBezTo>
                  <a:cubicBezTo>
                    <a:pt x="6983" y="1627"/>
                    <a:pt x="6969" y="1539"/>
                    <a:pt x="6969" y="1532"/>
                  </a:cubicBezTo>
                  <a:cubicBezTo>
                    <a:pt x="6969" y="1517"/>
                    <a:pt x="6969" y="1517"/>
                    <a:pt x="6969" y="1517"/>
                  </a:cubicBezTo>
                  <a:cubicBezTo>
                    <a:pt x="6954" y="1510"/>
                    <a:pt x="6954" y="1510"/>
                    <a:pt x="6954" y="1510"/>
                  </a:cubicBezTo>
                  <a:cubicBezTo>
                    <a:pt x="6932" y="1495"/>
                    <a:pt x="6903" y="1473"/>
                    <a:pt x="6903" y="1459"/>
                  </a:cubicBezTo>
                  <a:cubicBezTo>
                    <a:pt x="6903" y="1459"/>
                    <a:pt x="6903" y="1444"/>
                    <a:pt x="6903" y="1437"/>
                  </a:cubicBezTo>
                  <a:cubicBezTo>
                    <a:pt x="6910" y="1415"/>
                    <a:pt x="6918" y="1393"/>
                    <a:pt x="6903" y="1356"/>
                  </a:cubicBezTo>
                  <a:cubicBezTo>
                    <a:pt x="6881" y="1305"/>
                    <a:pt x="6815" y="1305"/>
                    <a:pt x="6778" y="1305"/>
                  </a:cubicBezTo>
                  <a:cubicBezTo>
                    <a:pt x="6771" y="1305"/>
                    <a:pt x="6756" y="1305"/>
                    <a:pt x="6749" y="1305"/>
                  </a:cubicBezTo>
                  <a:cubicBezTo>
                    <a:pt x="6734" y="1305"/>
                    <a:pt x="6727" y="1305"/>
                    <a:pt x="6712" y="1305"/>
                  </a:cubicBezTo>
                  <a:cubicBezTo>
                    <a:pt x="6661" y="1305"/>
                    <a:pt x="6632" y="1290"/>
                    <a:pt x="6624" y="1276"/>
                  </a:cubicBezTo>
                  <a:cubicBezTo>
                    <a:pt x="6617" y="1253"/>
                    <a:pt x="6617" y="1217"/>
                    <a:pt x="6632" y="1209"/>
                  </a:cubicBezTo>
                  <a:cubicBezTo>
                    <a:pt x="6661" y="1195"/>
                    <a:pt x="6698" y="1158"/>
                    <a:pt x="6683" y="1100"/>
                  </a:cubicBezTo>
                  <a:cubicBezTo>
                    <a:pt x="6683" y="1092"/>
                    <a:pt x="6698" y="1085"/>
                    <a:pt x="6705" y="1085"/>
                  </a:cubicBezTo>
                  <a:cubicBezTo>
                    <a:pt x="6712" y="1078"/>
                    <a:pt x="6727" y="1070"/>
                    <a:pt x="6742" y="1063"/>
                  </a:cubicBezTo>
                  <a:cubicBezTo>
                    <a:pt x="6764" y="1048"/>
                    <a:pt x="6764" y="1026"/>
                    <a:pt x="6756" y="1019"/>
                  </a:cubicBezTo>
                  <a:cubicBezTo>
                    <a:pt x="6756" y="990"/>
                    <a:pt x="6720" y="975"/>
                    <a:pt x="6676" y="953"/>
                  </a:cubicBezTo>
                  <a:cubicBezTo>
                    <a:pt x="6661" y="953"/>
                    <a:pt x="6654" y="946"/>
                    <a:pt x="6639" y="938"/>
                  </a:cubicBezTo>
                  <a:cubicBezTo>
                    <a:pt x="6610" y="931"/>
                    <a:pt x="6602" y="909"/>
                    <a:pt x="6588" y="887"/>
                  </a:cubicBezTo>
                  <a:cubicBezTo>
                    <a:pt x="6580" y="872"/>
                    <a:pt x="6573" y="858"/>
                    <a:pt x="6559" y="843"/>
                  </a:cubicBezTo>
                  <a:cubicBezTo>
                    <a:pt x="6544" y="836"/>
                    <a:pt x="6551" y="821"/>
                    <a:pt x="6573" y="777"/>
                  </a:cubicBezTo>
                  <a:cubicBezTo>
                    <a:pt x="6573" y="770"/>
                    <a:pt x="6580" y="755"/>
                    <a:pt x="6588" y="740"/>
                  </a:cubicBezTo>
                  <a:cubicBezTo>
                    <a:pt x="6602" y="697"/>
                    <a:pt x="6624" y="689"/>
                    <a:pt x="6690" y="682"/>
                  </a:cubicBezTo>
                  <a:cubicBezTo>
                    <a:pt x="6756" y="675"/>
                    <a:pt x="6778" y="609"/>
                    <a:pt x="6800" y="557"/>
                  </a:cubicBezTo>
                  <a:cubicBezTo>
                    <a:pt x="6815" y="535"/>
                    <a:pt x="6822" y="513"/>
                    <a:pt x="6830" y="506"/>
                  </a:cubicBezTo>
                  <a:cubicBezTo>
                    <a:pt x="6852" y="469"/>
                    <a:pt x="6866" y="440"/>
                    <a:pt x="6859" y="411"/>
                  </a:cubicBezTo>
                  <a:cubicBezTo>
                    <a:pt x="6859" y="389"/>
                    <a:pt x="6844" y="367"/>
                    <a:pt x="6815" y="345"/>
                  </a:cubicBezTo>
                  <a:cubicBezTo>
                    <a:pt x="6800" y="338"/>
                    <a:pt x="6793" y="330"/>
                    <a:pt x="6793" y="316"/>
                  </a:cubicBezTo>
                  <a:cubicBezTo>
                    <a:pt x="6793" y="308"/>
                    <a:pt x="6793" y="301"/>
                    <a:pt x="6808" y="294"/>
                  </a:cubicBezTo>
                  <a:cubicBezTo>
                    <a:pt x="6844" y="271"/>
                    <a:pt x="6866" y="242"/>
                    <a:pt x="6873" y="213"/>
                  </a:cubicBezTo>
                  <a:cubicBezTo>
                    <a:pt x="6873" y="191"/>
                    <a:pt x="6873" y="169"/>
                    <a:pt x="6844" y="140"/>
                  </a:cubicBezTo>
                  <a:cubicBezTo>
                    <a:pt x="6822" y="118"/>
                    <a:pt x="6793" y="103"/>
                    <a:pt x="6764" y="103"/>
                  </a:cubicBezTo>
                  <a:cubicBezTo>
                    <a:pt x="6742" y="103"/>
                    <a:pt x="6720" y="110"/>
                    <a:pt x="6705" y="118"/>
                  </a:cubicBezTo>
                  <a:cubicBezTo>
                    <a:pt x="6690" y="118"/>
                    <a:pt x="6683" y="118"/>
                    <a:pt x="6676" y="125"/>
                  </a:cubicBezTo>
                  <a:cubicBezTo>
                    <a:pt x="6602" y="132"/>
                    <a:pt x="6580" y="191"/>
                    <a:pt x="6559" y="250"/>
                  </a:cubicBezTo>
                  <a:cubicBezTo>
                    <a:pt x="6544" y="279"/>
                    <a:pt x="6529" y="294"/>
                    <a:pt x="6515" y="308"/>
                  </a:cubicBezTo>
                  <a:cubicBezTo>
                    <a:pt x="6500" y="330"/>
                    <a:pt x="6478" y="359"/>
                    <a:pt x="6471" y="403"/>
                  </a:cubicBezTo>
                  <a:cubicBezTo>
                    <a:pt x="6471" y="418"/>
                    <a:pt x="6434" y="426"/>
                    <a:pt x="6383" y="433"/>
                  </a:cubicBezTo>
                  <a:cubicBezTo>
                    <a:pt x="6353" y="440"/>
                    <a:pt x="6309" y="440"/>
                    <a:pt x="6280" y="455"/>
                  </a:cubicBezTo>
                  <a:cubicBezTo>
                    <a:pt x="6265" y="462"/>
                    <a:pt x="6236" y="469"/>
                    <a:pt x="6207" y="469"/>
                  </a:cubicBezTo>
                  <a:cubicBezTo>
                    <a:pt x="6133" y="469"/>
                    <a:pt x="6053" y="447"/>
                    <a:pt x="6031" y="440"/>
                  </a:cubicBezTo>
                  <a:cubicBezTo>
                    <a:pt x="6016" y="433"/>
                    <a:pt x="6009" y="426"/>
                    <a:pt x="6002" y="418"/>
                  </a:cubicBezTo>
                  <a:cubicBezTo>
                    <a:pt x="6002" y="403"/>
                    <a:pt x="6009" y="381"/>
                    <a:pt x="6016" y="367"/>
                  </a:cubicBezTo>
                  <a:cubicBezTo>
                    <a:pt x="6038" y="323"/>
                    <a:pt x="6031" y="235"/>
                    <a:pt x="5987" y="176"/>
                  </a:cubicBezTo>
                  <a:cubicBezTo>
                    <a:pt x="5980" y="162"/>
                    <a:pt x="5980" y="147"/>
                    <a:pt x="5980" y="125"/>
                  </a:cubicBezTo>
                  <a:cubicBezTo>
                    <a:pt x="5972" y="96"/>
                    <a:pt x="5972" y="59"/>
                    <a:pt x="5943" y="37"/>
                  </a:cubicBezTo>
                  <a:cubicBezTo>
                    <a:pt x="5921" y="22"/>
                    <a:pt x="5899" y="0"/>
                    <a:pt x="5862" y="0"/>
                  </a:cubicBezTo>
                  <a:lnTo>
                    <a:pt x="5862" y="3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7" name="Freeform 19"/>
            <p:cNvSpPr>
              <a:spLocks noChangeArrowheads="1"/>
            </p:cNvSpPr>
            <p:nvPr/>
          </p:nvSpPr>
          <p:spPr bwMode="auto">
            <a:xfrm>
              <a:off x="7630936" y="4383699"/>
              <a:ext cx="2852588" cy="2772337"/>
            </a:xfrm>
            <a:custGeom>
              <a:avLst/>
              <a:gdLst>
                <a:gd name="T0" fmla="*/ 1619489 w 7423"/>
                <a:gd name="T1" fmla="*/ 2383597 h 7300"/>
                <a:gd name="T2" fmla="*/ 1533549 w 7423"/>
                <a:gd name="T3" fmla="*/ 2339964 h 7300"/>
                <a:gd name="T4" fmla="*/ 1433230 w 7423"/>
                <a:gd name="T5" fmla="*/ 2407727 h 7300"/>
                <a:gd name="T6" fmla="*/ 1381732 w 7423"/>
                <a:gd name="T7" fmla="*/ 2291374 h 7300"/>
                <a:gd name="T8" fmla="*/ 1374376 w 7423"/>
                <a:gd name="T9" fmla="*/ 2221297 h 7300"/>
                <a:gd name="T10" fmla="*/ 1313181 w 7423"/>
                <a:gd name="T11" fmla="*/ 2165434 h 7300"/>
                <a:gd name="T12" fmla="*/ 1354981 w 7423"/>
                <a:gd name="T13" fmla="*/ 2070897 h 7300"/>
                <a:gd name="T14" fmla="*/ 1320538 w 7423"/>
                <a:gd name="T15" fmla="*/ 1879839 h 7300"/>
                <a:gd name="T16" fmla="*/ 1246970 w 7423"/>
                <a:gd name="T17" fmla="*/ 1848106 h 7300"/>
                <a:gd name="T18" fmla="*/ 1112208 w 7423"/>
                <a:gd name="T19" fmla="*/ 1787615 h 7300"/>
                <a:gd name="T20" fmla="*/ 1026602 w 7423"/>
                <a:gd name="T21" fmla="*/ 1761171 h 7300"/>
                <a:gd name="T22" fmla="*/ 928623 w 7423"/>
                <a:gd name="T23" fmla="*/ 1787615 h 7300"/>
                <a:gd name="T24" fmla="*/ 837667 w 7423"/>
                <a:gd name="T25" fmla="*/ 1746296 h 7300"/>
                <a:gd name="T26" fmla="*/ 685850 w 7423"/>
                <a:gd name="T27" fmla="*/ 1598871 h 7300"/>
                <a:gd name="T28" fmla="*/ 698223 w 7423"/>
                <a:gd name="T29" fmla="*/ 1451115 h 7300"/>
                <a:gd name="T30" fmla="*/ 732332 w 7423"/>
                <a:gd name="T31" fmla="*/ 1237910 h 7300"/>
                <a:gd name="T32" fmla="*/ 673477 w 7423"/>
                <a:gd name="T33" fmla="*/ 1203864 h 7300"/>
                <a:gd name="T34" fmla="*/ 617299 w 7423"/>
                <a:gd name="T35" fmla="*/ 1174775 h 7300"/>
                <a:gd name="T36" fmla="*/ 651742 w 7423"/>
                <a:gd name="T37" fmla="*/ 1000575 h 7300"/>
                <a:gd name="T38" fmla="*/ 624655 w 7423"/>
                <a:gd name="T39" fmla="*/ 813814 h 7300"/>
                <a:gd name="T40" fmla="*/ 565801 w 7423"/>
                <a:gd name="T41" fmla="*/ 811501 h 7300"/>
                <a:gd name="T42" fmla="*/ 413985 w 7423"/>
                <a:gd name="T43" fmla="*/ 789684 h 7300"/>
                <a:gd name="T44" fmla="*/ 340417 w 7423"/>
                <a:gd name="T45" fmla="*/ 707377 h 7300"/>
                <a:gd name="T46" fmla="*/ 247454 w 7423"/>
                <a:gd name="T47" fmla="*/ 671017 h 7300"/>
                <a:gd name="T48" fmla="*/ 188600 w 7423"/>
                <a:gd name="T49" fmla="*/ 644573 h 7300"/>
                <a:gd name="T50" fmla="*/ 29427 w 7423"/>
                <a:gd name="T51" fmla="*/ 612840 h 7300"/>
                <a:gd name="T52" fmla="*/ 85606 w 7423"/>
                <a:gd name="T53" fmla="*/ 547391 h 7300"/>
                <a:gd name="T54" fmla="*/ 183584 w 7423"/>
                <a:gd name="T55" fmla="*/ 499131 h 7300"/>
                <a:gd name="T56" fmla="*/ 325704 w 7423"/>
                <a:gd name="T57" fmla="*/ 431368 h 7300"/>
                <a:gd name="T58" fmla="*/ 431039 w 7423"/>
                <a:gd name="T59" fmla="*/ 360961 h 7300"/>
                <a:gd name="T60" fmla="*/ 492234 w 7423"/>
                <a:gd name="T61" fmla="*/ 300470 h 7300"/>
                <a:gd name="T62" fmla="*/ 573158 w 7423"/>
                <a:gd name="T63" fmla="*/ 285926 h 7300"/>
                <a:gd name="T64" fmla="*/ 757077 w 7423"/>
                <a:gd name="T65" fmla="*/ 346417 h 7300"/>
                <a:gd name="T66" fmla="*/ 864753 w 7423"/>
                <a:gd name="T67" fmla="*/ 370547 h 7300"/>
                <a:gd name="T68" fmla="*/ 945677 w 7423"/>
                <a:gd name="T69" fmla="*/ 404593 h 7300"/>
                <a:gd name="T70" fmla="*/ 1019245 w 7423"/>
                <a:gd name="T71" fmla="*/ 440954 h 7300"/>
                <a:gd name="T72" fmla="*/ 1131937 w 7423"/>
                <a:gd name="T73" fmla="*/ 419138 h 7300"/>
                <a:gd name="T74" fmla="*/ 1188116 w 7423"/>
                <a:gd name="T75" fmla="*/ 419138 h 7300"/>
                <a:gd name="T76" fmla="*/ 1288770 w 7423"/>
                <a:gd name="T77" fmla="*/ 382777 h 7300"/>
                <a:gd name="T78" fmla="*/ 1394105 w 7423"/>
                <a:gd name="T79" fmla="*/ 339144 h 7300"/>
                <a:gd name="T80" fmla="*/ 1460316 w 7423"/>
                <a:gd name="T81" fmla="*/ 295512 h 7300"/>
                <a:gd name="T82" fmla="*/ 1536224 w 7423"/>
                <a:gd name="T83" fmla="*/ 155028 h 7300"/>
                <a:gd name="T84" fmla="*/ 1651257 w 7423"/>
                <a:gd name="T85" fmla="*/ 65449 h 7300"/>
                <a:gd name="T86" fmla="*/ 1722484 w 7423"/>
                <a:gd name="T87" fmla="*/ 65449 h 7300"/>
                <a:gd name="T88" fmla="*/ 1805749 w 7423"/>
                <a:gd name="T89" fmla="*/ 116354 h 7300"/>
                <a:gd name="T90" fmla="*/ 1889014 w 7423"/>
                <a:gd name="T91" fmla="*/ 109082 h 7300"/>
                <a:gd name="T92" fmla="*/ 1967263 w 7423"/>
                <a:gd name="T93" fmla="*/ 164945 h 7300"/>
                <a:gd name="T94" fmla="*/ 1972279 w 7423"/>
                <a:gd name="T95" fmla="*/ 307742 h 7300"/>
                <a:gd name="T96" fmla="*/ 2082630 w 7423"/>
                <a:gd name="T97" fmla="*/ 220477 h 7300"/>
                <a:gd name="T98" fmla="*/ 2033474 w 7423"/>
                <a:gd name="T99" fmla="*/ 571852 h 7300"/>
                <a:gd name="T100" fmla="*/ 1989668 w 7423"/>
                <a:gd name="T101" fmla="*/ 780098 h 7300"/>
                <a:gd name="T102" fmla="*/ 2153523 w 7423"/>
                <a:gd name="T103" fmla="*/ 930168 h 7300"/>
                <a:gd name="T104" fmla="*/ 2285944 w 7423"/>
                <a:gd name="T105" fmla="*/ 1167503 h 7300"/>
                <a:gd name="T106" fmla="*/ 2344798 w 7423"/>
                <a:gd name="T107" fmla="*/ 1375750 h 7300"/>
                <a:gd name="T108" fmla="*/ 2386264 w 7423"/>
                <a:gd name="T109" fmla="*/ 1463015 h 7300"/>
                <a:gd name="T110" fmla="*/ 2408334 w 7423"/>
                <a:gd name="T111" fmla="*/ 1722166 h 7300"/>
                <a:gd name="T112" fmla="*/ 2462507 w 7423"/>
                <a:gd name="T113" fmla="*/ 2024950 h 7300"/>
                <a:gd name="T114" fmla="*/ 2396296 w 7423"/>
                <a:gd name="T115" fmla="*/ 2165434 h 7300"/>
                <a:gd name="T116" fmla="*/ 2310355 w 7423"/>
                <a:gd name="T117" fmla="*/ 2155848 h 7300"/>
                <a:gd name="T118" fmla="*/ 2180609 w 7423"/>
                <a:gd name="T119" fmla="*/ 2225925 h 7300"/>
                <a:gd name="T120" fmla="*/ 2087646 w 7423"/>
                <a:gd name="T121" fmla="*/ 2189564 h 7300"/>
                <a:gd name="T122" fmla="*/ 1996690 w 7423"/>
                <a:gd name="T123" fmla="*/ 2315504 h 7300"/>
                <a:gd name="T124" fmla="*/ 1886673 w 7423"/>
                <a:gd name="T125" fmla="*/ 2383597 h 730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423" h="7300">
                  <a:moveTo>
                    <a:pt x="5275" y="7299"/>
                  </a:moveTo>
                  <a:lnTo>
                    <a:pt x="5275" y="7299"/>
                  </a:lnTo>
                  <a:cubicBezTo>
                    <a:pt x="5217" y="7299"/>
                    <a:pt x="5158" y="7284"/>
                    <a:pt x="5107" y="7277"/>
                  </a:cubicBezTo>
                  <a:cubicBezTo>
                    <a:pt x="5077" y="7269"/>
                    <a:pt x="5048" y="7262"/>
                    <a:pt x="5026" y="7262"/>
                  </a:cubicBezTo>
                  <a:cubicBezTo>
                    <a:pt x="4990" y="7255"/>
                    <a:pt x="4960" y="7255"/>
                    <a:pt x="4931" y="7255"/>
                  </a:cubicBezTo>
                  <a:cubicBezTo>
                    <a:pt x="4909" y="7255"/>
                    <a:pt x="4887" y="7255"/>
                    <a:pt x="4865" y="7255"/>
                  </a:cubicBezTo>
                  <a:cubicBezTo>
                    <a:pt x="4836" y="7247"/>
                    <a:pt x="4843" y="7218"/>
                    <a:pt x="4843" y="7211"/>
                  </a:cubicBezTo>
                  <a:cubicBezTo>
                    <a:pt x="4843" y="7203"/>
                    <a:pt x="4843" y="7196"/>
                    <a:pt x="4843" y="7189"/>
                  </a:cubicBezTo>
                  <a:cubicBezTo>
                    <a:pt x="4843" y="7189"/>
                    <a:pt x="4843" y="7189"/>
                    <a:pt x="4821" y="7181"/>
                  </a:cubicBezTo>
                  <a:cubicBezTo>
                    <a:pt x="4777" y="7181"/>
                    <a:pt x="4740" y="7152"/>
                    <a:pt x="4704" y="7130"/>
                  </a:cubicBezTo>
                  <a:cubicBezTo>
                    <a:pt x="4689" y="7115"/>
                    <a:pt x="4674" y="7108"/>
                    <a:pt x="4660" y="7101"/>
                  </a:cubicBezTo>
                  <a:cubicBezTo>
                    <a:pt x="4631" y="7086"/>
                    <a:pt x="4623" y="7057"/>
                    <a:pt x="4623" y="7042"/>
                  </a:cubicBezTo>
                  <a:cubicBezTo>
                    <a:pt x="4609" y="7057"/>
                    <a:pt x="4594" y="7064"/>
                    <a:pt x="4586" y="7079"/>
                  </a:cubicBezTo>
                  <a:cubicBezTo>
                    <a:pt x="4564" y="7093"/>
                    <a:pt x="4550" y="7108"/>
                    <a:pt x="4506" y="7115"/>
                  </a:cubicBezTo>
                  <a:cubicBezTo>
                    <a:pt x="4499" y="7115"/>
                    <a:pt x="4491" y="7115"/>
                    <a:pt x="4484" y="7115"/>
                  </a:cubicBezTo>
                  <a:cubicBezTo>
                    <a:pt x="4477" y="7115"/>
                    <a:pt x="4469" y="7115"/>
                    <a:pt x="4462" y="7115"/>
                  </a:cubicBezTo>
                  <a:lnTo>
                    <a:pt x="4447" y="7138"/>
                  </a:lnTo>
                  <a:cubicBezTo>
                    <a:pt x="4425" y="7167"/>
                    <a:pt x="4411" y="7181"/>
                    <a:pt x="4389" y="7203"/>
                  </a:cubicBezTo>
                  <a:cubicBezTo>
                    <a:pt x="4374" y="7211"/>
                    <a:pt x="4359" y="7233"/>
                    <a:pt x="4337" y="7255"/>
                  </a:cubicBezTo>
                  <a:cubicBezTo>
                    <a:pt x="4323" y="7277"/>
                    <a:pt x="4308" y="7284"/>
                    <a:pt x="4286" y="7284"/>
                  </a:cubicBezTo>
                  <a:cubicBezTo>
                    <a:pt x="4257" y="7284"/>
                    <a:pt x="4235" y="7262"/>
                    <a:pt x="4220" y="7240"/>
                  </a:cubicBezTo>
                  <a:cubicBezTo>
                    <a:pt x="4205" y="7233"/>
                    <a:pt x="4198" y="7218"/>
                    <a:pt x="4191" y="7218"/>
                  </a:cubicBezTo>
                  <a:cubicBezTo>
                    <a:pt x="4154" y="7196"/>
                    <a:pt x="4140" y="7152"/>
                    <a:pt x="4169" y="7093"/>
                  </a:cubicBezTo>
                  <a:cubicBezTo>
                    <a:pt x="4176" y="7064"/>
                    <a:pt x="4176" y="7057"/>
                    <a:pt x="4169" y="7035"/>
                  </a:cubicBezTo>
                  <a:cubicBezTo>
                    <a:pt x="4161" y="7020"/>
                    <a:pt x="4161" y="7020"/>
                    <a:pt x="4161" y="7020"/>
                  </a:cubicBezTo>
                  <a:cubicBezTo>
                    <a:pt x="4161" y="7005"/>
                    <a:pt x="4154" y="6998"/>
                    <a:pt x="4147" y="6983"/>
                  </a:cubicBezTo>
                  <a:cubicBezTo>
                    <a:pt x="4140" y="6969"/>
                    <a:pt x="4132" y="6954"/>
                    <a:pt x="4132" y="6932"/>
                  </a:cubicBezTo>
                  <a:cubicBezTo>
                    <a:pt x="4132" y="6903"/>
                    <a:pt x="4154" y="6888"/>
                    <a:pt x="4169" y="6881"/>
                  </a:cubicBezTo>
                  <a:cubicBezTo>
                    <a:pt x="4176" y="6874"/>
                    <a:pt x="4183" y="6866"/>
                    <a:pt x="4198" y="6859"/>
                  </a:cubicBezTo>
                  <a:cubicBezTo>
                    <a:pt x="4198" y="6859"/>
                    <a:pt x="4198" y="6859"/>
                    <a:pt x="4198" y="6844"/>
                  </a:cubicBezTo>
                  <a:cubicBezTo>
                    <a:pt x="4191" y="6822"/>
                    <a:pt x="4169" y="6793"/>
                    <a:pt x="4147" y="6786"/>
                  </a:cubicBezTo>
                  <a:cubicBezTo>
                    <a:pt x="4125" y="6771"/>
                    <a:pt x="4125" y="6742"/>
                    <a:pt x="4125" y="6727"/>
                  </a:cubicBezTo>
                  <a:cubicBezTo>
                    <a:pt x="4125" y="6720"/>
                    <a:pt x="4125" y="6712"/>
                    <a:pt x="4125" y="6712"/>
                  </a:cubicBezTo>
                  <a:cubicBezTo>
                    <a:pt x="4118" y="6720"/>
                    <a:pt x="4110" y="6720"/>
                    <a:pt x="4110" y="6720"/>
                  </a:cubicBezTo>
                  <a:cubicBezTo>
                    <a:pt x="4066" y="6720"/>
                    <a:pt x="4044" y="6683"/>
                    <a:pt x="4037" y="6683"/>
                  </a:cubicBezTo>
                  <a:cubicBezTo>
                    <a:pt x="4037" y="6676"/>
                    <a:pt x="4037" y="6676"/>
                    <a:pt x="4037" y="6676"/>
                  </a:cubicBezTo>
                  <a:cubicBezTo>
                    <a:pt x="4044" y="6654"/>
                    <a:pt x="4044" y="6588"/>
                    <a:pt x="4022" y="6566"/>
                  </a:cubicBezTo>
                  <a:cubicBezTo>
                    <a:pt x="4000" y="6544"/>
                    <a:pt x="3993" y="6544"/>
                    <a:pt x="3978" y="6544"/>
                  </a:cubicBezTo>
                  <a:cubicBezTo>
                    <a:pt x="3971" y="6544"/>
                    <a:pt x="3956" y="6544"/>
                    <a:pt x="3934" y="6544"/>
                  </a:cubicBezTo>
                  <a:lnTo>
                    <a:pt x="3927" y="6551"/>
                  </a:lnTo>
                  <a:cubicBezTo>
                    <a:pt x="3883" y="6551"/>
                    <a:pt x="3869" y="6514"/>
                    <a:pt x="3854" y="6485"/>
                  </a:cubicBezTo>
                  <a:cubicBezTo>
                    <a:pt x="3846" y="6478"/>
                    <a:pt x="3846" y="6463"/>
                    <a:pt x="3839" y="6456"/>
                  </a:cubicBezTo>
                  <a:cubicBezTo>
                    <a:pt x="3824" y="6449"/>
                    <a:pt x="3824" y="6449"/>
                    <a:pt x="3824" y="6449"/>
                  </a:cubicBezTo>
                  <a:cubicBezTo>
                    <a:pt x="3832" y="6427"/>
                    <a:pt x="3832" y="6427"/>
                    <a:pt x="3832" y="6427"/>
                  </a:cubicBezTo>
                  <a:cubicBezTo>
                    <a:pt x="3854" y="6405"/>
                    <a:pt x="3883" y="6383"/>
                    <a:pt x="3905" y="6368"/>
                  </a:cubicBezTo>
                  <a:cubicBezTo>
                    <a:pt x="3927" y="6353"/>
                    <a:pt x="3949" y="6346"/>
                    <a:pt x="3964" y="6331"/>
                  </a:cubicBezTo>
                  <a:cubicBezTo>
                    <a:pt x="4000" y="6317"/>
                    <a:pt x="4030" y="6302"/>
                    <a:pt x="4052" y="6265"/>
                  </a:cubicBezTo>
                  <a:cubicBezTo>
                    <a:pt x="4074" y="6229"/>
                    <a:pt x="4088" y="6185"/>
                    <a:pt x="4081" y="6163"/>
                  </a:cubicBezTo>
                  <a:cubicBezTo>
                    <a:pt x="4081" y="6155"/>
                    <a:pt x="4081" y="6148"/>
                    <a:pt x="4066" y="6148"/>
                  </a:cubicBezTo>
                  <a:cubicBezTo>
                    <a:pt x="4022" y="6119"/>
                    <a:pt x="3993" y="6060"/>
                    <a:pt x="4022" y="5994"/>
                  </a:cubicBezTo>
                  <a:cubicBezTo>
                    <a:pt x="4037" y="5965"/>
                    <a:pt x="4059" y="5914"/>
                    <a:pt x="4030" y="5892"/>
                  </a:cubicBezTo>
                  <a:cubicBezTo>
                    <a:pt x="4015" y="5884"/>
                    <a:pt x="4015" y="5884"/>
                    <a:pt x="4015" y="5884"/>
                  </a:cubicBezTo>
                  <a:cubicBezTo>
                    <a:pt x="3986" y="5855"/>
                    <a:pt x="3942" y="5826"/>
                    <a:pt x="3949" y="5782"/>
                  </a:cubicBezTo>
                  <a:cubicBezTo>
                    <a:pt x="3964" y="5731"/>
                    <a:pt x="3964" y="5701"/>
                    <a:pt x="3949" y="5687"/>
                  </a:cubicBezTo>
                  <a:cubicBezTo>
                    <a:pt x="3942" y="5679"/>
                    <a:pt x="3934" y="5672"/>
                    <a:pt x="3920" y="5672"/>
                  </a:cubicBezTo>
                  <a:cubicBezTo>
                    <a:pt x="3912" y="5672"/>
                    <a:pt x="3898" y="5672"/>
                    <a:pt x="3890" y="5679"/>
                  </a:cubicBezTo>
                  <a:cubicBezTo>
                    <a:pt x="3861" y="5687"/>
                    <a:pt x="3839" y="5694"/>
                    <a:pt x="3810" y="5694"/>
                  </a:cubicBezTo>
                  <a:cubicBezTo>
                    <a:pt x="3759" y="5694"/>
                    <a:pt x="3722" y="5672"/>
                    <a:pt x="3707" y="5643"/>
                  </a:cubicBezTo>
                  <a:cubicBezTo>
                    <a:pt x="3700" y="5628"/>
                    <a:pt x="3707" y="5613"/>
                    <a:pt x="3722" y="5606"/>
                  </a:cubicBezTo>
                  <a:cubicBezTo>
                    <a:pt x="3722" y="5599"/>
                    <a:pt x="3729" y="5591"/>
                    <a:pt x="3729" y="5591"/>
                  </a:cubicBezTo>
                  <a:cubicBezTo>
                    <a:pt x="3722" y="5591"/>
                    <a:pt x="3714" y="5584"/>
                    <a:pt x="3671" y="5584"/>
                  </a:cubicBezTo>
                  <a:cubicBezTo>
                    <a:pt x="3619" y="5584"/>
                    <a:pt x="3590" y="5577"/>
                    <a:pt x="3575" y="5525"/>
                  </a:cubicBezTo>
                  <a:cubicBezTo>
                    <a:pt x="3568" y="5474"/>
                    <a:pt x="3553" y="5474"/>
                    <a:pt x="3553" y="5474"/>
                  </a:cubicBezTo>
                  <a:cubicBezTo>
                    <a:pt x="3553" y="5474"/>
                    <a:pt x="3546" y="5474"/>
                    <a:pt x="3531" y="5481"/>
                  </a:cubicBezTo>
                  <a:cubicBezTo>
                    <a:pt x="3517" y="5496"/>
                    <a:pt x="3480" y="5525"/>
                    <a:pt x="3436" y="5525"/>
                  </a:cubicBezTo>
                  <a:cubicBezTo>
                    <a:pt x="3407" y="5525"/>
                    <a:pt x="3378" y="5503"/>
                    <a:pt x="3363" y="5467"/>
                  </a:cubicBezTo>
                  <a:cubicBezTo>
                    <a:pt x="3348" y="5408"/>
                    <a:pt x="3333" y="5408"/>
                    <a:pt x="3326" y="5408"/>
                  </a:cubicBezTo>
                  <a:cubicBezTo>
                    <a:pt x="3319" y="5408"/>
                    <a:pt x="3304" y="5415"/>
                    <a:pt x="3297" y="5415"/>
                  </a:cubicBezTo>
                  <a:cubicBezTo>
                    <a:pt x="3282" y="5415"/>
                    <a:pt x="3282" y="5415"/>
                    <a:pt x="3275" y="5415"/>
                  </a:cubicBezTo>
                  <a:cubicBezTo>
                    <a:pt x="3224" y="5415"/>
                    <a:pt x="3180" y="5386"/>
                    <a:pt x="3158" y="5350"/>
                  </a:cubicBezTo>
                  <a:cubicBezTo>
                    <a:pt x="3150" y="5342"/>
                    <a:pt x="3143" y="5342"/>
                    <a:pt x="3143" y="5342"/>
                  </a:cubicBezTo>
                  <a:cubicBezTo>
                    <a:pt x="3136" y="5342"/>
                    <a:pt x="3136" y="5342"/>
                    <a:pt x="3128" y="5342"/>
                  </a:cubicBezTo>
                  <a:cubicBezTo>
                    <a:pt x="3121" y="5342"/>
                    <a:pt x="3114" y="5342"/>
                    <a:pt x="3114" y="5342"/>
                  </a:cubicBezTo>
                  <a:cubicBezTo>
                    <a:pt x="3092" y="5342"/>
                    <a:pt x="3084" y="5342"/>
                    <a:pt x="3070" y="5328"/>
                  </a:cubicBezTo>
                  <a:cubicBezTo>
                    <a:pt x="3055" y="5305"/>
                    <a:pt x="3055" y="5291"/>
                    <a:pt x="3055" y="5276"/>
                  </a:cubicBezTo>
                  <a:cubicBezTo>
                    <a:pt x="3055" y="5269"/>
                    <a:pt x="3055" y="5269"/>
                    <a:pt x="3055" y="5269"/>
                  </a:cubicBezTo>
                  <a:cubicBezTo>
                    <a:pt x="3055" y="5269"/>
                    <a:pt x="3055" y="5269"/>
                    <a:pt x="3048" y="5269"/>
                  </a:cubicBezTo>
                  <a:cubicBezTo>
                    <a:pt x="3019" y="5276"/>
                    <a:pt x="2996" y="5298"/>
                    <a:pt x="2967" y="5313"/>
                  </a:cubicBezTo>
                  <a:cubicBezTo>
                    <a:pt x="2945" y="5328"/>
                    <a:pt x="2916" y="5350"/>
                    <a:pt x="2887" y="5364"/>
                  </a:cubicBezTo>
                  <a:cubicBezTo>
                    <a:pt x="2864" y="5379"/>
                    <a:pt x="2864" y="5379"/>
                    <a:pt x="2864" y="5379"/>
                  </a:cubicBezTo>
                  <a:cubicBezTo>
                    <a:pt x="2828" y="5393"/>
                    <a:pt x="2806" y="5408"/>
                    <a:pt x="2777" y="5408"/>
                  </a:cubicBezTo>
                  <a:cubicBezTo>
                    <a:pt x="2755" y="5408"/>
                    <a:pt x="2733" y="5393"/>
                    <a:pt x="2711" y="5364"/>
                  </a:cubicBezTo>
                  <a:cubicBezTo>
                    <a:pt x="2696" y="5342"/>
                    <a:pt x="2674" y="5320"/>
                    <a:pt x="2659" y="5298"/>
                  </a:cubicBezTo>
                  <a:cubicBezTo>
                    <a:pt x="2637" y="5276"/>
                    <a:pt x="2623" y="5254"/>
                    <a:pt x="2608" y="5240"/>
                  </a:cubicBezTo>
                  <a:cubicBezTo>
                    <a:pt x="2608" y="5232"/>
                    <a:pt x="2601" y="5225"/>
                    <a:pt x="2586" y="5225"/>
                  </a:cubicBezTo>
                  <a:cubicBezTo>
                    <a:pt x="2579" y="5225"/>
                    <a:pt x="2571" y="5225"/>
                    <a:pt x="2571" y="5225"/>
                  </a:cubicBezTo>
                  <a:cubicBezTo>
                    <a:pt x="2564" y="5247"/>
                    <a:pt x="2557" y="5291"/>
                    <a:pt x="2520" y="5291"/>
                  </a:cubicBezTo>
                  <a:cubicBezTo>
                    <a:pt x="2520" y="5291"/>
                    <a:pt x="2513" y="5291"/>
                    <a:pt x="2505" y="5283"/>
                  </a:cubicBezTo>
                  <a:cubicBezTo>
                    <a:pt x="2469" y="5269"/>
                    <a:pt x="2330" y="5181"/>
                    <a:pt x="2330" y="5174"/>
                  </a:cubicBezTo>
                  <a:cubicBezTo>
                    <a:pt x="2322" y="5174"/>
                    <a:pt x="2286" y="5159"/>
                    <a:pt x="2264" y="5093"/>
                  </a:cubicBezTo>
                  <a:cubicBezTo>
                    <a:pt x="2249" y="5056"/>
                    <a:pt x="2220" y="5034"/>
                    <a:pt x="2198" y="5020"/>
                  </a:cubicBezTo>
                  <a:cubicBezTo>
                    <a:pt x="2176" y="5012"/>
                    <a:pt x="2161" y="4998"/>
                    <a:pt x="2154" y="4983"/>
                  </a:cubicBezTo>
                  <a:cubicBezTo>
                    <a:pt x="2146" y="4976"/>
                    <a:pt x="2139" y="4969"/>
                    <a:pt x="2124" y="4954"/>
                  </a:cubicBezTo>
                  <a:cubicBezTo>
                    <a:pt x="2095" y="4924"/>
                    <a:pt x="2059" y="4881"/>
                    <a:pt x="2051" y="4837"/>
                  </a:cubicBezTo>
                  <a:cubicBezTo>
                    <a:pt x="2029" y="4778"/>
                    <a:pt x="2029" y="4727"/>
                    <a:pt x="2073" y="4668"/>
                  </a:cubicBezTo>
                  <a:cubicBezTo>
                    <a:pt x="2102" y="4639"/>
                    <a:pt x="2117" y="4631"/>
                    <a:pt x="2139" y="4624"/>
                  </a:cubicBezTo>
                  <a:cubicBezTo>
                    <a:pt x="2146" y="4624"/>
                    <a:pt x="2154" y="4624"/>
                    <a:pt x="2161" y="4617"/>
                  </a:cubicBezTo>
                  <a:cubicBezTo>
                    <a:pt x="2169" y="4602"/>
                    <a:pt x="2146" y="4588"/>
                    <a:pt x="2139" y="4580"/>
                  </a:cubicBezTo>
                  <a:cubicBezTo>
                    <a:pt x="2124" y="4573"/>
                    <a:pt x="2110" y="4565"/>
                    <a:pt x="2102" y="4551"/>
                  </a:cubicBezTo>
                  <a:cubicBezTo>
                    <a:pt x="2066" y="4514"/>
                    <a:pt x="2073" y="4478"/>
                    <a:pt x="2088" y="4397"/>
                  </a:cubicBezTo>
                  <a:cubicBezTo>
                    <a:pt x="2088" y="4390"/>
                    <a:pt x="2088" y="4390"/>
                    <a:pt x="2088" y="4390"/>
                  </a:cubicBezTo>
                  <a:cubicBezTo>
                    <a:pt x="2102" y="4331"/>
                    <a:pt x="2124" y="4302"/>
                    <a:pt x="2146" y="4272"/>
                  </a:cubicBezTo>
                  <a:cubicBezTo>
                    <a:pt x="2161" y="4258"/>
                    <a:pt x="2176" y="4250"/>
                    <a:pt x="2176" y="4236"/>
                  </a:cubicBezTo>
                  <a:cubicBezTo>
                    <a:pt x="2183" y="4214"/>
                    <a:pt x="2176" y="4192"/>
                    <a:pt x="2169" y="4162"/>
                  </a:cubicBezTo>
                  <a:cubicBezTo>
                    <a:pt x="2161" y="4148"/>
                    <a:pt x="2154" y="4133"/>
                    <a:pt x="2146" y="4111"/>
                  </a:cubicBezTo>
                  <a:cubicBezTo>
                    <a:pt x="2139" y="4060"/>
                    <a:pt x="2132" y="3913"/>
                    <a:pt x="2169" y="3862"/>
                  </a:cubicBezTo>
                  <a:cubicBezTo>
                    <a:pt x="2212" y="3811"/>
                    <a:pt x="2234" y="3774"/>
                    <a:pt x="2212" y="3752"/>
                  </a:cubicBezTo>
                  <a:cubicBezTo>
                    <a:pt x="2205" y="3745"/>
                    <a:pt x="2198" y="3745"/>
                    <a:pt x="2190" y="3745"/>
                  </a:cubicBezTo>
                  <a:cubicBezTo>
                    <a:pt x="2183" y="3745"/>
                    <a:pt x="2176" y="3745"/>
                    <a:pt x="2176" y="3745"/>
                  </a:cubicBezTo>
                  <a:cubicBezTo>
                    <a:pt x="2161" y="3745"/>
                    <a:pt x="2154" y="3752"/>
                    <a:pt x="2146" y="3752"/>
                  </a:cubicBezTo>
                  <a:cubicBezTo>
                    <a:pt x="2132" y="3752"/>
                    <a:pt x="2117" y="3745"/>
                    <a:pt x="2110" y="3737"/>
                  </a:cubicBezTo>
                  <a:cubicBezTo>
                    <a:pt x="2073" y="3723"/>
                    <a:pt x="2073" y="3686"/>
                    <a:pt x="2066" y="3657"/>
                  </a:cubicBezTo>
                  <a:cubicBezTo>
                    <a:pt x="2066" y="3642"/>
                    <a:pt x="2059" y="3628"/>
                    <a:pt x="2059" y="3620"/>
                  </a:cubicBezTo>
                  <a:cubicBezTo>
                    <a:pt x="2051" y="3620"/>
                    <a:pt x="2044" y="3620"/>
                    <a:pt x="2044" y="3620"/>
                  </a:cubicBezTo>
                  <a:cubicBezTo>
                    <a:pt x="2037" y="3620"/>
                    <a:pt x="2029" y="3628"/>
                    <a:pt x="2014" y="3642"/>
                  </a:cubicBezTo>
                  <a:cubicBezTo>
                    <a:pt x="1956" y="3701"/>
                    <a:pt x="1927" y="3701"/>
                    <a:pt x="1919" y="3701"/>
                  </a:cubicBezTo>
                  <a:cubicBezTo>
                    <a:pt x="1912" y="3701"/>
                    <a:pt x="1890" y="3701"/>
                    <a:pt x="1883" y="3671"/>
                  </a:cubicBezTo>
                  <a:cubicBezTo>
                    <a:pt x="1883" y="3628"/>
                    <a:pt x="1890" y="3613"/>
                    <a:pt x="1905" y="3598"/>
                  </a:cubicBezTo>
                  <a:cubicBezTo>
                    <a:pt x="1905" y="3591"/>
                    <a:pt x="1912" y="3583"/>
                    <a:pt x="1912" y="3583"/>
                  </a:cubicBezTo>
                  <a:cubicBezTo>
                    <a:pt x="1912" y="3583"/>
                    <a:pt x="1883" y="3576"/>
                    <a:pt x="1861" y="3569"/>
                  </a:cubicBezTo>
                  <a:cubicBezTo>
                    <a:pt x="1839" y="3569"/>
                    <a:pt x="1839" y="3569"/>
                    <a:pt x="1839" y="3569"/>
                  </a:cubicBezTo>
                  <a:cubicBezTo>
                    <a:pt x="1846" y="3554"/>
                    <a:pt x="1846" y="3554"/>
                    <a:pt x="1846" y="3554"/>
                  </a:cubicBezTo>
                  <a:cubicBezTo>
                    <a:pt x="1846" y="3554"/>
                    <a:pt x="1853" y="3518"/>
                    <a:pt x="1868" y="3466"/>
                  </a:cubicBezTo>
                  <a:cubicBezTo>
                    <a:pt x="1875" y="3444"/>
                    <a:pt x="1875" y="3408"/>
                    <a:pt x="1875" y="3378"/>
                  </a:cubicBezTo>
                  <a:cubicBezTo>
                    <a:pt x="1875" y="3349"/>
                    <a:pt x="1875" y="3320"/>
                    <a:pt x="1890" y="3298"/>
                  </a:cubicBezTo>
                  <a:cubicBezTo>
                    <a:pt x="1897" y="3283"/>
                    <a:pt x="1919" y="3276"/>
                    <a:pt x="1934" y="3269"/>
                  </a:cubicBezTo>
                  <a:cubicBezTo>
                    <a:pt x="1949" y="3261"/>
                    <a:pt x="1971" y="3254"/>
                    <a:pt x="1971" y="3239"/>
                  </a:cubicBezTo>
                  <a:cubicBezTo>
                    <a:pt x="1978" y="3232"/>
                    <a:pt x="2022" y="3173"/>
                    <a:pt x="1971" y="3078"/>
                  </a:cubicBezTo>
                  <a:cubicBezTo>
                    <a:pt x="1963" y="3056"/>
                    <a:pt x="1956" y="3041"/>
                    <a:pt x="1949" y="3027"/>
                  </a:cubicBezTo>
                  <a:cubicBezTo>
                    <a:pt x="1919" y="2975"/>
                    <a:pt x="1897" y="2939"/>
                    <a:pt x="1919" y="2902"/>
                  </a:cubicBezTo>
                  <a:cubicBezTo>
                    <a:pt x="1934" y="2880"/>
                    <a:pt x="1934" y="2858"/>
                    <a:pt x="1919" y="2836"/>
                  </a:cubicBezTo>
                  <a:cubicBezTo>
                    <a:pt x="1919" y="2829"/>
                    <a:pt x="1912" y="2821"/>
                    <a:pt x="1912" y="2814"/>
                  </a:cubicBezTo>
                  <a:cubicBezTo>
                    <a:pt x="1905" y="2778"/>
                    <a:pt x="1927" y="2733"/>
                    <a:pt x="1985" y="2704"/>
                  </a:cubicBezTo>
                  <a:cubicBezTo>
                    <a:pt x="2014" y="2682"/>
                    <a:pt x="2007" y="2653"/>
                    <a:pt x="1993" y="2602"/>
                  </a:cubicBezTo>
                  <a:cubicBezTo>
                    <a:pt x="1971" y="2558"/>
                    <a:pt x="1897" y="2470"/>
                    <a:pt x="1875" y="2462"/>
                  </a:cubicBezTo>
                  <a:lnTo>
                    <a:pt x="1868" y="2462"/>
                  </a:lnTo>
                  <a:cubicBezTo>
                    <a:pt x="1861" y="2462"/>
                    <a:pt x="1861" y="2470"/>
                    <a:pt x="1853" y="2484"/>
                  </a:cubicBezTo>
                  <a:cubicBezTo>
                    <a:pt x="1839" y="2499"/>
                    <a:pt x="1831" y="2514"/>
                    <a:pt x="1802" y="2521"/>
                  </a:cubicBezTo>
                  <a:cubicBezTo>
                    <a:pt x="1795" y="2528"/>
                    <a:pt x="1795" y="2528"/>
                    <a:pt x="1788" y="2528"/>
                  </a:cubicBezTo>
                  <a:cubicBezTo>
                    <a:pt x="1758" y="2528"/>
                    <a:pt x="1751" y="2499"/>
                    <a:pt x="1743" y="2470"/>
                  </a:cubicBezTo>
                  <a:cubicBezTo>
                    <a:pt x="1743" y="2462"/>
                    <a:pt x="1736" y="2448"/>
                    <a:pt x="1736" y="2440"/>
                  </a:cubicBezTo>
                  <a:cubicBezTo>
                    <a:pt x="1729" y="2448"/>
                    <a:pt x="1714" y="2455"/>
                    <a:pt x="1692" y="2455"/>
                  </a:cubicBezTo>
                  <a:cubicBezTo>
                    <a:pt x="1685" y="2455"/>
                    <a:pt x="1685" y="2455"/>
                    <a:pt x="1678" y="2455"/>
                  </a:cubicBezTo>
                  <a:cubicBezTo>
                    <a:pt x="1648" y="2455"/>
                    <a:pt x="1648" y="2455"/>
                    <a:pt x="1648" y="2455"/>
                  </a:cubicBezTo>
                  <a:cubicBezTo>
                    <a:pt x="1612" y="2448"/>
                    <a:pt x="1575" y="2440"/>
                    <a:pt x="1546" y="2440"/>
                  </a:cubicBezTo>
                  <a:cubicBezTo>
                    <a:pt x="1538" y="2440"/>
                    <a:pt x="1531" y="2440"/>
                    <a:pt x="1531" y="2440"/>
                  </a:cubicBezTo>
                  <a:cubicBezTo>
                    <a:pt x="1516" y="2448"/>
                    <a:pt x="1487" y="2448"/>
                    <a:pt x="1450" y="2448"/>
                  </a:cubicBezTo>
                  <a:cubicBezTo>
                    <a:pt x="1421" y="2448"/>
                    <a:pt x="1362" y="2448"/>
                    <a:pt x="1319" y="2419"/>
                  </a:cubicBezTo>
                  <a:cubicBezTo>
                    <a:pt x="1289" y="2411"/>
                    <a:pt x="1260" y="2396"/>
                    <a:pt x="1238" y="2389"/>
                  </a:cubicBezTo>
                  <a:cubicBezTo>
                    <a:pt x="1194" y="2374"/>
                    <a:pt x="1164" y="2360"/>
                    <a:pt x="1150" y="2338"/>
                  </a:cubicBezTo>
                  <a:cubicBezTo>
                    <a:pt x="1128" y="2309"/>
                    <a:pt x="1150" y="2264"/>
                    <a:pt x="1164" y="2228"/>
                  </a:cubicBezTo>
                  <a:lnTo>
                    <a:pt x="1164" y="2221"/>
                  </a:lnTo>
                  <a:cubicBezTo>
                    <a:pt x="1164" y="2213"/>
                    <a:pt x="1150" y="2206"/>
                    <a:pt x="1135" y="2206"/>
                  </a:cubicBezTo>
                  <a:cubicBezTo>
                    <a:pt x="1128" y="2206"/>
                    <a:pt x="1121" y="2213"/>
                    <a:pt x="1113" y="2221"/>
                  </a:cubicBezTo>
                  <a:cubicBezTo>
                    <a:pt x="1106" y="2221"/>
                    <a:pt x="1099" y="2221"/>
                    <a:pt x="1084" y="2221"/>
                  </a:cubicBezTo>
                  <a:cubicBezTo>
                    <a:pt x="1047" y="2221"/>
                    <a:pt x="1025" y="2162"/>
                    <a:pt x="1018" y="2140"/>
                  </a:cubicBezTo>
                  <a:cubicBezTo>
                    <a:pt x="996" y="2111"/>
                    <a:pt x="981" y="2103"/>
                    <a:pt x="974" y="2103"/>
                  </a:cubicBezTo>
                  <a:cubicBezTo>
                    <a:pt x="959" y="2103"/>
                    <a:pt x="952" y="2111"/>
                    <a:pt x="938" y="2118"/>
                  </a:cubicBezTo>
                  <a:cubicBezTo>
                    <a:pt x="930" y="2118"/>
                    <a:pt x="930" y="2118"/>
                    <a:pt x="930" y="2118"/>
                  </a:cubicBezTo>
                  <a:cubicBezTo>
                    <a:pt x="908" y="2133"/>
                    <a:pt x="886" y="2147"/>
                    <a:pt x="871" y="2147"/>
                  </a:cubicBezTo>
                  <a:cubicBezTo>
                    <a:pt x="857" y="2147"/>
                    <a:pt x="835" y="2140"/>
                    <a:pt x="835" y="2103"/>
                  </a:cubicBezTo>
                  <a:cubicBezTo>
                    <a:pt x="828" y="2067"/>
                    <a:pt x="828" y="2067"/>
                    <a:pt x="791" y="2059"/>
                  </a:cubicBezTo>
                  <a:cubicBezTo>
                    <a:pt x="762" y="2052"/>
                    <a:pt x="747" y="2045"/>
                    <a:pt x="740" y="2030"/>
                  </a:cubicBezTo>
                  <a:cubicBezTo>
                    <a:pt x="732" y="2008"/>
                    <a:pt x="740" y="1986"/>
                    <a:pt x="747" y="1971"/>
                  </a:cubicBezTo>
                  <a:cubicBezTo>
                    <a:pt x="754" y="1964"/>
                    <a:pt x="754" y="1957"/>
                    <a:pt x="754" y="1950"/>
                  </a:cubicBezTo>
                  <a:cubicBezTo>
                    <a:pt x="747" y="1950"/>
                    <a:pt x="732" y="1942"/>
                    <a:pt x="710" y="1942"/>
                  </a:cubicBezTo>
                  <a:cubicBezTo>
                    <a:pt x="696" y="1942"/>
                    <a:pt x="696" y="1942"/>
                    <a:pt x="696" y="1942"/>
                  </a:cubicBezTo>
                  <a:cubicBezTo>
                    <a:pt x="681" y="1942"/>
                    <a:pt x="666" y="1942"/>
                    <a:pt x="652" y="1942"/>
                  </a:cubicBezTo>
                  <a:cubicBezTo>
                    <a:pt x="637" y="1950"/>
                    <a:pt x="622" y="1950"/>
                    <a:pt x="600" y="1950"/>
                  </a:cubicBezTo>
                  <a:cubicBezTo>
                    <a:pt x="586" y="1950"/>
                    <a:pt x="578" y="1950"/>
                    <a:pt x="564" y="1950"/>
                  </a:cubicBezTo>
                  <a:cubicBezTo>
                    <a:pt x="527" y="1942"/>
                    <a:pt x="498" y="1920"/>
                    <a:pt x="469" y="1905"/>
                  </a:cubicBezTo>
                  <a:cubicBezTo>
                    <a:pt x="447" y="1891"/>
                    <a:pt x="417" y="1869"/>
                    <a:pt x="388" y="1862"/>
                  </a:cubicBezTo>
                  <a:cubicBezTo>
                    <a:pt x="381" y="1854"/>
                    <a:pt x="366" y="1854"/>
                    <a:pt x="351" y="1854"/>
                  </a:cubicBezTo>
                  <a:cubicBezTo>
                    <a:pt x="322" y="1854"/>
                    <a:pt x="285" y="1869"/>
                    <a:pt x="263" y="1883"/>
                  </a:cubicBezTo>
                  <a:cubicBezTo>
                    <a:pt x="249" y="1891"/>
                    <a:pt x="241" y="1891"/>
                    <a:pt x="234" y="1898"/>
                  </a:cubicBezTo>
                  <a:cubicBezTo>
                    <a:pt x="212" y="1905"/>
                    <a:pt x="197" y="1905"/>
                    <a:pt x="183" y="1905"/>
                  </a:cubicBezTo>
                  <a:cubicBezTo>
                    <a:pt x="146" y="1905"/>
                    <a:pt x="117" y="1891"/>
                    <a:pt x="88" y="1854"/>
                  </a:cubicBezTo>
                  <a:cubicBezTo>
                    <a:pt x="21" y="1781"/>
                    <a:pt x="0" y="1730"/>
                    <a:pt x="7" y="1708"/>
                  </a:cubicBezTo>
                  <a:cubicBezTo>
                    <a:pt x="7" y="1708"/>
                    <a:pt x="7" y="1700"/>
                    <a:pt x="14" y="1700"/>
                  </a:cubicBezTo>
                  <a:cubicBezTo>
                    <a:pt x="0" y="1693"/>
                    <a:pt x="0" y="1693"/>
                    <a:pt x="0" y="1693"/>
                  </a:cubicBezTo>
                  <a:cubicBezTo>
                    <a:pt x="43" y="1686"/>
                    <a:pt x="43" y="1686"/>
                    <a:pt x="43" y="1686"/>
                  </a:cubicBezTo>
                  <a:cubicBezTo>
                    <a:pt x="212" y="1686"/>
                    <a:pt x="212" y="1686"/>
                    <a:pt x="212" y="1686"/>
                  </a:cubicBezTo>
                  <a:cubicBezTo>
                    <a:pt x="241" y="1686"/>
                    <a:pt x="249" y="1678"/>
                    <a:pt x="256" y="1656"/>
                  </a:cubicBezTo>
                  <a:cubicBezTo>
                    <a:pt x="263" y="1620"/>
                    <a:pt x="300" y="1598"/>
                    <a:pt x="351" y="1598"/>
                  </a:cubicBezTo>
                  <a:cubicBezTo>
                    <a:pt x="366" y="1598"/>
                    <a:pt x="373" y="1598"/>
                    <a:pt x="388" y="1605"/>
                  </a:cubicBezTo>
                  <a:cubicBezTo>
                    <a:pt x="432" y="1605"/>
                    <a:pt x="461" y="1627"/>
                    <a:pt x="490" y="1642"/>
                  </a:cubicBezTo>
                  <a:cubicBezTo>
                    <a:pt x="512" y="1649"/>
                    <a:pt x="527" y="1664"/>
                    <a:pt x="534" y="1664"/>
                  </a:cubicBezTo>
                  <a:cubicBezTo>
                    <a:pt x="549" y="1634"/>
                    <a:pt x="549" y="1627"/>
                    <a:pt x="556" y="1576"/>
                  </a:cubicBezTo>
                  <a:cubicBezTo>
                    <a:pt x="556" y="1561"/>
                    <a:pt x="556" y="1561"/>
                    <a:pt x="556" y="1561"/>
                  </a:cubicBezTo>
                  <a:cubicBezTo>
                    <a:pt x="564" y="1546"/>
                    <a:pt x="556" y="1524"/>
                    <a:pt x="549" y="1510"/>
                  </a:cubicBezTo>
                  <a:cubicBezTo>
                    <a:pt x="534" y="1488"/>
                    <a:pt x="527" y="1451"/>
                    <a:pt x="556" y="1414"/>
                  </a:cubicBezTo>
                  <a:cubicBezTo>
                    <a:pt x="600" y="1356"/>
                    <a:pt x="630" y="1327"/>
                    <a:pt x="681" y="1297"/>
                  </a:cubicBezTo>
                  <a:cubicBezTo>
                    <a:pt x="688" y="1290"/>
                    <a:pt x="703" y="1283"/>
                    <a:pt x="710" y="1275"/>
                  </a:cubicBezTo>
                  <a:cubicBezTo>
                    <a:pt x="732" y="1253"/>
                    <a:pt x="762" y="1231"/>
                    <a:pt x="791" y="1231"/>
                  </a:cubicBezTo>
                  <a:cubicBezTo>
                    <a:pt x="806" y="1231"/>
                    <a:pt x="813" y="1231"/>
                    <a:pt x="828" y="1239"/>
                  </a:cubicBezTo>
                  <a:cubicBezTo>
                    <a:pt x="842" y="1246"/>
                    <a:pt x="864" y="1253"/>
                    <a:pt x="879" y="1268"/>
                  </a:cubicBezTo>
                  <a:cubicBezTo>
                    <a:pt x="915" y="1283"/>
                    <a:pt x="952" y="1305"/>
                    <a:pt x="974" y="1305"/>
                  </a:cubicBezTo>
                  <a:cubicBezTo>
                    <a:pt x="981" y="1305"/>
                    <a:pt x="989" y="1305"/>
                    <a:pt x="989" y="1297"/>
                  </a:cubicBezTo>
                  <a:cubicBezTo>
                    <a:pt x="1011" y="1290"/>
                    <a:pt x="1025" y="1283"/>
                    <a:pt x="1047" y="1275"/>
                  </a:cubicBezTo>
                  <a:cubicBezTo>
                    <a:pt x="1069" y="1268"/>
                    <a:pt x="1091" y="1261"/>
                    <a:pt x="1099" y="1246"/>
                  </a:cubicBezTo>
                  <a:cubicBezTo>
                    <a:pt x="1113" y="1217"/>
                    <a:pt x="1128" y="1202"/>
                    <a:pt x="1150" y="1187"/>
                  </a:cubicBezTo>
                  <a:cubicBezTo>
                    <a:pt x="1164" y="1180"/>
                    <a:pt x="1179" y="1165"/>
                    <a:pt x="1194" y="1158"/>
                  </a:cubicBezTo>
                  <a:cubicBezTo>
                    <a:pt x="1201" y="1151"/>
                    <a:pt x="1209" y="1143"/>
                    <a:pt x="1216" y="1136"/>
                  </a:cubicBezTo>
                  <a:cubicBezTo>
                    <a:pt x="1245" y="1114"/>
                    <a:pt x="1267" y="1092"/>
                    <a:pt x="1289" y="1092"/>
                  </a:cubicBezTo>
                  <a:cubicBezTo>
                    <a:pt x="1304" y="1092"/>
                    <a:pt x="1311" y="1100"/>
                    <a:pt x="1326" y="1107"/>
                  </a:cubicBezTo>
                  <a:cubicBezTo>
                    <a:pt x="1333" y="1107"/>
                    <a:pt x="1333" y="1114"/>
                    <a:pt x="1340" y="1114"/>
                  </a:cubicBezTo>
                  <a:cubicBezTo>
                    <a:pt x="1355" y="1114"/>
                    <a:pt x="1362" y="1100"/>
                    <a:pt x="1370" y="1085"/>
                  </a:cubicBezTo>
                  <a:cubicBezTo>
                    <a:pt x="1370" y="1078"/>
                    <a:pt x="1370" y="1078"/>
                    <a:pt x="1370" y="1070"/>
                  </a:cubicBezTo>
                  <a:cubicBezTo>
                    <a:pt x="1377" y="1048"/>
                    <a:pt x="1384" y="1041"/>
                    <a:pt x="1428" y="1033"/>
                  </a:cubicBezTo>
                  <a:cubicBezTo>
                    <a:pt x="1472" y="1026"/>
                    <a:pt x="1472" y="946"/>
                    <a:pt x="1472" y="924"/>
                  </a:cubicBezTo>
                  <a:cubicBezTo>
                    <a:pt x="1472" y="909"/>
                    <a:pt x="1472" y="909"/>
                    <a:pt x="1472" y="909"/>
                  </a:cubicBezTo>
                  <a:cubicBezTo>
                    <a:pt x="1480" y="909"/>
                    <a:pt x="1480" y="909"/>
                    <a:pt x="1480" y="909"/>
                  </a:cubicBezTo>
                  <a:cubicBezTo>
                    <a:pt x="1487" y="902"/>
                    <a:pt x="1531" y="894"/>
                    <a:pt x="1538" y="858"/>
                  </a:cubicBezTo>
                  <a:cubicBezTo>
                    <a:pt x="1538" y="843"/>
                    <a:pt x="1546" y="814"/>
                    <a:pt x="1568" y="814"/>
                  </a:cubicBezTo>
                  <a:cubicBezTo>
                    <a:pt x="1575" y="814"/>
                    <a:pt x="1582" y="828"/>
                    <a:pt x="1604" y="843"/>
                  </a:cubicBezTo>
                  <a:cubicBezTo>
                    <a:pt x="1604" y="850"/>
                    <a:pt x="1612" y="858"/>
                    <a:pt x="1626" y="865"/>
                  </a:cubicBezTo>
                  <a:cubicBezTo>
                    <a:pt x="1641" y="880"/>
                    <a:pt x="1648" y="887"/>
                    <a:pt x="1663" y="887"/>
                  </a:cubicBezTo>
                  <a:cubicBezTo>
                    <a:pt x="1678" y="887"/>
                    <a:pt x="1700" y="880"/>
                    <a:pt x="1714" y="865"/>
                  </a:cubicBezTo>
                  <a:cubicBezTo>
                    <a:pt x="1736" y="850"/>
                    <a:pt x="1780" y="821"/>
                    <a:pt x="1831" y="821"/>
                  </a:cubicBezTo>
                  <a:cubicBezTo>
                    <a:pt x="1839" y="821"/>
                    <a:pt x="1846" y="821"/>
                    <a:pt x="1853" y="821"/>
                  </a:cubicBezTo>
                  <a:cubicBezTo>
                    <a:pt x="1883" y="828"/>
                    <a:pt x="1897" y="843"/>
                    <a:pt x="1905" y="865"/>
                  </a:cubicBezTo>
                  <a:cubicBezTo>
                    <a:pt x="1912" y="872"/>
                    <a:pt x="1919" y="887"/>
                    <a:pt x="1934" y="887"/>
                  </a:cubicBezTo>
                  <a:cubicBezTo>
                    <a:pt x="1949" y="902"/>
                    <a:pt x="1971" y="902"/>
                    <a:pt x="1993" y="902"/>
                  </a:cubicBezTo>
                  <a:cubicBezTo>
                    <a:pt x="2014" y="902"/>
                    <a:pt x="2029" y="902"/>
                    <a:pt x="2059" y="909"/>
                  </a:cubicBezTo>
                  <a:cubicBezTo>
                    <a:pt x="2132" y="916"/>
                    <a:pt x="2249" y="1033"/>
                    <a:pt x="2264" y="1048"/>
                  </a:cubicBezTo>
                  <a:cubicBezTo>
                    <a:pt x="2271" y="1055"/>
                    <a:pt x="2278" y="1070"/>
                    <a:pt x="2286" y="1092"/>
                  </a:cubicBezTo>
                  <a:cubicBezTo>
                    <a:pt x="2308" y="1121"/>
                    <a:pt x="2322" y="1151"/>
                    <a:pt x="2352" y="1151"/>
                  </a:cubicBezTo>
                  <a:cubicBezTo>
                    <a:pt x="2359" y="1151"/>
                    <a:pt x="2366" y="1143"/>
                    <a:pt x="2374" y="1143"/>
                  </a:cubicBezTo>
                  <a:cubicBezTo>
                    <a:pt x="2396" y="1136"/>
                    <a:pt x="2418" y="1129"/>
                    <a:pt x="2432" y="1121"/>
                  </a:cubicBezTo>
                  <a:cubicBezTo>
                    <a:pt x="2462" y="1114"/>
                    <a:pt x="2483" y="1107"/>
                    <a:pt x="2513" y="1107"/>
                  </a:cubicBezTo>
                  <a:cubicBezTo>
                    <a:pt x="2528" y="1107"/>
                    <a:pt x="2535" y="1107"/>
                    <a:pt x="2550" y="1107"/>
                  </a:cubicBezTo>
                  <a:cubicBezTo>
                    <a:pt x="2564" y="1114"/>
                    <a:pt x="2571" y="1114"/>
                    <a:pt x="2586" y="1121"/>
                  </a:cubicBezTo>
                  <a:cubicBezTo>
                    <a:pt x="2601" y="1129"/>
                    <a:pt x="2615" y="1129"/>
                    <a:pt x="2630" y="1129"/>
                  </a:cubicBezTo>
                  <a:cubicBezTo>
                    <a:pt x="2645" y="1129"/>
                    <a:pt x="2659" y="1129"/>
                    <a:pt x="2674" y="1121"/>
                  </a:cubicBezTo>
                  <a:cubicBezTo>
                    <a:pt x="2696" y="1114"/>
                    <a:pt x="2711" y="1107"/>
                    <a:pt x="2725" y="1107"/>
                  </a:cubicBezTo>
                  <a:cubicBezTo>
                    <a:pt x="2747" y="1107"/>
                    <a:pt x="2769" y="1121"/>
                    <a:pt x="2777" y="1136"/>
                  </a:cubicBezTo>
                  <a:cubicBezTo>
                    <a:pt x="2791" y="1151"/>
                    <a:pt x="2799" y="1165"/>
                    <a:pt x="2791" y="1187"/>
                  </a:cubicBezTo>
                  <a:cubicBezTo>
                    <a:pt x="2791" y="1195"/>
                    <a:pt x="2791" y="1209"/>
                    <a:pt x="2799" y="1217"/>
                  </a:cubicBezTo>
                  <a:cubicBezTo>
                    <a:pt x="2806" y="1224"/>
                    <a:pt x="2813" y="1224"/>
                    <a:pt x="2828" y="1224"/>
                  </a:cubicBezTo>
                  <a:cubicBezTo>
                    <a:pt x="2835" y="1224"/>
                    <a:pt x="2850" y="1224"/>
                    <a:pt x="2857" y="1217"/>
                  </a:cubicBezTo>
                  <a:cubicBezTo>
                    <a:pt x="2864" y="1217"/>
                    <a:pt x="2872" y="1217"/>
                    <a:pt x="2879" y="1217"/>
                  </a:cubicBezTo>
                  <a:cubicBezTo>
                    <a:pt x="2909" y="1217"/>
                    <a:pt x="2931" y="1246"/>
                    <a:pt x="2938" y="1268"/>
                  </a:cubicBezTo>
                  <a:cubicBezTo>
                    <a:pt x="2952" y="1283"/>
                    <a:pt x="2960" y="1297"/>
                    <a:pt x="2974" y="1305"/>
                  </a:cubicBezTo>
                  <a:cubicBezTo>
                    <a:pt x="2989" y="1319"/>
                    <a:pt x="2989" y="1319"/>
                    <a:pt x="2989" y="1319"/>
                  </a:cubicBezTo>
                  <a:cubicBezTo>
                    <a:pt x="3011" y="1327"/>
                    <a:pt x="3019" y="1334"/>
                    <a:pt x="3033" y="1334"/>
                  </a:cubicBezTo>
                  <a:cubicBezTo>
                    <a:pt x="3040" y="1334"/>
                    <a:pt x="3040" y="1334"/>
                    <a:pt x="3048" y="1334"/>
                  </a:cubicBezTo>
                  <a:cubicBezTo>
                    <a:pt x="3084" y="1312"/>
                    <a:pt x="3180" y="1305"/>
                    <a:pt x="3187" y="1305"/>
                  </a:cubicBezTo>
                  <a:cubicBezTo>
                    <a:pt x="3194" y="1305"/>
                    <a:pt x="3194" y="1305"/>
                    <a:pt x="3194" y="1305"/>
                  </a:cubicBezTo>
                  <a:cubicBezTo>
                    <a:pt x="3209" y="1319"/>
                    <a:pt x="3224" y="1327"/>
                    <a:pt x="3245" y="1327"/>
                  </a:cubicBezTo>
                  <a:cubicBezTo>
                    <a:pt x="3260" y="1327"/>
                    <a:pt x="3268" y="1327"/>
                    <a:pt x="3282" y="1319"/>
                  </a:cubicBezTo>
                  <a:cubicBezTo>
                    <a:pt x="3304" y="1319"/>
                    <a:pt x="3326" y="1297"/>
                    <a:pt x="3341" y="1290"/>
                  </a:cubicBezTo>
                  <a:cubicBezTo>
                    <a:pt x="3355" y="1275"/>
                    <a:pt x="3370" y="1268"/>
                    <a:pt x="3385" y="1268"/>
                  </a:cubicBezTo>
                  <a:cubicBezTo>
                    <a:pt x="3392" y="1268"/>
                    <a:pt x="3400" y="1268"/>
                    <a:pt x="3407" y="1283"/>
                  </a:cubicBezTo>
                  <a:cubicBezTo>
                    <a:pt x="3407" y="1297"/>
                    <a:pt x="3407" y="1312"/>
                    <a:pt x="3400" y="1327"/>
                  </a:cubicBezTo>
                  <a:cubicBezTo>
                    <a:pt x="3392" y="1349"/>
                    <a:pt x="3392" y="1371"/>
                    <a:pt x="3392" y="1378"/>
                  </a:cubicBezTo>
                  <a:cubicBezTo>
                    <a:pt x="3400" y="1378"/>
                    <a:pt x="3400" y="1378"/>
                    <a:pt x="3407" y="1378"/>
                  </a:cubicBezTo>
                  <a:cubicBezTo>
                    <a:pt x="3451" y="1378"/>
                    <a:pt x="3451" y="1378"/>
                    <a:pt x="3473" y="1349"/>
                  </a:cubicBezTo>
                  <a:cubicBezTo>
                    <a:pt x="3487" y="1327"/>
                    <a:pt x="3487" y="1327"/>
                    <a:pt x="3487" y="1327"/>
                  </a:cubicBezTo>
                  <a:cubicBezTo>
                    <a:pt x="3517" y="1290"/>
                    <a:pt x="3531" y="1283"/>
                    <a:pt x="3553" y="1268"/>
                  </a:cubicBezTo>
                  <a:cubicBezTo>
                    <a:pt x="3568" y="1261"/>
                    <a:pt x="3575" y="1261"/>
                    <a:pt x="3590" y="1246"/>
                  </a:cubicBezTo>
                  <a:cubicBezTo>
                    <a:pt x="3627" y="1224"/>
                    <a:pt x="3627" y="1209"/>
                    <a:pt x="3641" y="1187"/>
                  </a:cubicBezTo>
                  <a:cubicBezTo>
                    <a:pt x="3641" y="1180"/>
                    <a:pt x="3649" y="1165"/>
                    <a:pt x="3656" y="1151"/>
                  </a:cubicBezTo>
                  <a:cubicBezTo>
                    <a:pt x="3663" y="1136"/>
                    <a:pt x="3714" y="1063"/>
                    <a:pt x="3759" y="1063"/>
                  </a:cubicBezTo>
                  <a:cubicBezTo>
                    <a:pt x="3773" y="1063"/>
                    <a:pt x="3780" y="1063"/>
                    <a:pt x="3788" y="1070"/>
                  </a:cubicBezTo>
                  <a:cubicBezTo>
                    <a:pt x="3810" y="1085"/>
                    <a:pt x="3817" y="1107"/>
                    <a:pt x="3824" y="1121"/>
                  </a:cubicBezTo>
                  <a:cubicBezTo>
                    <a:pt x="3839" y="1151"/>
                    <a:pt x="3846" y="1158"/>
                    <a:pt x="3854" y="1158"/>
                  </a:cubicBezTo>
                  <a:cubicBezTo>
                    <a:pt x="3876" y="1158"/>
                    <a:pt x="3876" y="1158"/>
                    <a:pt x="3876" y="1158"/>
                  </a:cubicBezTo>
                  <a:cubicBezTo>
                    <a:pt x="3898" y="1158"/>
                    <a:pt x="3905" y="1158"/>
                    <a:pt x="3912" y="1114"/>
                  </a:cubicBezTo>
                  <a:cubicBezTo>
                    <a:pt x="3920" y="1041"/>
                    <a:pt x="3927" y="1019"/>
                    <a:pt x="3993" y="990"/>
                  </a:cubicBezTo>
                  <a:cubicBezTo>
                    <a:pt x="4008" y="982"/>
                    <a:pt x="4022" y="975"/>
                    <a:pt x="4037" y="968"/>
                  </a:cubicBezTo>
                  <a:cubicBezTo>
                    <a:pt x="4059" y="960"/>
                    <a:pt x="4081" y="946"/>
                    <a:pt x="4095" y="946"/>
                  </a:cubicBezTo>
                  <a:cubicBezTo>
                    <a:pt x="4110" y="946"/>
                    <a:pt x="4125" y="953"/>
                    <a:pt x="4140" y="968"/>
                  </a:cubicBezTo>
                  <a:cubicBezTo>
                    <a:pt x="4154" y="990"/>
                    <a:pt x="4161" y="1004"/>
                    <a:pt x="4169" y="1026"/>
                  </a:cubicBezTo>
                  <a:cubicBezTo>
                    <a:pt x="4183" y="1048"/>
                    <a:pt x="4191" y="1070"/>
                    <a:pt x="4205" y="1070"/>
                  </a:cubicBezTo>
                  <a:cubicBezTo>
                    <a:pt x="4235" y="1063"/>
                    <a:pt x="4235" y="1063"/>
                    <a:pt x="4242" y="1048"/>
                  </a:cubicBezTo>
                  <a:cubicBezTo>
                    <a:pt x="4242" y="1033"/>
                    <a:pt x="4250" y="1019"/>
                    <a:pt x="4257" y="997"/>
                  </a:cubicBezTo>
                  <a:cubicBezTo>
                    <a:pt x="4271" y="975"/>
                    <a:pt x="4279" y="953"/>
                    <a:pt x="4279" y="938"/>
                  </a:cubicBezTo>
                  <a:cubicBezTo>
                    <a:pt x="4286" y="916"/>
                    <a:pt x="4286" y="887"/>
                    <a:pt x="4323" y="887"/>
                  </a:cubicBezTo>
                  <a:cubicBezTo>
                    <a:pt x="4323" y="887"/>
                    <a:pt x="4330" y="887"/>
                    <a:pt x="4337" y="887"/>
                  </a:cubicBezTo>
                  <a:cubicBezTo>
                    <a:pt x="4352" y="894"/>
                    <a:pt x="4359" y="894"/>
                    <a:pt x="4367" y="894"/>
                  </a:cubicBezTo>
                  <a:cubicBezTo>
                    <a:pt x="4374" y="902"/>
                    <a:pt x="4381" y="902"/>
                    <a:pt x="4381" y="902"/>
                  </a:cubicBezTo>
                  <a:cubicBezTo>
                    <a:pt x="4389" y="902"/>
                    <a:pt x="4396" y="894"/>
                    <a:pt x="4403" y="872"/>
                  </a:cubicBezTo>
                  <a:cubicBezTo>
                    <a:pt x="4411" y="858"/>
                    <a:pt x="4418" y="836"/>
                    <a:pt x="4425" y="821"/>
                  </a:cubicBezTo>
                  <a:cubicBezTo>
                    <a:pt x="4447" y="784"/>
                    <a:pt x="4469" y="740"/>
                    <a:pt x="4462" y="711"/>
                  </a:cubicBezTo>
                  <a:cubicBezTo>
                    <a:pt x="4455" y="667"/>
                    <a:pt x="4440" y="587"/>
                    <a:pt x="4491" y="543"/>
                  </a:cubicBezTo>
                  <a:cubicBezTo>
                    <a:pt x="4506" y="535"/>
                    <a:pt x="4513" y="521"/>
                    <a:pt x="4528" y="513"/>
                  </a:cubicBezTo>
                  <a:cubicBezTo>
                    <a:pt x="4543" y="499"/>
                    <a:pt x="4557" y="484"/>
                    <a:pt x="4594" y="469"/>
                  </a:cubicBezTo>
                  <a:cubicBezTo>
                    <a:pt x="4616" y="462"/>
                    <a:pt x="4616" y="455"/>
                    <a:pt x="4631" y="433"/>
                  </a:cubicBezTo>
                  <a:cubicBezTo>
                    <a:pt x="4645" y="418"/>
                    <a:pt x="4660" y="389"/>
                    <a:pt x="4689" y="359"/>
                  </a:cubicBezTo>
                  <a:cubicBezTo>
                    <a:pt x="4748" y="279"/>
                    <a:pt x="4755" y="279"/>
                    <a:pt x="4806" y="271"/>
                  </a:cubicBezTo>
                  <a:cubicBezTo>
                    <a:pt x="4850" y="264"/>
                    <a:pt x="4850" y="264"/>
                    <a:pt x="4850" y="264"/>
                  </a:cubicBezTo>
                  <a:cubicBezTo>
                    <a:pt x="4894" y="257"/>
                    <a:pt x="4924" y="257"/>
                    <a:pt x="4953" y="228"/>
                  </a:cubicBezTo>
                  <a:cubicBezTo>
                    <a:pt x="4960" y="220"/>
                    <a:pt x="4960" y="220"/>
                    <a:pt x="4960" y="220"/>
                  </a:cubicBezTo>
                  <a:cubicBezTo>
                    <a:pt x="4960" y="213"/>
                    <a:pt x="4945" y="205"/>
                    <a:pt x="4938" y="198"/>
                  </a:cubicBezTo>
                  <a:cubicBezTo>
                    <a:pt x="4931" y="191"/>
                    <a:pt x="4916" y="183"/>
                    <a:pt x="4909" y="176"/>
                  </a:cubicBezTo>
                  <a:cubicBezTo>
                    <a:pt x="4865" y="132"/>
                    <a:pt x="4865" y="103"/>
                    <a:pt x="4887" y="37"/>
                  </a:cubicBezTo>
                  <a:cubicBezTo>
                    <a:pt x="4902" y="15"/>
                    <a:pt x="4916" y="0"/>
                    <a:pt x="4931" y="0"/>
                  </a:cubicBezTo>
                  <a:cubicBezTo>
                    <a:pt x="4960" y="0"/>
                    <a:pt x="4990" y="30"/>
                    <a:pt x="5012" y="59"/>
                  </a:cubicBezTo>
                  <a:cubicBezTo>
                    <a:pt x="5012" y="66"/>
                    <a:pt x="5012" y="66"/>
                    <a:pt x="5012" y="66"/>
                  </a:cubicBezTo>
                  <a:cubicBezTo>
                    <a:pt x="5041" y="118"/>
                    <a:pt x="5048" y="125"/>
                    <a:pt x="5092" y="132"/>
                  </a:cubicBezTo>
                  <a:cubicBezTo>
                    <a:pt x="5136" y="140"/>
                    <a:pt x="5143" y="169"/>
                    <a:pt x="5151" y="198"/>
                  </a:cubicBezTo>
                  <a:cubicBezTo>
                    <a:pt x="5158" y="205"/>
                    <a:pt x="5165" y="220"/>
                    <a:pt x="5173" y="235"/>
                  </a:cubicBezTo>
                  <a:cubicBezTo>
                    <a:pt x="5187" y="257"/>
                    <a:pt x="5202" y="293"/>
                    <a:pt x="5209" y="323"/>
                  </a:cubicBezTo>
                  <a:cubicBezTo>
                    <a:pt x="5217" y="337"/>
                    <a:pt x="5224" y="359"/>
                    <a:pt x="5231" y="367"/>
                  </a:cubicBezTo>
                  <a:cubicBezTo>
                    <a:pt x="5246" y="396"/>
                    <a:pt x="5261" y="411"/>
                    <a:pt x="5275" y="411"/>
                  </a:cubicBezTo>
                  <a:cubicBezTo>
                    <a:pt x="5283" y="411"/>
                    <a:pt x="5297" y="411"/>
                    <a:pt x="5305" y="403"/>
                  </a:cubicBezTo>
                  <a:cubicBezTo>
                    <a:pt x="5319" y="396"/>
                    <a:pt x="5334" y="389"/>
                    <a:pt x="5341" y="381"/>
                  </a:cubicBezTo>
                  <a:cubicBezTo>
                    <a:pt x="5363" y="367"/>
                    <a:pt x="5378" y="352"/>
                    <a:pt x="5400" y="352"/>
                  </a:cubicBezTo>
                  <a:cubicBezTo>
                    <a:pt x="5407" y="352"/>
                    <a:pt x="5422" y="359"/>
                    <a:pt x="5429" y="367"/>
                  </a:cubicBezTo>
                  <a:cubicBezTo>
                    <a:pt x="5444" y="374"/>
                    <a:pt x="5451" y="389"/>
                    <a:pt x="5459" y="396"/>
                  </a:cubicBezTo>
                  <a:cubicBezTo>
                    <a:pt x="5473" y="411"/>
                    <a:pt x="5473" y="418"/>
                    <a:pt x="5488" y="418"/>
                  </a:cubicBezTo>
                  <a:cubicBezTo>
                    <a:pt x="5488" y="418"/>
                    <a:pt x="5495" y="418"/>
                    <a:pt x="5502" y="411"/>
                  </a:cubicBezTo>
                  <a:cubicBezTo>
                    <a:pt x="5546" y="396"/>
                    <a:pt x="5546" y="396"/>
                    <a:pt x="5590" y="367"/>
                  </a:cubicBezTo>
                  <a:cubicBezTo>
                    <a:pt x="5605" y="352"/>
                    <a:pt x="5605" y="352"/>
                    <a:pt x="5605" y="352"/>
                  </a:cubicBezTo>
                  <a:cubicBezTo>
                    <a:pt x="5620" y="337"/>
                    <a:pt x="5634" y="330"/>
                    <a:pt x="5649" y="330"/>
                  </a:cubicBezTo>
                  <a:cubicBezTo>
                    <a:pt x="5664" y="330"/>
                    <a:pt x="5671" y="337"/>
                    <a:pt x="5693" y="345"/>
                  </a:cubicBezTo>
                  <a:cubicBezTo>
                    <a:pt x="5708" y="359"/>
                    <a:pt x="5737" y="359"/>
                    <a:pt x="5766" y="359"/>
                  </a:cubicBezTo>
                  <a:cubicBezTo>
                    <a:pt x="5788" y="359"/>
                    <a:pt x="5810" y="359"/>
                    <a:pt x="5825" y="352"/>
                  </a:cubicBezTo>
                  <a:cubicBezTo>
                    <a:pt x="5832" y="352"/>
                    <a:pt x="5832" y="352"/>
                    <a:pt x="5840" y="352"/>
                  </a:cubicBezTo>
                  <a:cubicBezTo>
                    <a:pt x="5847" y="352"/>
                    <a:pt x="5862" y="352"/>
                    <a:pt x="5869" y="367"/>
                  </a:cubicBezTo>
                  <a:cubicBezTo>
                    <a:pt x="5876" y="381"/>
                    <a:pt x="5883" y="411"/>
                    <a:pt x="5876" y="447"/>
                  </a:cubicBezTo>
                  <a:cubicBezTo>
                    <a:pt x="5876" y="462"/>
                    <a:pt x="5883" y="484"/>
                    <a:pt x="5883" y="499"/>
                  </a:cubicBezTo>
                  <a:cubicBezTo>
                    <a:pt x="5898" y="543"/>
                    <a:pt x="5913" y="601"/>
                    <a:pt x="5847" y="645"/>
                  </a:cubicBezTo>
                  <a:cubicBezTo>
                    <a:pt x="5766" y="704"/>
                    <a:pt x="5700" y="784"/>
                    <a:pt x="5671" y="828"/>
                  </a:cubicBezTo>
                  <a:cubicBezTo>
                    <a:pt x="5664" y="843"/>
                    <a:pt x="5642" y="872"/>
                    <a:pt x="5649" y="887"/>
                  </a:cubicBezTo>
                  <a:cubicBezTo>
                    <a:pt x="5656" y="894"/>
                    <a:pt x="5671" y="902"/>
                    <a:pt x="5693" y="909"/>
                  </a:cubicBezTo>
                  <a:cubicBezTo>
                    <a:pt x="5730" y="909"/>
                    <a:pt x="5752" y="909"/>
                    <a:pt x="5766" y="909"/>
                  </a:cubicBezTo>
                  <a:cubicBezTo>
                    <a:pt x="5803" y="909"/>
                    <a:pt x="5832" y="909"/>
                    <a:pt x="5869" y="924"/>
                  </a:cubicBezTo>
                  <a:cubicBezTo>
                    <a:pt x="5883" y="924"/>
                    <a:pt x="5891" y="931"/>
                    <a:pt x="5898" y="931"/>
                  </a:cubicBezTo>
                  <a:cubicBezTo>
                    <a:pt x="5905" y="931"/>
                    <a:pt x="5905" y="931"/>
                    <a:pt x="5920" y="909"/>
                  </a:cubicBezTo>
                  <a:cubicBezTo>
                    <a:pt x="5920" y="902"/>
                    <a:pt x="5935" y="894"/>
                    <a:pt x="5942" y="880"/>
                  </a:cubicBezTo>
                  <a:cubicBezTo>
                    <a:pt x="5993" y="814"/>
                    <a:pt x="6001" y="814"/>
                    <a:pt x="6074" y="755"/>
                  </a:cubicBezTo>
                  <a:cubicBezTo>
                    <a:pt x="6103" y="733"/>
                    <a:pt x="6118" y="711"/>
                    <a:pt x="6125" y="696"/>
                  </a:cubicBezTo>
                  <a:cubicBezTo>
                    <a:pt x="6140" y="667"/>
                    <a:pt x="6155" y="652"/>
                    <a:pt x="6213" y="652"/>
                  </a:cubicBezTo>
                  <a:cubicBezTo>
                    <a:pt x="6228" y="652"/>
                    <a:pt x="6228" y="652"/>
                    <a:pt x="6228" y="652"/>
                  </a:cubicBezTo>
                  <a:cubicBezTo>
                    <a:pt x="6228" y="667"/>
                    <a:pt x="6228" y="667"/>
                    <a:pt x="6228" y="667"/>
                  </a:cubicBezTo>
                  <a:cubicBezTo>
                    <a:pt x="6228" y="711"/>
                    <a:pt x="6243" y="770"/>
                    <a:pt x="6294" y="814"/>
                  </a:cubicBezTo>
                  <a:cubicBezTo>
                    <a:pt x="6316" y="828"/>
                    <a:pt x="6323" y="850"/>
                    <a:pt x="6323" y="872"/>
                  </a:cubicBezTo>
                  <a:cubicBezTo>
                    <a:pt x="6331" y="931"/>
                    <a:pt x="6294" y="990"/>
                    <a:pt x="6257" y="1026"/>
                  </a:cubicBezTo>
                  <a:cubicBezTo>
                    <a:pt x="6206" y="1092"/>
                    <a:pt x="6199" y="1121"/>
                    <a:pt x="6206" y="1187"/>
                  </a:cubicBezTo>
                  <a:cubicBezTo>
                    <a:pt x="6221" y="1253"/>
                    <a:pt x="6228" y="1414"/>
                    <a:pt x="6228" y="1480"/>
                  </a:cubicBezTo>
                  <a:cubicBezTo>
                    <a:pt x="6228" y="1546"/>
                    <a:pt x="6155" y="1642"/>
                    <a:pt x="6103" y="1700"/>
                  </a:cubicBezTo>
                  <a:cubicBezTo>
                    <a:pt x="6081" y="1730"/>
                    <a:pt x="6081" y="1730"/>
                    <a:pt x="6081" y="1730"/>
                  </a:cubicBezTo>
                  <a:cubicBezTo>
                    <a:pt x="6045" y="1773"/>
                    <a:pt x="5964" y="1832"/>
                    <a:pt x="5847" y="1913"/>
                  </a:cubicBezTo>
                  <a:cubicBezTo>
                    <a:pt x="5803" y="1942"/>
                    <a:pt x="5803" y="2001"/>
                    <a:pt x="5840" y="2089"/>
                  </a:cubicBezTo>
                  <a:cubicBezTo>
                    <a:pt x="5869" y="2140"/>
                    <a:pt x="5854" y="2169"/>
                    <a:pt x="5840" y="2206"/>
                  </a:cubicBezTo>
                  <a:cubicBezTo>
                    <a:pt x="5832" y="2228"/>
                    <a:pt x="5817" y="2257"/>
                    <a:pt x="5810" y="2287"/>
                  </a:cubicBezTo>
                  <a:cubicBezTo>
                    <a:pt x="5803" y="2309"/>
                    <a:pt x="5810" y="2316"/>
                    <a:pt x="5817" y="2331"/>
                  </a:cubicBezTo>
                  <a:cubicBezTo>
                    <a:pt x="5832" y="2352"/>
                    <a:pt x="5876" y="2360"/>
                    <a:pt x="5935" y="2360"/>
                  </a:cubicBezTo>
                  <a:cubicBezTo>
                    <a:pt x="5950" y="2360"/>
                    <a:pt x="5950" y="2360"/>
                    <a:pt x="5950" y="2360"/>
                  </a:cubicBezTo>
                  <a:cubicBezTo>
                    <a:pt x="5964" y="2360"/>
                    <a:pt x="5964" y="2360"/>
                    <a:pt x="5964" y="2360"/>
                  </a:cubicBezTo>
                  <a:cubicBezTo>
                    <a:pt x="5964" y="2367"/>
                    <a:pt x="5964" y="2367"/>
                    <a:pt x="5964" y="2367"/>
                  </a:cubicBezTo>
                  <a:cubicBezTo>
                    <a:pt x="5964" y="2367"/>
                    <a:pt x="6030" y="2455"/>
                    <a:pt x="6118" y="2499"/>
                  </a:cubicBezTo>
                  <a:cubicBezTo>
                    <a:pt x="6162" y="2521"/>
                    <a:pt x="6191" y="2543"/>
                    <a:pt x="6213" y="2558"/>
                  </a:cubicBezTo>
                  <a:cubicBezTo>
                    <a:pt x="6243" y="2580"/>
                    <a:pt x="6264" y="2602"/>
                    <a:pt x="6308" y="2609"/>
                  </a:cubicBezTo>
                  <a:cubicBezTo>
                    <a:pt x="6367" y="2631"/>
                    <a:pt x="6382" y="2668"/>
                    <a:pt x="6404" y="2719"/>
                  </a:cubicBezTo>
                  <a:cubicBezTo>
                    <a:pt x="6411" y="2748"/>
                    <a:pt x="6426" y="2778"/>
                    <a:pt x="6440" y="2814"/>
                  </a:cubicBezTo>
                  <a:cubicBezTo>
                    <a:pt x="6477" y="2873"/>
                    <a:pt x="6572" y="2909"/>
                    <a:pt x="6653" y="2939"/>
                  </a:cubicBezTo>
                  <a:cubicBezTo>
                    <a:pt x="6697" y="2953"/>
                    <a:pt x="6733" y="2968"/>
                    <a:pt x="6755" y="2990"/>
                  </a:cubicBezTo>
                  <a:cubicBezTo>
                    <a:pt x="6799" y="3019"/>
                    <a:pt x="6902" y="3107"/>
                    <a:pt x="6895" y="3159"/>
                  </a:cubicBezTo>
                  <a:cubicBezTo>
                    <a:pt x="6895" y="3173"/>
                    <a:pt x="6895" y="3188"/>
                    <a:pt x="6880" y="3195"/>
                  </a:cubicBezTo>
                  <a:cubicBezTo>
                    <a:pt x="6843" y="3224"/>
                    <a:pt x="6829" y="3290"/>
                    <a:pt x="6851" y="3356"/>
                  </a:cubicBezTo>
                  <a:cubicBezTo>
                    <a:pt x="6858" y="3371"/>
                    <a:pt x="6858" y="3378"/>
                    <a:pt x="6865" y="3386"/>
                  </a:cubicBezTo>
                  <a:cubicBezTo>
                    <a:pt x="6880" y="3437"/>
                    <a:pt x="6895" y="3466"/>
                    <a:pt x="6836" y="3532"/>
                  </a:cubicBezTo>
                  <a:cubicBezTo>
                    <a:pt x="6821" y="3547"/>
                    <a:pt x="6814" y="3562"/>
                    <a:pt x="6799" y="3576"/>
                  </a:cubicBezTo>
                  <a:cubicBezTo>
                    <a:pt x="6770" y="3613"/>
                    <a:pt x="6748" y="3635"/>
                    <a:pt x="6719" y="3701"/>
                  </a:cubicBezTo>
                  <a:cubicBezTo>
                    <a:pt x="6697" y="3745"/>
                    <a:pt x="6712" y="3759"/>
                    <a:pt x="6733" y="3789"/>
                  </a:cubicBezTo>
                  <a:cubicBezTo>
                    <a:pt x="6748" y="3811"/>
                    <a:pt x="6770" y="3840"/>
                    <a:pt x="6770" y="3884"/>
                  </a:cubicBezTo>
                  <a:cubicBezTo>
                    <a:pt x="6777" y="3935"/>
                    <a:pt x="6799" y="3979"/>
                    <a:pt x="6814" y="4016"/>
                  </a:cubicBezTo>
                  <a:cubicBezTo>
                    <a:pt x="6829" y="4045"/>
                    <a:pt x="6836" y="4074"/>
                    <a:pt x="6843" y="4096"/>
                  </a:cubicBezTo>
                  <a:cubicBezTo>
                    <a:pt x="6851" y="4133"/>
                    <a:pt x="6953" y="4148"/>
                    <a:pt x="7012" y="4162"/>
                  </a:cubicBezTo>
                  <a:cubicBezTo>
                    <a:pt x="7026" y="4162"/>
                    <a:pt x="7034" y="4162"/>
                    <a:pt x="7041" y="4162"/>
                  </a:cubicBezTo>
                  <a:cubicBezTo>
                    <a:pt x="7078" y="4170"/>
                    <a:pt x="7114" y="4199"/>
                    <a:pt x="7129" y="4243"/>
                  </a:cubicBezTo>
                  <a:cubicBezTo>
                    <a:pt x="7144" y="4280"/>
                    <a:pt x="7151" y="4316"/>
                    <a:pt x="7136" y="4338"/>
                  </a:cubicBezTo>
                  <a:cubicBezTo>
                    <a:pt x="7122" y="4353"/>
                    <a:pt x="7114" y="4360"/>
                    <a:pt x="7100" y="4368"/>
                  </a:cubicBezTo>
                  <a:cubicBezTo>
                    <a:pt x="7093" y="4375"/>
                    <a:pt x="7085" y="4382"/>
                    <a:pt x="7093" y="4390"/>
                  </a:cubicBezTo>
                  <a:cubicBezTo>
                    <a:pt x="7100" y="4412"/>
                    <a:pt x="7122" y="4419"/>
                    <a:pt x="7136" y="4426"/>
                  </a:cubicBezTo>
                  <a:cubicBezTo>
                    <a:pt x="7144" y="4426"/>
                    <a:pt x="7151" y="4426"/>
                    <a:pt x="7158" y="4433"/>
                  </a:cubicBezTo>
                  <a:cubicBezTo>
                    <a:pt x="7158" y="4448"/>
                    <a:pt x="7158" y="4463"/>
                    <a:pt x="7122" y="4514"/>
                  </a:cubicBezTo>
                  <a:cubicBezTo>
                    <a:pt x="7085" y="4573"/>
                    <a:pt x="7122" y="4646"/>
                    <a:pt x="7246" y="4734"/>
                  </a:cubicBezTo>
                  <a:cubicBezTo>
                    <a:pt x="7334" y="4800"/>
                    <a:pt x="7261" y="4924"/>
                    <a:pt x="7217" y="5005"/>
                  </a:cubicBezTo>
                  <a:cubicBezTo>
                    <a:pt x="7217" y="5012"/>
                    <a:pt x="7210" y="5027"/>
                    <a:pt x="7202" y="5034"/>
                  </a:cubicBezTo>
                  <a:cubicBezTo>
                    <a:pt x="7181" y="5086"/>
                    <a:pt x="7188" y="5108"/>
                    <a:pt x="7195" y="5159"/>
                  </a:cubicBezTo>
                  <a:cubicBezTo>
                    <a:pt x="7195" y="5174"/>
                    <a:pt x="7202" y="5188"/>
                    <a:pt x="7202" y="5210"/>
                  </a:cubicBezTo>
                  <a:cubicBezTo>
                    <a:pt x="7217" y="5298"/>
                    <a:pt x="7122" y="5430"/>
                    <a:pt x="7063" y="5496"/>
                  </a:cubicBezTo>
                  <a:cubicBezTo>
                    <a:pt x="6997" y="5562"/>
                    <a:pt x="6983" y="5577"/>
                    <a:pt x="7019" y="5643"/>
                  </a:cubicBezTo>
                  <a:cubicBezTo>
                    <a:pt x="7041" y="5679"/>
                    <a:pt x="7063" y="5701"/>
                    <a:pt x="7085" y="5723"/>
                  </a:cubicBezTo>
                  <a:cubicBezTo>
                    <a:pt x="7114" y="5752"/>
                    <a:pt x="7144" y="5782"/>
                    <a:pt x="7158" y="5840"/>
                  </a:cubicBezTo>
                  <a:cubicBezTo>
                    <a:pt x="7158" y="5848"/>
                    <a:pt x="7158" y="5848"/>
                    <a:pt x="7158" y="5848"/>
                  </a:cubicBezTo>
                  <a:cubicBezTo>
                    <a:pt x="7181" y="5936"/>
                    <a:pt x="7195" y="5980"/>
                    <a:pt x="7276" y="6002"/>
                  </a:cubicBezTo>
                  <a:cubicBezTo>
                    <a:pt x="7349" y="6016"/>
                    <a:pt x="7356" y="6068"/>
                    <a:pt x="7364" y="6126"/>
                  </a:cubicBezTo>
                  <a:cubicBezTo>
                    <a:pt x="7371" y="6148"/>
                    <a:pt x="7378" y="6178"/>
                    <a:pt x="7386" y="6207"/>
                  </a:cubicBezTo>
                  <a:cubicBezTo>
                    <a:pt x="7422" y="6309"/>
                    <a:pt x="7422" y="6324"/>
                    <a:pt x="7386" y="6375"/>
                  </a:cubicBezTo>
                  <a:cubicBezTo>
                    <a:pt x="7356" y="6412"/>
                    <a:pt x="7312" y="6449"/>
                    <a:pt x="7290" y="6471"/>
                  </a:cubicBezTo>
                  <a:cubicBezTo>
                    <a:pt x="7320" y="6493"/>
                    <a:pt x="7320" y="6493"/>
                    <a:pt x="7320" y="6493"/>
                  </a:cubicBezTo>
                  <a:cubicBezTo>
                    <a:pt x="7298" y="6500"/>
                    <a:pt x="7298" y="6500"/>
                    <a:pt x="7298" y="6500"/>
                  </a:cubicBezTo>
                  <a:cubicBezTo>
                    <a:pt x="7239" y="6522"/>
                    <a:pt x="7202" y="6537"/>
                    <a:pt x="7188" y="6544"/>
                  </a:cubicBezTo>
                  <a:cubicBezTo>
                    <a:pt x="7181" y="6551"/>
                    <a:pt x="7181" y="6551"/>
                    <a:pt x="7166" y="6551"/>
                  </a:cubicBezTo>
                  <a:cubicBezTo>
                    <a:pt x="7129" y="6551"/>
                    <a:pt x="7049" y="6493"/>
                    <a:pt x="7034" y="6449"/>
                  </a:cubicBezTo>
                  <a:cubicBezTo>
                    <a:pt x="7026" y="6434"/>
                    <a:pt x="7012" y="6427"/>
                    <a:pt x="7005" y="6427"/>
                  </a:cubicBezTo>
                  <a:cubicBezTo>
                    <a:pt x="6990" y="6427"/>
                    <a:pt x="6975" y="6434"/>
                    <a:pt x="6961" y="6456"/>
                  </a:cubicBezTo>
                  <a:cubicBezTo>
                    <a:pt x="6953" y="6478"/>
                    <a:pt x="6946" y="6485"/>
                    <a:pt x="6946" y="6500"/>
                  </a:cubicBezTo>
                  <a:cubicBezTo>
                    <a:pt x="6946" y="6507"/>
                    <a:pt x="6946" y="6522"/>
                    <a:pt x="6924" y="6522"/>
                  </a:cubicBezTo>
                  <a:cubicBezTo>
                    <a:pt x="6917" y="6522"/>
                    <a:pt x="6917" y="6522"/>
                    <a:pt x="6909" y="6522"/>
                  </a:cubicBezTo>
                  <a:cubicBezTo>
                    <a:pt x="6895" y="6522"/>
                    <a:pt x="6880" y="6514"/>
                    <a:pt x="6873" y="6514"/>
                  </a:cubicBezTo>
                  <a:cubicBezTo>
                    <a:pt x="6851" y="6514"/>
                    <a:pt x="6821" y="6522"/>
                    <a:pt x="6770" y="6544"/>
                  </a:cubicBezTo>
                  <a:cubicBezTo>
                    <a:pt x="6741" y="6559"/>
                    <a:pt x="6726" y="6566"/>
                    <a:pt x="6719" y="6566"/>
                  </a:cubicBezTo>
                  <a:cubicBezTo>
                    <a:pt x="6697" y="6581"/>
                    <a:pt x="6697" y="6581"/>
                    <a:pt x="6645" y="6588"/>
                  </a:cubicBezTo>
                  <a:cubicBezTo>
                    <a:pt x="6616" y="6595"/>
                    <a:pt x="6609" y="6602"/>
                    <a:pt x="6602" y="6624"/>
                  </a:cubicBezTo>
                  <a:cubicBezTo>
                    <a:pt x="6602" y="6639"/>
                    <a:pt x="6594" y="6661"/>
                    <a:pt x="6565" y="6690"/>
                  </a:cubicBezTo>
                  <a:cubicBezTo>
                    <a:pt x="6536" y="6712"/>
                    <a:pt x="6528" y="6727"/>
                    <a:pt x="6521" y="6734"/>
                  </a:cubicBezTo>
                  <a:cubicBezTo>
                    <a:pt x="6521" y="6734"/>
                    <a:pt x="6514" y="6749"/>
                    <a:pt x="6506" y="6749"/>
                  </a:cubicBezTo>
                  <a:cubicBezTo>
                    <a:pt x="6499" y="6749"/>
                    <a:pt x="6492" y="6742"/>
                    <a:pt x="6484" y="6734"/>
                  </a:cubicBezTo>
                  <a:cubicBezTo>
                    <a:pt x="6484" y="6727"/>
                    <a:pt x="6484" y="6727"/>
                    <a:pt x="6484" y="6727"/>
                  </a:cubicBezTo>
                  <a:cubicBezTo>
                    <a:pt x="6470" y="6720"/>
                    <a:pt x="6462" y="6705"/>
                    <a:pt x="6462" y="6698"/>
                  </a:cubicBezTo>
                  <a:cubicBezTo>
                    <a:pt x="6455" y="6676"/>
                    <a:pt x="6455" y="6676"/>
                    <a:pt x="6433" y="6676"/>
                  </a:cubicBezTo>
                  <a:cubicBezTo>
                    <a:pt x="6382" y="6676"/>
                    <a:pt x="6316" y="6676"/>
                    <a:pt x="6279" y="6639"/>
                  </a:cubicBezTo>
                  <a:cubicBezTo>
                    <a:pt x="6272" y="6632"/>
                    <a:pt x="6257" y="6624"/>
                    <a:pt x="6243" y="6624"/>
                  </a:cubicBezTo>
                  <a:cubicBezTo>
                    <a:pt x="6199" y="6624"/>
                    <a:pt x="6140" y="6647"/>
                    <a:pt x="6103" y="6654"/>
                  </a:cubicBezTo>
                  <a:cubicBezTo>
                    <a:pt x="6081" y="6669"/>
                    <a:pt x="6074" y="6683"/>
                    <a:pt x="6067" y="6720"/>
                  </a:cubicBezTo>
                  <a:cubicBezTo>
                    <a:pt x="6059" y="6742"/>
                    <a:pt x="6052" y="6764"/>
                    <a:pt x="6037" y="6786"/>
                  </a:cubicBezTo>
                  <a:cubicBezTo>
                    <a:pt x="6030" y="6808"/>
                    <a:pt x="6023" y="6822"/>
                    <a:pt x="6015" y="6830"/>
                  </a:cubicBezTo>
                  <a:cubicBezTo>
                    <a:pt x="6008" y="6859"/>
                    <a:pt x="6001" y="6874"/>
                    <a:pt x="5964" y="6888"/>
                  </a:cubicBezTo>
                  <a:cubicBezTo>
                    <a:pt x="5942" y="6896"/>
                    <a:pt x="5942" y="6903"/>
                    <a:pt x="5957" y="6947"/>
                  </a:cubicBezTo>
                  <a:cubicBezTo>
                    <a:pt x="5964" y="6962"/>
                    <a:pt x="5971" y="6983"/>
                    <a:pt x="5971" y="7005"/>
                  </a:cubicBezTo>
                  <a:cubicBezTo>
                    <a:pt x="5979" y="7064"/>
                    <a:pt x="5957" y="7093"/>
                    <a:pt x="5935" y="7130"/>
                  </a:cubicBezTo>
                  <a:cubicBezTo>
                    <a:pt x="5927" y="7145"/>
                    <a:pt x="5920" y="7159"/>
                    <a:pt x="5913" y="7174"/>
                  </a:cubicBezTo>
                  <a:cubicBezTo>
                    <a:pt x="5891" y="7218"/>
                    <a:pt x="5862" y="7225"/>
                    <a:pt x="5854" y="7225"/>
                  </a:cubicBezTo>
                  <a:cubicBezTo>
                    <a:pt x="5825" y="7225"/>
                    <a:pt x="5803" y="7203"/>
                    <a:pt x="5803" y="7167"/>
                  </a:cubicBezTo>
                  <a:cubicBezTo>
                    <a:pt x="5803" y="7152"/>
                    <a:pt x="5803" y="7152"/>
                    <a:pt x="5795" y="7152"/>
                  </a:cubicBezTo>
                  <a:cubicBezTo>
                    <a:pt x="5788" y="7152"/>
                    <a:pt x="5774" y="7152"/>
                    <a:pt x="5744" y="7174"/>
                  </a:cubicBezTo>
                  <a:cubicBezTo>
                    <a:pt x="5708" y="7196"/>
                    <a:pt x="5686" y="7203"/>
                    <a:pt x="5642" y="7211"/>
                  </a:cubicBezTo>
                  <a:cubicBezTo>
                    <a:pt x="5620" y="7211"/>
                    <a:pt x="5598" y="7218"/>
                    <a:pt x="5561" y="7225"/>
                  </a:cubicBezTo>
                  <a:cubicBezTo>
                    <a:pt x="5532" y="7233"/>
                    <a:pt x="5510" y="7240"/>
                    <a:pt x="5488" y="7240"/>
                  </a:cubicBezTo>
                  <a:cubicBezTo>
                    <a:pt x="5444" y="7255"/>
                    <a:pt x="5407" y="7262"/>
                    <a:pt x="5349" y="7284"/>
                  </a:cubicBezTo>
                  <a:cubicBezTo>
                    <a:pt x="5326" y="7291"/>
                    <a:pt x="5305" y="7299"/>
                    <a:pt x="5275" y="7299"/>
                  </a:cubicBezTo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8" name="Freeform 27"/>
            <p:cNvSpPr>
              <a:spLocks noChangeArrowheads="1"/>
            </p:cNvSpPr>
            <p:nvPr/>
          </p:nvSpPr>
          <p:spPr bwMode="auto">
            <a:xfrm>
              <a:off x="7619993" y="4378228"/>
              <a:ext cx="2870828" cy="2785104"/>
            </a:xfrm>
            <a:custGeom>
              <a:avLst/>
              <a:gdLst>
                <a:gd name="T0" fmla="*/ 5532 w 7468"/>
                <a:gd name="T1" fmla="*/ 439 h 7328"/>
                <a:gd name="T2" fmla="*/ 5928 w 7468"/>
                <a:gd name="T3" fmla="*/ 960 h 7328"/>
                <a:gd name="T4" fmla="*/ 5965 w 7468"/>
                <a:gd name="T5" fmla="*/ 2388 h 7328"/>
                <a:gd name="T6" fmla="*/ 7071 w 7468"/>
                <a:gd name="T7" fmla="*/ 4191 h 7328"/>
                <a:gd name="T8" fmla="*/ 7298 w 7468"/>
                <a:gd name="T9" fmla="*/ 6030 h 7328"/>
                <a:gd name="T10" fmla="*/ 6903 w 7468"/>
                <a:gd name="T11" fmla="*/ 6514 h 7328"/>
                <a:gd name="T12" fmla="*/ 5987 w 7468"/>
                <a:gd name="T13" fmla="*/ 7019 h 7328"/>
                <a:gd name="T14" fmla="*/ 4697 w 7468"/>
                <a:gd name="T15" fmla="*/ 7100 h 7328"/>
                <a:gd name="T16" fmla="*/ 4177 w 7468"/>
                <a:gd name="T17" fmla="*/ 6946 h 7328"/>
                <a:gd name="T18" fmla="*/ 3869 w 7468"/>
                <a:gd name="T19" fmla="*/ 6455 h 7328"/>
                <a:gd name="T20" fmla="*/ 3620 w 7468"/>
                <a:gd name="T21" fmla="*/ 5532 h 7328"/>
                <a:gd name="T22" fmla="*/ 3092 w 7468"/>
                <a:gd name="T23" fmla="*/ 5268 h 7328"/>
                <a:gd name="T24" fmla="*/ 2199 w 7468"/>
                <a:gd name="T25" fmla="*/ 4990 h 7328"/>
                <a:gd name="T26" fmla="*/ 2147 w 7468"/>
                <a:gd name="T27" fmla="*/ 3737 h 7328"/>
                <a:gd name="T28" fmla="*/ 1964 w 7468"/>
                <a:gd name="T29" fmla="*/ 2923 h 7328"/>
                <a:gd name="T30" fmla="*/ 1576 w 7468"/>
                <a:gd name="T31" fmla="*/ 2440 h 7328"/>
                <a:gd name="T32" fmla="*/ 901 w 7468"/>
                <a:gd name="T33" fmla="*/ 2147 h 7328"/>
                <a:gd name="T34" fmla="*/ 257 w 7468"/>
                <a:gd name="T35" fmla="*/ 1897 h 7328"/>
                <a:gd name="T36" fmla="*/ 579 w 7468"/>
                <a:gd name="T37" fmla="*/ 1685 h 7328"/>
                <a:gd name="T38" fmla="*/ 1370 w 7468"/>
                <a:gd name="T39" fmla="*/ 1143 h 7328"/>
                <a:gd name="T40" fmla="*/ 2081 w 7468"/>
                <a:gd name="T41" fmla="*/ 938 h 7328"/>
                <a:gd name="T42" fmla="*/ 2909 w 7468"/>
                <a:gd name="T43" fmla="*/ 1245 h 7328"/>
                <a:gd name="T44" fmla="*/ 3701 w 7468"/>
                <a:gd name="T45" fmla="*/ 1172 h 7328"/>
                <a:gd name="T46" fmla="*/ 4353 w 7468"/>
                <a:gd name="T47" fmla="*/ 916 h 7328"/>
                <a:gd name="T48" fmla="*/ 4961 w 7468"/>
                <a:gd name="T49" fmla="*/ 29 h 7328"/>
                <a:gd name="T50" fmla="*/ 4704 w 7468"/>
                <a:gd name="T51" fmla="*/ 366 h 7328"/>
                <a:gd name="T52" fmla="*/ 4294 w 7468"/>
                <a:gd name="T53" fmla="*/ 945 h 7328"/>
                <a:gd name="T54" fmla="*/ 3913 w 7468"/>
                <a:gd name="T55" fmla="*/ 1157 h 7328"/>
                <a:gd name="T56" fmla="*/ 3488 w 7468"/>
                <a:gd name="T57" fmla="*/ 1355 h 7328"/>
                <a:gd name="T58" fmla="*/ 3063 w 7468"/>
                <a:gd name="T59" fmla="*/ 1333 h 7328"/>
                <a:gd name="T60" fmla="*/ 2660 w 7468"/>
                <a:gd name="T61" fmla="*/ 1128 h 7328"/>
                <a:gd name="T62" fmla="*/ 1949 w 7468"/>
                <a:gd name="T63" fmla="*/ 872 h 7328"/>
                <a:gd name="T64" fmla="*/ 1458 w 7468"/>
                <a:gd name="T65" fmla="*/ 1033 h 7328"/>
                <a:gd name="T66" fmla="*/ 1004 w 7468"/>
                <a:gd name="T67" fmla="*/ 1304 h 7328"/>
                <a:gd name="T68" fmla="*/ 418 w 7468"/>
                <a:gd name="T69" fmla="*/ 1604 h 7328"/>
                <a:gd name="T70" fmla="*/ 271 w 7468"/>
                <a:gd name="T71" fmla="*/ 1927 h 7328"/>
                <a:gd name="T72" fmla="*/ 762 w 7468"/>
                <a:gd name="T73" fmla="*/ 1978 h 7328"/>
                <a:gd name="T74" fmla="*/ 1151 w 7468"/>
                <a:gd name="T75" fmla="*/ 2242 h 7328"/>
                <a:gd name="T76" fmla="*/ 1759 w 7468"/>
                <a:gd name="T77" fmla="*/ 2476 h 7328"/>
                <a:gd name="T78" fmla="*/ 1986 w 7468"/>
                <a:gd name="T79" fmla="*/ 3099 h 7328"/>
                <a:gd name="T80" fmla="*/ 2052 w 7468"/>
                <a:gd name="T81" fmla="*/ 3671 h 7328"/>
                <a:gd name="T82" fmla="*/ 2184 w 7468"/>
                <a:gd name="T83" fmla="*/ 4184 h 7328"/>
                <a:gd name="T84" fmla="*/ 2169 w 7468"/>
                <a:gd name="T85" fmla="*/ 5012 h 7328"/>
                <a:gd name="T86" fmla="*/ 2902 w 7468"/>
                <a:gd name="T87" fmla="*/ 5400 h 7328"/>
                <a:gd name="T88" fmla="*/ 3327 w 7468"/>
                <a:gd name="T89" fmla="*/ 5444 h 7328"/>
                <a:gd name="T90" fmla="*/ 3950 w 7468"/>
                <a:gd name="T91" fmla="*/ 5701 h 7328"/>
                <a:gd name="T92" fmla="*/ 3825 w 7468"/>
                <a:gd name="T93" fmla="*/ 6455 h 7328"/>
                <a:gd name="T94" fmla="*/ 4140 w 7468"/>
                <a:gd name="T95" fmla="*/ 6748 h 7328"/>
                <a:gd name="T96" fmla="*/ 4316 w 7468"/>
                <a:gd name="T97" fmla="*/ 7313 h 7328"/>
                <a:gd name="T98" fmla="*/ 4851 w 7468"/>
                <a:gd name="T99" fmla="*/ 7210 h 7328"/>
                <a:gd name="T100" fmla="*/ 5782 w 7468"/>
                <a:gd name="T101" fmla="*/ 7203 h 7328"/>
                <a:gd name="T102" fmla="*/ 6111 w 7468"/>
                <a:gd name="T103" fmla="*/ 6734 h 7328"/>
                <a:gd name="T104" fmla="*/ 6646 w 7468"/>
                <a:gd name="T105" fmla="*/ 6646 h 7328"/>
                <a:gd name="T106" fmla="*/ 7225 w 7468"/>
                <a:gd name="T107" fmla="*/ 6573 h 7328"/>
                <a:gd name="T108" fmla="*/ 7108 w 7468"/>
                <a:gd name="T109" fmla="*/ 5517 h 7328"/>
                <a:gd name="T110" fmla="*/ 7144 w 7468"/>
                <a:gd name="T111" fmla="*/ 4389 h 7328"/>
                <a:gd name="T112" fmla="*/ 6910 w 7468"/>
                <a:gd name="T113" fmla="*/ 3392 h 7328"/>
                <a:gd name="T114" fmla="*/ 6001 w 7468"/>
                <a:gd name="T115" fmla="*/ 2359 h 7328"/>
                <a:gd name="T116" fmla="*/ 6302 w 7468"/>
                <a:gd name="T117" fmla="*/ 1047 h 7328"/>
                <a:gd name="T118" fmla="*/ 5804 w 7468"/>
                <a:gd name="T119" fmla="*/ 908 h 7328"/>
                <a:gd name="T120" fmla="*/ 5679 w 7468"/>
                <a:gd name="T121" fmla="*/ 329 h 7328"/>
                <a:gd name="T122" fmla="*/ 5254 w 7468"/>
                <a:gd name="T123" fmla="*/ 329 h 7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468" h="7328">
                  <a:moveTo>
                    <a:pt x="4961" y="29"/>
                  </a:moveTo>
                  <a:lnTo>
                    <a:pt x="4961" y="29"/>
                  </a:lnTo>
                  <a:cubicBezTo>
                    <a:pt x="4983" y="29"/>
                    <a:pt x="5005" y="51"/>
                    <a:pt x="5027" y="88"/>
                  </a:cubicBezTo>
                  <a:cubicBezTo>
                    <a:pt x="5063" y="139"/>
                    <a:pt x="5071" y="154"/>
                    <a:pt x="5122" y="161"/>
                  </a:cubicBezTo>
                  <a:cubicBezTo>
                    <a:pt x="5173" y="168"/>
                    <a:pt x="5159" y="219"/>
                    <a:pt x="5188" y="256"/>
                  </a:cubicBezTo>
                  <a:cubicBezTo>
                    <a:pt x="5210" y="285"/>
                    <a:pt x="5232" y="359"/>
                    <a:pt x="5247" y="388"/>
                  </a:cubicBezTo>
                  <a:cubicBezTo>
                    <a:pt x="5261" y="417"/>
                    <a:pt x="5276" y="439"/>
                    <a:pt x="5305" y="439"/>
                  </a:cubicBezTo>
                  <a:cubicBezTo>
                    <a:pt x="5320" y="439"/>
                    <a:pt x="5327" y="439"/>
                    <a:pt x="5342" y="432"/>
                  </a:cubicBezTo>
                  <a:cubicBezTo>
                    <a:pt x="5379" y="410"/>
                    <a:pt x="5408" y="381"/>
                    <a:pt x="5430" y="381"/>
                  </a:cubicBezTo>
                  <a:cubicBezTo>
                    <a:pt x="5437" y="381"/>
                    <a:pt x="5444" y="388"/>
                    <a:pt x="5452" y="388"/>
                  </a:cubicBezTo>
                  <a:cubicBezTo>
                    <a:pt x="5481" y="410"/>
                    <a:pt x="5481" y="447"/>
                    <a:pt x="5518" y="447"/>
                  </a:cubicBezTo>
                  <a:cubicBezTo>
                    <a:pt x="5518" y="447"/>
                    <a:pt x="5525" y="447"/>
                    <a:pt x="5532" y="439"/>
                  </a:cubicBezTo>
                  <a:cubicBezTo>
                    <a:pt x="5584" y="425"/>
                    <a:pt x="5584" y="425"/>
                    <a:pt x="5628" y="388"/>
                  </a:cubicBezTo>
                  <a:cubicBezTo>
                    <a:pt x="5657" y="366"/>
                    <a:pt x="5664" y="359"/>
                    <a:pt x="5679" y="359"/>
                  </a:cubicBezTo>
                  <a:cubicBezTo>
                    <a:pt x="5686" y="359"/>
                    <a:pt x="5701" y="366"/>
                    <a:pt x="5716" y="373"/>
                  </a:cubicBezTo>
                  <a:cubicBezTo>
                    <a:pt x="5738" y="388"/>
                    <a:pt x="5767" y="388"/>
                    <a:pt x="5796" y="388"/>
                  </a:cubicBezTo>
                  <a:cubicBezTo>
                    <a:pt x="5818" y="388"/>
                    <a:pt x="5847" y="388"/>
                    <a:pt x="5862" y="381"/>
                  </a:cubicBezTo>
                  <a:cubicBezTo>
                    <a:pt x="5862" y="381"/>
                    <a:pt x="5862" y="381"/>
                    <a:pt x="5870" y="381"/>
                  </a:cubicBezTo>
                  <a:cubicBezTo>
                    <a:pt x="5892" y="381"/>
                    <a:pt x="5899" y="403"/>
                    <a:pt x="5892" y="461"/>
                  </a:cubicBezTo>
                  <a:cubicBezTo>
                    <a:pt x="5884" y="520"/>
                    <a:pt x="5950" y="586"/>
                    <a:pt x="5870" y="645"/>
                  </a:cubicBezTo>
                  <a:cubicBezTo>
                    <a:pt x="5782" y="703"/>
                    <a:pt x="5716" y="791"/>
                    <a:pt x="5686" y="835"/>
                  </a:cubicBezTo>
                  <a:cubicBezTo>
                    <a:pt x="5664" y="872"/>
                    <a:pt x="5635" y="923"/>
                    <a:pt x="5723" y="938"/>
                  </a:cubicBezTo>
                  <a:cubicBezTo>
                    <a:pt x="5811" y="945"/>
                    <a:pt x="5833" y="938"/>
                    <a:pt x="5892" y="952"/>
                  </a:cubicBezTo>
                  <a:cubicBezTo>
                    <a:pt x="5913" y="960"/>
                    <a:pt x="5921" y="960"/>
                    <a:pt x="5928" y="960"/>
                  </a:cubicBezTo>
                  <a:cubicBezTo>
                    <a:pt x="5950" y="960"/>
                    <a:pt x="5950" y="945"/>
                    <a:pt x="5987" y="901"/>
                  </a:cubicBezTo>
                  <a:cubicBezTo>
                    <a:pt x="6038" y="842"/>
                    <a:pt x="6038" y="842"/>
                    <a:pt x="6111" y="784"/>
                  </a:cubicBezTo>
                  <a:cubicBezTo>
                    <a:pt x="6192" y="725"/>
                    <a:pt x="6155" y="681"/>
                    <a:pt x="6243" y="681"/>
                  </a:cubicBezTo>
                  <a:cubicBezTo>
                    <a:pt x="6243" y="725"/>
                    <a:pt x="6258" y="791"/>
                    <a:pt x="6309" y="835"/>
                  </a:cubicBezTo>
                  <a:cubicBezTo>
                    <a:pt x="6368" y="886"/>
                    <a:pt x="6338" y="960"/>
                    <a:pt x="6280" y="1033"/>
                  </a:cubicBezTo>
                  <a:cubicBezTo>
                    <a:pt x="6221" y="1099"/>
                    <a:pt x="6214" y="1135"/>
                    <a:pt x="6221" y="1201"/>
                  </a:cubicBezTo>
                  <a:cubicBezTo>
                    <a:pt x="6236" y="1267"/>
                    <a:pt x="6243" y="1428"/>
                    <a:pt x="6243" y="1494"/>
                  </a:cubicBezTo>
                  <a:cubicBezTo>
                    <a:pt x="6243" y="1560"/>
                    <a:pt x="6141" y="1678"/>
                    <a:pt x="6097" y="1736"/>
                  </a:cubicBezTo>
                  <a:cubicBezTo>
                    <a:pt x="6053" y="1787"/>
                    <a:pt x="5935" y="1868"/>
                    <a:pt x="5870" y="1912"/>
                  </a:cubicBezTo>
                  <a:cubicBezTo>
                    <a:pt x="5804" y="1964"/>
                    <a:pt x="5825" y="2037"/>
                    <a:pt x="5862" y="2110"/>
                  </a:cubicBezTo>
                  <a:cubicBezTo>
                    <a:pt x="5892" y="2176"/>
                    <a:pt x="5847" y="2198"/>
                    <a:pt x="5825" y="2301"/>
                  </a:cubicBezTo>
                  <a:cubicBezTo>
                    <a:pt x="5804" y="2381"/>
                    <a:pt x="5921" y="2388"/>
                    <a:pt x="5965" y="2388"/>
                  </a:cubicBezTo>
                  <a:cubicBezTo>
                    <a:pt x="5980" y="2388"/>
                    <a:pt x="5987" y="2388"/>
                    <a:pt x="5987" y="2388"/>
                  </a:cubicBezTo>
                  <a:cubicBezTo>
                    <a:pt x="5987" y="2388"/>
                    <a:pt x="6053" y="2484"/>
                    <a:pt x="6141" y="2528"/>
                  </a:cubicBezTo>
                  <a:cubicBezTo>
                    <a:pt x="6236" y="2572"/>
                    <a:pt x="6258" y="2616"/>
                    <a:pt x="6338" y="2638"/>
                  </a:cubicBezTo>
                  <a:cubicBezTo>
                    <a:pt x="6412" y="2660"/>
                    <a:pt x="6404" y="2733"/>
                    <a:pt x="6463" y="2835"/>
                  </a:cubicBezTo>
                  <a:cubicBezTo>
                    <a:pt x="6514" y="2938"/>
                    <a:pt x="6720" y="2967"/>
                    <a:pt x="6778" y="3011"/>
                  </a:cubicBezTo>
                  <a:cubicBezTo>
                    <a:pt x="6837" y="3063"/>
                    <a:pt x="6947" y="3165"/>
                    <a:pt x="6903" y="3195"/>
                  </a:cubicBezTo>
                  <a:cubicBezTo>
                    <a:pt x="6859" y="3231"/>
                    <a:pt x="6844" y="3312"/>
                    <a:pt x="6866" y="3378"/>
                  </a:cubicBezTo>
                  <a:cubicBezTo>
                    <a:pt x="6888" y="3444"/>
                    <a:pt x="6910" y="3466"/>
                    <a:pt x="6859" y="3539"/>
                  </a:cubicBezTo>
                  <a:cubicBezTo>
                    <a:pt x="6800" y="3605"/>
                    <a:pt x="6778" y="3612"/>
                    <a:pt x="6734" y="3707"/>
                  </a:cubicBezTo>
                  <a:cubicBezTo>
                    <a:pt x="6683" y="3795"/>
                    <a:pt x="6778" y="3810"/>
                    <a:pt x="6785" y="3898"/>
                  </a:cubicBezTo>
                  <a:cubicBezTo>
                    <a:pt x="6800" y="3986"/>
                    <a:pt x="6844" y="4059"/>
                    <a:pt x="6859" y="4110"/>
                  </a:cubicBezTo>
                  <a:cubicBezTo>
                    <a:pt x="6866" y="4169"/>
                    <a:pt x="7005" y="4184"/>
                    <a:pt x="7071" y="4191"/>
                  </a:cubicBezTo>
                  <a:cubicBezTo>
                    <a:pt x="7137" y="4206"/>
                    <a:pt x="7174" y="4308"/>
                    <a:pt x="7152" y="4338"/>
                  </a:cubicBezTo>
                  <a:cubicBezTo>
                    <a:pt x="7130" y="4374"/>
                    <a:pt x="7093" y="4374"/>
                    <a:pt x="7108" y="4411"/>
                  </a:cubicBezTo>
                  <a:cubicBezTo>
                    <a:pt x="7115" y="4440"/>
                    <a:pt x="7166" y="4455"/>
                    <a:pt x="7166" y="4455"/>
                  </a:cubicBezTo>
                  <a:lnTo>
                    <a:pt x="7166" y="4455"/>
                  </a:lnTo>
                  <a:cubicBezTo>
                    <a:pt x="7174" y="4455"/>
                    <a:pt x="7181" y="4462"/>
                    <a:pt x="7137" y="4521"/>
                  </a:cubicBezTo>
                  <a:cubicBezTo>
                    <a:pt x="7086" y="4602"/>
                    <a:pt x="7174" y="4689"/>
                    <a:pt x="7262" y="4763"/>
                  </a:cubicBezTo>
                  <a:cubicBezTo>
                    <a:pt x="7357" y="4828"/>
                    <a:pt x="7254" y="4975"/>
                    <a:pt x="7218" y="5041"/>
                  </a:cubicBezTo>
                  <a:cubicBezTo>
                    <a:pt x="7188" y="5114"/>
                    <a:pt x="7211" y="5144"/>
                    <a:pt x="7218" y="5224"/>
                  </a:cubicBezTo>
                  <a:cubicBezTo>
                    <a:pt x="7232" y="5305"/>
                    <a:pt x="7152" y="5429"/>
                    <a:pt x="7086" y="5495"/>
                  </a:cubicBezTo>
                  <a:cubicBezTo>
                    <a:pt x="7013" y="5561"/>
                    <a:pt x="6991" y="5591"/>
                    <a:pt x="7042" y="5664"/>
                  </a:cubicBezTo>
                  <a:cubicBezTo>
                    <a:pt x="7086" y="5745"/>
                    <a:pt x="7152" y="5766"/>
                    <a:pt x="7174" y="5862"/>
                  </a:cubicBezTo>
                  <a:cubicBezTo>
                    <a:pt x="7196" y="5950"/>
                    <a:pt x="7211" y="6008"/>
                    <a:pt x="7298" y="6030"/>
                  </a:cubicBezTo>
                  <a:cubicBezTo>
                    <a:pt x="7386" y="6052"/>
                    <a:pt x="7364" y="6118"/>
                    <a:pt x="7401" y="6221"/>
                  </a:cubicBezTo>
                  <a:cubicBezTo>
                    <a:pt x="7437" y="6323"/>
                    <a:pt x="7437" y="6338"/>
                    <a:pt x="7401" y="6382"/>
                  </a:cubicBezTo>
                  <a:cubicBezTo>
                    <a:pt x="7364" y="6426"/>
                    <a:pt x="7298" y="6485"/>
                    <a:pt x="7298" y="6485"/>
                  </a:cubicBezTo>
                  <a:cubicBezTo>
                    <a:pt x="7298" y="6485"/>
                    <a:pt x="7306" y="6492"/>
                    <a:pt x="7320" y="6507"/>
                  </a:cubicBezTo>
                  <a:cubicBezTo>
                    <a:pt x="7276" y="6521"/>
                    <a:pt x="7225" y="6536"/>
                    <a:pt x="7211" y="6543"/>
                  </a:cubicBezTo>
                  <a:cubicBezTo>
                    <a:pt x="7211" y="6551"/>
                    <a:pt x="7203" y="6551"/>
                    <a:pt x="7196" y="6551"/>
                  </a:cubicBezTo>
                  <a:cubicBezTo>
                    <a:pt x="7166" y="6551"/>
                    <a:pt x="7093" y="6499"/>
                    <a:pt x="7071" y="6463"/>
                  </a:cubicBezTo>
                  <a:cubicBezTo>
                    <a:pt x="7064" y="6441"/>
                    <a:pt x="7049" y="6426"/>
                    <a:pt x="7035" y="6426"/>
                  </a:cubicBezTo>
                  <a:cubicBezTo>
                    <a:pt x="7013" y="6426"/>
                    <a:pt x="6998" y="6433"/>
                    <a:pt x="6983" y="6463"/>
                  </a:cubicBezTo>
                  <a:cubicBezTo>
                    <a:pt x="6954" y="6507"/>
                    <a:pt x="6969" y="6521"/>
                    <a:pt x="6954" y="6521"/>
                  </a:cubicBezTo>
                  <a:cubicBezTo>
                    <a:pt x="6954" y="6521"/>
                    <a:pt x="6947" y="6521"/>
                    <a:pt x="6939" y="6521"/>
                  </a:cubicBezTo>
                  <a:cubicBezTo>
                    <a:pt x="6925" y="6514"/>
                    <a:pt x="6910" y="6514"/>
                    <a:pt x="6903" y="6514"/>
                  </a:cubicBezTo>
                  <a:cubicBezTo>
                    <a:pt x="6881" y="6514"/>
                    <a:pt x="6851" y="6521"/>
                    <a:pt x="6793" y="6543"/>
                  </a:cubicBezTo>
                  <a:cubicBezTo>
                    <a:pt x="6712" y="6580"/>
                    <a:pt x="6749" y="6573"/>
                    <a:pt x="6675" y="6587"/>
                  </a:cubicBezTo>
                  <a:cubicBezTo>
                    <a:pt x="6602" y="6602"/>
                    <a:pt x="6639" y="6638"/>
                    <a:pt x="6580" y="6690"/>
                  </a:cubicBezTo>
                  <a:cubicBezTo>
                    <a:pt x="6544" y="6726"/>
                    <a:pt x="6544" y="6741"/>
                    <a:pt x="6536" y="6741"/>
                  </a:cubicBezTo>
                  <a:cubicBezTo>
                    <a:pt x="6536" y="6741"/>
                    <a:pt x="6529" y="6741"/>
                    <a:pt x="6522" y="6734"/>
                  </a:cubicBezTo>
                  <a:cubicBezTo>
                    <a:pt x="6500" y="6704"/>
                    <a:pt x="6514" y="6675"/>
                    <a:pt x="6463" y="6675"/>
                  </a:cubicBezTo>
                  <a:cubicBezTo>
                    <a:pt x="6412" y="6675"/>
                    <a:pt x="6353" y="6675"/>
                    <a:pt x="6316" y="6638"/>
                  </a:cubicBezTo>
                  <a:cubicBezTo>
                    <a:pt x="6309" y="6631"/>
                    <a:pt x="6287" y="6624"/>
                    <a:pt x="6273" y="6624"/>
                  </a:cubicBezTo>
                  <a:cubicBezTo>
                    <a:pt x="6229" y="6624"/>
                    <a:pt x="6170" y="6646"/>
                    <a:pt x="6133" y="6653"/>
                  </a:cubicBezTo>
                  <a:cubicBezTo>
                    <a:pt x="6082" y="6675"/>
                    <a:pt x="6089" y="6726"/>
                    <a:pt x="6053" y="6792"/>
                  </a:cubicBezTo>
                  <a:cubicBezTo>
                    <a:pt x="6023" y="6858"/>
                    <a:pt x="6038" y="6866"/>
                    <a:pt x="5987" y="6888"/>
                  </a:cubicBezTo>
                  <a:cubicBezTo>
                    <a:pt x="5935" y="6902"/>
                    <a:pt x="5980" y="6954"/>
                    <a:pt x="5987" y="7019"/>
                  </a:cubicBezTo>
                  <a:cubicBezTo>
                    <a:pt x="5994" y="7093"/>
                    <a:pt x="5965" y="7115"/>
                    <a:pt x="5928" y="7181"/>
                  </a:cubicBezTo>
                  <a:cubicBezTo>
                    <a:pt x="5913" y="7210"/>
                    <a:pt x="5899" y="7225"/>
                    <a:pt x="5884" y="7225"/>
                  </a:cubicBezTo>
                  <a:cubicBezTo>
                    <a:pt x="5862" y="7225"/>
                    <a:pt x="5847" y="7210"/>
                    <a:pt x="5847" y="7181"/>
                  </a:cubicBezTo>
                  <a:cubicBezTo>
                    <a:pt x="5847" y="7159"/>
                    <a:pt x="5840" y="7152"/>
                    <a:pt x="5825" y="7152"/>
                  </a:cubicBezTo>
                  <a:cubicBezTo>
                    <a:pt x="5811" y="7152"/>
                    <a:pt x="5789" y="7159"/>
                    <a:pt x="5767" y="7173"/>
                  </a:cubicBezTo>
                  <a:cubicBezTo>
                    <a:pt x="5716" y="7210"/>
                    <a:pt x="5686" y="7203"/>
                    <a:pt x="5584" y="7225"/>
                  </a:cubicBezTo>
                  <a:cubicBezTo>
                    <a:pt x="5489" y="7254"/>
                    <a:pt x="5459" y="7254"/>
                    <a:pt x="5371" y="7283"/>
                  </a:cubicBezTo>
                  <a:cubicBezTo>
                    <a:pt x="5356" y="7291"/>
                    <a:pt x="5327" y="7298"/>
                    <a:pt x="5305" y="7298"/>
                  </a:cubicBezTo>
                  <a:cubicBezTo>
                    <a:pt x="5217" y="7298"/>
                    <a:pt x="5115" y="7269"/>
                    <a:pt x="5063" y="7261"/>
                  </a:cubicBezTo>
                  <a:cubicBezTo>
                    <a:pt x="4983" y="7254"/>
                    <a:pt x="4932" y="7261"/>
                    <a:pt x="4895" y="7254"/>
                  </a:cubicBezTo>
                  <a:cubicBezTo>
                    <a:pt x="4866" y="7239"/>
                    <a:pt x="4924" y="7195"/>
                    <a:pt x="4858" y="7181"/>
                  </a:cubicBezTo>
                  <a:cubicBezTo>
                    <a:pt x="4785" y="7173"/>
                    <a:pt x="4748" y="7122"/>
                    <a:pt x="4697" y="7100"/>
                  </a:cubicBezTo>
                  <a:cubicBezTo>
                    <a:pt x="4653" y="7078"/>
                    <a:pt x="4675" y="7034"/>
                    <a:pt x="4661" y="7034"/>
                  </a:cubicBezTo>
                  <a:cubicBezTo>
                    <a:pt x="4661" y="7034"/>
                    <a:pt x="4653" y="7042"/>
                    <a:pt x="4646" y="7049"/>
                  </a:cubicBezTo>
                  <a:cubicBezTo>
                    <a:pt x="4594" y="7078"/>
                    <a:pt x="4594" y="7107"/>
                    <a:pt x="4536" y="7115"/>
                  </a:cubicBezTo>
                  <a:cubicBezTo>
                    <a:pt x="4529" y="7115"/>
                    <a:pt x="4521" y="7115"/>
                    <a:pt x="4514" y="7115"/>
                  </a:cubicBezTo>
                  <a:cubicBezTo>
                    <a:pt x="4499" y="7115"/>
                    <a:pt x="4492" y="7115"/>
                    <a:pt x="4485" y="7115"/>
                  </a:cubicBezTo>
                  <a:cubicBezTo>
                    <a:pt x="4485" y="7115"/>
                    <a:pt x="4477" y="7115"/>
                    <a:pt x="4463" y="7144"/>
                  </a:cubicBezTo>
                  <a:cubicBezTo>
                    <a:pt x="4433" y="7195"/>
                    <a:pt x="4404" y="7203"/>
                    <a:pt x="4353" y="7261"/>
                  </a:cubicBezTo>
                  <a:cubicBezTo>
                    <a:pt x="4338" y="7276"/>
                    <a:pt x="4331" y="7283"/>
                    <a:pt x="4316" y="7283"/>
                  </a:cubicBezTo>
                  <a:cubicBezTo>
                    <a:pt x="4280" y="7283"/>
                    <a:pt x="4250" y="7232"/>
                    <a:pt x="4228" y="7217"/>
                  </a:cubicBezTo>
                  <a:cubicBezTo>
                    <a:pt x="4191" y="7203"/>
                    <a:pt x="4191" y="7159"/>
                    <a:pt x="4213" y="7115"/>
                  </a:cubicBezTo>
                  <a:cubicBezTo>
                    <a:pt x="4228" y="7071"/>
                    <a:pt x="4221" y="7064"/>
                    <a:pt x="4213" y="7027"/>
                  </a:cubicBezTo>
                  <a:cubicBezTo>
                    <a:pt x="4199" y="6997"/>
                    <a:pt x="4177" y="6983"/>
                    <a:pt x="4177" y="6946"/>
                  </a:cubicBezTo>
                  <a:cubicBezTo>
                    <a:pt x="4177" y="6910"/>
                    <a:pt x="4213" y="6910"/>
                    <a:pt x="4235" y="6888"/>
                  </a:cubicBezTo>
                  <a:cubicBezTo>
                    <a:pt x="4257" y="6858"/>
                    <a:pt x="4221" y="6800"/>
                    <a:pt x="4184" y="6785"/>
                  </a:cubicBezTo>
                  <a:cubicBezTo>
                    <a:pt x="4155" y="6770"/>
                    <a:pt x="4184" y="6712"/>
                    <a:pt x="4155" y="6712"/>
                  </a:cubicBezTo>
                  <a:cubicBezTo>
                    <a:pt x="4155" y="6712"/>
                    <a:pt x="4155" y="6712"/>
                    <a:pt x="4148" y="6719"/>
                  </a:cubicBezTo>
                  <a:lnTo>
                    <a:pt x="4140" y="6719"/>
                  </a:lnTo>
                  <a:cubicBezTo>
                    <a:pt x="4104" y="6719"/>
                    <a:pt x="4082" y="6690"/>
                    <a:pt x="4082" y="6690"/>
                  </a:cubicBezTo>
                  <a:cubicBezTo>
                    <a:pt x="4082" y="6690"/>
                    <a:pt x="4096" y="6602"/>
                    <a:pt x="4067" y="6573"/>
                  </a:cubicBezTo>
                  <a:cubicBezTo>
                    <a:pt x="4045" y="6551"/>
                    <a:pt x="4030" y="6543"/>
                    <a:pt x="4008" y="6543"/>
                  </a:cubicBezTo>
                  <a:cubicBezTo>
                    <a:pt x="3994" y="6543"/>
                    <a:pt x="3986" y="6543"/>
                    <a:pt x="3964" y="6543"/>
                  </a:cubicBezTo>
                  <a:cubicBezTo>
                    <a:pt x="3957" y="6543"/>
                    <a:pt x="3957" y="6543"/>
                    <a:pt x="3957" y="6543"/>
                  </a:cubicBezTo>
                  <a:cubicBezTo>
                    <a:pt x="3906" y="6543"/>
                    <a:pt x="3906" y="6485"/>
                    <a:pt x="3876" y="6463"/>
                  </a:cubicBezTo>
                  <a:cubicBezTo>
                    <a:pt x="3876" y="6455"/>
                    <a:pt x="3876" y="6455"/>
                    <a:pt x="3869" y="6455"/>
                  </a:cubicBezTo>
                  <a:cubicBezTo>
                    <a:pt x="3891" y="6433"/>
                    <a:pt x="3913" y="6411"/>
                    <a:pt x="3950" y="6389"/>
                  </a:cubicBezTo>
                  <a:cubicBezTo>
                    <a:pt x="4016" y="6353"/>
                    <a:pt x="4060" y="6338"/>
                    <a:pt x="4089" y="6287"/>
                  </a:cubicBezTo>
                  <a:cubicBezTo>
                    <a:pt x="4125" y="6243"/>
                    <a:pt x="4148" y="6169"/>
                    <a:pt x="4111" y="6147"/>
                  </a:cubicBezTo>
                  <a:cubicBezTo>
                    <a:pt x="4067" y="6118"/>
                    <a:pt x="4038" y="6067"/>
                    <a:pt x="4067" y="6016"/>
                  </a:cubicBezTo>
                  <a:cubicBezTo>
                    <a:pt x="4089" y="5964"/>
                    <a:pt x="4096" y="5913"/>
                    <a:pt x="4067" y="5891"/>
                  </a:cubicBezTo>
                  <a:cubicBezTo>
                    <a:pt x="4030" y="5862"/>
                    <a:pt x="3986" y="5840"/>
                    <a:pt x="4001" y="5796"/>
                  </a:cubicBezTo>
                  <a:cubicBezTo>
                    <a:pt x="4001" y="5759"/>
                    <a:pt x="4016" y="5671"/>
                    <a:pt x="3950" y="5671"/>
                  </a:cubicBezTo>
                  <a:cubicBezTo>
                    <a:pt x="3942" y="5671"/>
                    <a:pt x="3928" y="5671"/>
                    <a:pt x="3913" y="5678"/>
                  </a:cubicBezTo>
                  <a:cubicBezTo>
                    <a:pt x="3884" y="5686"/>
                    <a:pt x="3862" y="5693"/>
                    <a:pt x="3840" y="5693"/>
                  </a:cubicBezTo>
                  <a:cubicBezTo>
                    <a:pt x="3774" y="5693"/>
                    <a:pt x="3730" y="5657"/>
                    <a:pt x="3759" y="5627"/>
                  </a:cubicBezTo>
                  <a:cubicBezTo>
                    <a:pt x="3796" y="5591"/>
                    <a:pt x="3752" y="5583"/>
                    <a:pt x="3701" y="5583"/>
                  </a:cubicBezTo>
                  <a:cubicBezTo>
                    <a:pt x="3649" y="5583"/>
                    <a:pt x="3635" y="5576"/>
                    <a:pt x="3620" y="5532"/>
                  </a:cubicBezTo>
                  <a:cubicBezTo>
                    <a:pt x="3620" y="5503"/>
                    <a:pt x="3605" y="5473"/>
                    <a:pt x="3583" y="5473"/>
                  </a:cubicBezTo>
                  <a:cubicBezTo>
                    <a:pt x="3576" y="5473"/>
                    <a:pt x="3569" y="5473"/>
                    <a:pt x="3554" y="5481"/>
                  </a:cubicBezTo>
                  <a:cubicBezTo>
                    <a:pt x="3532" y="5503"/>
                    <a:pt x="3495" y="5517"/>
                    <a:pt x="3466" y="5517"/>
                  </a:cubicBezTo>
                  <a:cubicBezTo>
                    <a:pt x="3444" y="5517"/>
                    <a:pt x="3422" y="5510"/>
                    <a:pt x="3408" y="5473"/>
                  </a:cubicBezTo>
                  <a:cubicBezTo>
                    <a:pt x="3393" y="5422"/>
                    <a:pt x="3378" y="5407"/>
                    <a:pt x="3356" y="5407"/>
                  </a:cubicBezTo>
                  <a:cubicBezTo>
                    <a:pt x="3342" y="5407"/>
                    <a:pt x="3334" y="5415"/>
                    <a:pt x="3320" y="5415"/>
                  </a:cubicBezTo>
                  <a:cubicBezTo>
                    <a:pt x="3312" y="5415"/>
                    <a:pt x="3305" y="5415"/>
                    <a:pt x="3305" y="5415"/>
                  </a:cubicBezTo>
                  <a:cubicBezTo>
                    <a:pt x="3261" y="5415"/>
                    <a:pt x="3224" y="5385"/>
                    <a:pt x="3195" y="5356"/>
                  </a:cubicBezTo>
                  <a:cubicBezTo>
                    <a:pt x="3188" y="5342"/>
                    <a:pt x="3180" y="5342"/>
                    <a:pt x="3173" y="5342"/>
                  </a:cubicBezTo>
                  <a:cubicBezTo>
                    <a:pt x="3158" y="5342"/>
                    <a:pt x="3151" y="5342"/>
                    <a:pt x="3144" y="5342"/>
                  </a:cubicBezTo>
                  <a:cubicBezTo>
                    <a:pt x="3129" y="5342"/>
                    <a:pt x="3122" y="5342"/>
                    <a:pt x="3114" y="5327"/>
                  </a:cubicBezTo>
                  <a:cubicBezTo>
                    <a:pt x="3092" y="5297"/>
                    <a:pt x="3114" y="5268"/>
                    <a:pt x="3092" y="5268"/>
                  </a:cubicBezTo>
                  <a:cubicBezTo>
                    <a:pt x="3085" y="5268"/>
                    <a:pt x="3078" y="5268"/>
                    <a:pt x="3070" y="5268"/>
                  </a:cubicBezTo>
                  <a:cubicBezTo>
                    <a:pt x="3019" y="5290"/>
                    <a:pt x="2975" y="5327"/>
                    <a:pt x="2909" y="5364"/>
                  </a:cubicBezTo>
                  <a:cubicBezTo>
                    <a:pt x="2865" y="5385"/>
                    <a:pt x="2836" y="5407"/>
                    <a:pt x="2807" y="5407"/>
                  </a:cubicBezTo>
                  <a:cubicBezTo>
                    <a:pt x="2792" y="5407"/>
                    <a:pt x="2770" y="5393"/>
                    <a:pt x="2755" y="5371"/>
                  </a:cubicBezTo>
                  <a:cubicBezTo>
                    <a:pt x="2711" y="5312"/>
                    <a:pt x="2667" y="5276"/>
                    <a:pt x="2653" y="5246"/>
                  </a:cubicBezTo>
                  <a:cubicBezTo>
                    <a:pt x="2645" y="5224"/>
                    <a:pt x="2631" y="5224"/>
                    <a:pt x="2616" y="5224"/>
                  </a:cubicBezTo>
                  <a:cubicBezTo>
                    <a:pt x="2601" y="5224"/>
                    <a:pt x="2587" y="5224"/>
                    <a:pt x="2587" y="5224"/>
                  </a:cubicBezTo>
                  <a:cubicBezTo>
                    <a:pt x="2587" y="5224"/>
                    <a:pt x="2580" y="5290"/>
                    <a:pt x="2550" y="5290"/>
                  </a:cubicBezTo>
                  <a:cubicBezTo>
                    <a:pt x="2550" y="5290"/>
                    <a:pt x="2550" y="5290"/>
                    <a:pt x="2543" y="5290"/>
                  </a:cubicBezTo>
                  <a:cubicBezTo>
                    <a:pt x="2506" y="5268"/>
                    <a:pt x="2367" y="5180"/>
                    <a:pt x="2367" y="5180"/>
                  </a:cubicBezTo>
                  <a:cubicBezTo>
                    <a:pt x="2367" y="5180"/>
                    <a:pt x="2330" y="5166"/>
                    <a:pt x="2308" y="5100"/>
                  </a:cubicBezTo>
                  <a:cubicBezTo>
                    <a:pt x="2279" y="5034"/>
                    <a:pt x="2220" y="5026"/>
                    <a:pt x="2199" y="4990"/>
                  </a:cubicBezTo>
                  <a:cubicBezTo>
                    <a:pt x="2169" y="4953"/>
                    <a:pt x="2111" y="4902"/>
                    <a:pt x="2096" y="4843"/>
                  </a:cubicBezTo>
                  <a:cubicBezTo>
                    <a:pt x="2074" y="4785"/>
                    <a:pt x="2074" y="4741"/>
                    <a:pt x="2118" y="4689"/>
                  </a:cubicBezTo>
                  <a:cubicBezTo>
                    <a:pt x="2162" y="4638"/>
                    <a:pt x="2169" y="4667"/>
                    <a:pt x="2206" y="4638"/>
                  </a:cubicBezTo>
                  <a:cubicBezTo>
                    <a:pt x="2235" y="4616"/>
                    <a:pt x="2176" y="4587"/>
                    <a:pt x="2147" y="4557"/>
                  </a:cubicBezTo>
                  <a:cubicBezTo>
                    <a:pt x="2111" y="4521"/>
                    <a:pt x="2118" y="4492"/>
                    <a:pt x="2132" y="4404"/>
                  </a:cubicBezTo>
                  <a:cubicBezTo>
                    <a:pt x="2154" y="4316"/>
                    <a:pt x="2213" y="4294"/>
                    <a:pt x="2220" y="4250"/>
                  </a:cubicBezTo>
                  <a:cubicBezTo>
                    <a:pt x="2228" y="4206"/>
                    <a:pt x="2206" y="4176"/>
                    <a:pt x="2199" y="4125"/>
                  </a:cubicBezTo>
                  <a:cubicBezTo>
                    <a:pt x="2184" y="4074"/>
                    <a:pt x="2176" y="3927"/>
                    <a:pt x="2213" y="3883"/>
                  </a:cubicBezTo>
                  <a:cubicBezTo>
                    <a:pt x="2242" y="3839"/>
                    <a:pt x="2286" y="3788"/>
                    <a:pt x="2257" y="3759"/>
                  </a:cubicBezTo>
                  <a:cubicBezTo>
                    <a:pt x="2242" y="3744"/>
                    <a:pt x="2235" y="3744"/>
                    <a:pt x="2220" y="3744"/>
                  </a:cubicBezTo>
                  <a:cubicBezTo>
                    <a:pt x="2206" y="3744"/>
                    <a:pt x="2191" y="3751"/>
                    <a:pt x="2176" y="3751"/>
                  </a:cubicBezTo>
                  <a:cubicBezTo>
                    <a:pt x="2162" y="3751"/>
                    <a:pt x="2154" y="3744"/>
                    <a:pt x="2147" y="3737"/>
                  </a:cubicBezTo>
                  <a:cubicBezTo>
                    <a:pt x="2103" y="3715"/>
                    <a:pt x="2118" y="3627"/>
                    <a:pt x="2096" y="3619"/>
                  </a:cubicBezTo>
                  <a:cubicBezTo>
                    <a:pt x="2081" y="3619"/>
                    <a:pt x="2081" y="3619"/>
                    <a:pt x="2074" y="3619"/>
                  </a:cubicBezTo>
                  <a:cubicBezTo>
                    <a:pt x="2067" y="3619"/>
                    <a:pt x="2059" y="3627"/>
                    <a:pt x="2030" y="3649"/>
                  </a:cubicBezTo>
                  <a:cubicBezTo>
                    <a:pt x="2008" y="3671"/>
                    <a:pt x="1971" y="3700"/>
                    <a:pt x="1949" y="3700"/>
                  </a:cubicBezTo>
                  <a:cubicBezTo>
                    <a:pt x="1942" y="3700"/>
                    <a:pt x="1935" y="3693"/>
                    <a:pt x="1935" y="3678"/>
                  </a:cubicBezTo>
                  <a:cubicBezTo>
                    <a:pt x="1920" y="3627"/>
                    <a:pt x="1942" y="3627"/>
                    <a:pt x="1957" y="3605"/>
                  </a:cubicBezTo>
                  <a:cubicBezTo>
                    <a:pt x="1971" y="3576"/>
                    <a:pt x="1891" y="3568"/>
                    <a:pt x="1891" y="3568"/>
                  </a:cubicBezTo>
                  <a:cubicBezTo>
                    <a:pt x="1891" y="3568"/>
                    <a:pt x="1898" y="3539"/>
                    <a:pt x="1913" y="3488"/>
                  </a:cubicBezTo>
                  <a:cubicBezTo>
                    <a:pt x="1935" y="3436"/>
                    <a:pt x="1913" y="3348"/>
                    <a:pt x="1935" y="3326"/>
                  </a:cubicBezTo>
                  <a:cubicBezTo>
                    <a:pt x="1949" y="3297"/>
                    <a:pt x="2001" y="3290"/>
                    <a:pt x="2015" y="3260"/>
                  </a:cubicBezTo>
                  <a:cubicBezTo>
                    <a:pt x="2030" y="3238"/>
                    <a:pt x="2059" y="3173"/>
                    <a:pt x="2015" y="3085"/>
                  </a:cubicBezTo>
                  <a:cubicBezTo>
                    <a:pt x="1971" y="2997"/>
                    <a:pt x="1942" y="2967"/>
                    <a:pt x="1964" y="2923"/>
                  </a:cubicBezTo>
                  <a:cubicBezTo>
                    <a:pt x="1993" y="2879"/>
                    <a:pt x="1964" y="2857"/>
                    <a:pt x="1957" y="2821"/>
                  </a:cubicBezTo>
                  <a:cubicBezTo>
                    <a:pt x="1949" y="2792"/>
                    <a:pt x="1979" y="2755"/>
                    <a:pt x="2023" y="2726"/>
                  </a:cubicBezTo>
                  <a:cubicBezTo>
                    <a:pt x="2067" y="2704"/>
                    <a:pt x="2052" y="2652"/>
                    <a:pt x="2030" y="2608"/>
                  </a:cubicBezTo>
                  <a:cubicBezTo>
                    <a:pt x="2015" y="2564"/>
                    <a:pt x="1942" y="2476"/>
                    <a:pt x="1905" y="2462"/>
                  </a:cubicBezTo>
                  <a:lnTo>
                    <a:pt x="1898" y="2462"/>
                  </a:lnTo>
                  <a:cubicBezTo>
                    <a:pt x="1869" y="2462"/>
                    <a:pt x="1869" y="2506"/>
                    <a:pt x="1832" y="2528"/>
                  </a:cubicBezTo>
                  <a:cubicBezTo>
                    <a:pt x="1825" y="2528"/>
                    <a:pt x="1818" y="2528"/>
                    <a:pt x="1818" y="2528"/>
                  </a:cubicBezTo>
                  <a:cubicBezTo>
                    <a:pt x="1788" y="2528"/>
                    <a:pt x="1795" y="2476"/>
                    <a:pt x="1781" y="2447"/>
                  </a:cubicBezTo>
                  <a:cubicBezTo>
                    <a:pt x="1773" y="2440"/>
                    <a:pt x="1773" y="2433"/>
                    <a:pt x="1766" y="2433"/>
                  </a:cubicBezTo>
                  <a:cubicBezTo>
                    <a:pt x="1759" y="2433"/>
                    <a:pt x="1751" y="2454"/>
                    <a:pt x="1722" y="2454"/>
                  </a:cubicBezTo>
                  <a:cubicBezTo>
                    <a:pt x="1715" y="2454"/>
                    <a:pt x="1715" y="2454"/>
                    <a:pt x="1708" y="2454"/>
                  </a:cubicBezTo>
                  <a:cubicBezTo>
                    <a:pt x="1671" y="2447"/>
                    <a:pt x="1612" y="2440"/>
                    <a:pt x="1576" y="2440"/>
                  </a:cubicBezTo>
                  <a:cubicBezTo>
                    <a:pt x="1568" y="2440"/>
                    <a:pt x="1561" y="2440"/>
                    <a:pt x="1554" y="2440"/>
                  </a:cubicBezTo>
                  <a:cubicBezTo>
                    <a:pt x="1546" y="2440"/>
                    <a:pt x="1517" y="2447"/>
                    <a:pt x="1480" y="2447"/>
                  </a:cubicBezTo>
                  <a:cubicBezTo>
                    <a:pt x="1444" y="2447"/>
                    <a:pt x="1392" y="2440"/>
                    <a:pt x="1356" y="2425"/>
                  </a:cubicBezTo>
                  <a:cubicBezTo>
                    <a:pt x="1282" y="2388"/>
                    <a:pt x="1209" y="2374"/>
                    <a:pt x="1194" y="2345"/>
                  </a:cubicBezTo>
                  <a:cubicBezTo>
                    <a:pt x="1173" y="2323"/>
                    <a:pt x="1194" y="2286"/>
                    <a:pt x="1209" y="2249"/>
                  </a:cubicBezTo>
                  <a:cubicBezTo>
                    <a:pt x="1224" y="2227"/>
                    <a:pt x="1194" y="2205"/>
                    <a:pt x="1165" y="2205"/>
                  </a:cubicBezTo>
                  <a:cubicBezTo>
                    <a:pt x="1158" y="2205"/>
                    <a:pt x="1143" y="2213"/>
                    <a:pt x="1129" y="2220"/>
                  </a:cubicBezTo>
                  <a:cubicBezTo>
                    <a:pt x="1129" y="2220"/>
                    <a:pt x="1121" y="2220"/>
                    <a:pt x="1114" y="2220"/>
                  </a:cubicBezTo>
                  <a:cubicBezTo>
                    <a:pt x="1085" y="2220"/>
                    <a:pt x="1063" y="2147"/>
                    <a:pt x="1063" y="2147"/>
                  </a:cubicBezTo>
                  <a:cubicBezTo>
                    <a:pt x="1033" y="2117"/>
                    <a:pt x="1019" y="2103"/>
                    <a:pt x="1004" y="2103"/>
                  </a:cubicBezTo>
                  <a:cubicBezTo>
                    <a:pt x="989" y="2103"/>
                    <a:pt x="975" y="2110"/>
                    <a:pt x="960" y="2117"/>
                  </a:cubicBezTo>
                  <a:cubicBezTo>
                    <a:pt x="938" y="2132"/>
                    <a:pt x="916" y="2147"/>
                    <a:pt x="901" y="2147"/>
                  </a:cubicBezTo>
                  <a:cubicBezTo>
                    <a:pt x="887" y="2147"/>
                    <a:pt x="880" y="2139"/>
                    <a:pt x="880" y="2117"/>
                  </a:cubicBezTo>
                  <a:cubicBezTo>
                    <a:pt x="872" y="2066"/>
                    <a:pt x="858" y="2066"/>
                    <a:pt x="821" y="2059"/>
                  </a:cubicBezTo>
                  <a:cubicBezTo>
                    <a:pt x="777" y="2051"/>
                    <a:pt x="777" y="2022"/>
                    <a:pt x="792" y="1985"/>
                  </a:cubicBezTo>
                  <a:cubicBezTo>
                    <a:pt x="806" y="1956"/>
                    <a:pt x="784" y="1942"/>
                    <a:pt x="740" y="1942"/>
                  </a:cubicBezTo>
                  <a:cubicBezTo>
                    <a:pt x="762" y="1919"/>
                    <a:pt x="777" y="1905"/>
                    <a:pt x="777" y="1905"/>
                  </a:cubicBezTo>
                  <a:cubicBezTo>
                    <a:pt x="777" y="1905"/>
                    <a:pt x="762" y="1919"/>
                    <a:pt x="740" y="1942"/>
                  </a:cubicBezTo>
                  <a:lnTo>
                    <a:pt x="733" y="1934"/>
                  </a:lnTo>
                  <a:cubicBezTo>
                    <a:pt x="689" y="1934"/>
                    <a:pt x="667" y="1949"/>
                    <a:pt x="630" y="1949"/>
                  </a:cubicBezTo>
                  <a:cubicBezTo>
                    <a:pt x="616" y="1949"/>
                    <a:pt x="608" y="1949"/>
                    <a:pt x="594" y="1949"/>
                  </a:cubicBezTo>
                  <a:cubicBezTo>
                    <a:pt x="535" y="1934"/>
                    <a:pt x="491" y="1890"/>
                    <a:pt x="425" y="1861"/>
                  </a:cubicBezTo>
                  <a:cubicBezTo>
                    <a:pt x="411" y="1854"/>
                    <a:pt x="396" y="1854"/>
                    <a:pt x="381" y="1854"/>
                  </a:cubicBezTo>
                  <a:cubicBezTo>
                    <a:pt x="330" y="1854"/>
                    <a:pt x="293" y="1883"/>
                    <a:pt x="257" y="1897"/>
                  </a:cubicBezTo>
                  <a:cubicBezTo>
                    <a:pt x="242" y="1905"/>
                    <a:pt x="227" y="1905"/>
                    <a:pt x="213" y="1905"/>
                  </a:cubicBezTo>
                  <a:cubicBezTo>
                    <a:pt x="183" y="1905"/>
                    <a:pt x="154" y="1890"/>
                    <a:pt x="132" y="1861"/>
                  </a:cubicBezTo>
                  <a:cubicBezTo>
                    <a:pt x="88" y="1810"/>
                    <a:pt x="22" y="1722"/>
                    <a:pt x="66" y="1714"/>
                  </a:cubicBezTo>
                  <a:cubicBezTo>
                    <a:pt x="81" y="1729"/>
                    <a:pt x="88" y="1736"/>
                    <a:pt x="95" y="1751"/>
                  </a:cubicBezTo>
                  <a:cubicBezTo>
                    <a:pt x="88" y="1736"/>
                    <a:pt x="81" y="1729"/>
                    <a:pt x="66" y="1714"/>
                  </a:cubicBezTo>
                  <a:lnTo>
                    <a:pt x="66" y="1714"/>
                  </a:lnTo>
                  <a:cubicBezTo>
                    <a:pt x="118" y="1714"/>
                    <a:pt x="205" y="1714"/>
                    <a:pt x="242" y="1714"/>
                  </a:cubicBezTo>
                  <a:cubicBezTo>
                    <a:pt x="271" y="1714"/>
                    <a:pt x="293" y="1707"/>
                    <a:pt x="301" y="1670"/>
                  </a:cubicBezTo>
                  <a:cubicBezTo>
                    <a:pt x="308" y="1648"/>
                    <a:pt x="330" y="1626"/>
                    <a:pt x="381" y="1626"/>
                  </a:cubicBezTo>
                  <a:cubicBezTo>
                    <a:pt x="396" y="1626"/>
                    <a:pt x="403" y="1634"/>
                    <a:pt x="418" y="1634"/>
                  </a:cubicBezTo>
                  <a:cubicBezTo>
                    <a:pt x="484" y="1641"/>
                    <a:pt x="535" y="1692"/>
                    <a:pt x="564" y="1692"/>
                  </a:cubicBezTo>
                  <a:cubicBezTo>
                    <a:pt x="572" y="1692"/>
                    <a:pt x="579" y="1692"/>
                    <a:pt x="579" y="1685"/>
                  </a:cubicBezTo>
                  <a:cubicBezTo>
                    <a:pt x="594" y="1648"/>
                    <a:pt x="594" y="1641"/>
                    <a:pt x="608" y="1582"/>
                  </a:cubicBezTo>
                  <a:cubicBezTo>
                    <a:pt x="616" y="1524"/>
                    <a:pt x="557" y="1494"/>
                    <a:pt x="594" y="1436"/>
                  </a:cubicBezTo>
                  <a:cubicBezTo>
                    <a:pt x="638" y="1377"/>
                    <a:pt x="674" y="1348"/>
                    <a:pt x="718" y="1326"/>
                  </a:cubicBezTo>
                  <a:cubicBezTo>
                    <a:pt x="748" y="1304"/>
                    <a:pt x="777" y="1260"/>
                    <a:pt x="821" y="1260"/>
                  </a:cubicBezTo>
                  <a:cubicBezTo>
                    <a:pt x="836" y="1260"/>
                    <a:pt x="843" y="1260"/>
                    <a:pt x="850" y="1267"/>
                  </a:cubicBezTo>
                  <a:cubicBezTo>
                    <a:pt x="901" y="1289"/>
                    <a:pt x="960" y="1333"/>
                    <a:pt x="1004" y="1333"/>
                  </a:cubicBezTo>
                  <a:cubicBezTo>
                    <a:pt x="1011" y="1333"/>
                    <a:pt x="1026" y="1333"/>
                    <a:pt x="1033" y="1326"/>
                  </a:cubicBezTo>
                  <a:cubicBezTo>
                    <a:pt x="1070" y="1297"/>
                    <a:pt x="1121" y="1297"/>
                    <a:pt x="1143" y="1267"/>
                  </a:cubicBezTo>
                  <a:cubicBezTo>
                    <a:pt x="1158" y="1231"/>
                    <a:pt x="1180" y="1223"/>
                    <a:pt x="1231" y="1179"/>
                  </a:cubicBezTo>
                  <a:cubicBezTo>
                    <a:pt x="1275" y="1150"/>
                    <a:pt x="1297" y="1121"/>
                    <a:pt x="1319" y="1121"/>
                  </a:cubicBezTo>
                  <a:cubicBezTo>
                    <a:pt x="1327" y="1121"/>
                    <a:pt x="1334" y="1121"/>
                    <a:pt x="1341" y="1128"/>
                  </a:cubicBezTo>
                  <a:cubicBezTo>
                    <a:pt x="1356" y="1135"/>
                    <a:pt x="1363" y="1143"/>
                    <a:pt x="1370" y="1143"/>
                  </a:cubicBezTo>
                  <a:cubicBezTo>
                    <a:pt x="1392" y="1143"/>
                    <a:pt x="1407" y="1121"/>
                    <a:pt x="1414" y="1106"/>
                  </a:cubicBezTo>
                  <a:cubicBezTo>
                    <a:pt x="1422" y="1077"/>
                    <a:pt x="1407" y="1069"/>
                    <a:pt x="1466" y="1062"/>
                  </a:cubicBezTo>
                  <a:cubicBezTo>
                    <a:pt x="1524" y="1055"/>
                    <a:pt x="1517" y="938"/>
                    <a:pt x="1517" y="938"/>
                  </a:cubicBezTo>
                  <a:cubicBezTo>
                    <a:pt x="1517" y="938"/>
                    <a:pt x="1576" y="923"/>
                    <a:pt x="1583" y="872"/>
                  </a:cubicBezTo>
                  <a:cubicBezTo>
                    <a:pt x="1583" y="857"/>
                    <a:pt x="1590" y="850"/>
                    <a:pt x="1598" y="850"/>
                  </a:cubicBezTo>
                  <a:cubicBezTo>
                    <a:pt x="1605" y="850"/>
                    <a:pt x="1620" y="864"/>
                    <a:pt x="1642" y="894"/>
                  </a:cubicBezTo>
                  <a:cubicBezTo>
                    <a:pt x="1663" y="908"/>
                    <a:pt x="1678" y="916"/>
                    <a:pt x="1693" y="916"/>
                  </a:cubicBezTo>
                  <a:cubicBezTo>
                    <a:pt x="1715" y="916"/>
                    <a:pt x="1737" y="908"/>
                    <a:pt x="1751" y="894"/>
                  </a:cubicBezTo>
                  <a:cubicBezTo>
                    <a:pt x="1781" y="872"/>
                    <a:pt x="1825" y="850"/>
                    <a:pt x="1861" y="850"/>
                  </a:cubicBezTo>
                  <a:cubicBezTo>
                    <a:pt x="1869" y="850"/>
                    <a:pt x="1876" y="850"/>
                    <a:pt x="1883" y="850"/>
                  </a:cubicBezTo>
                  <a:cubicBezTo>
                    <a:pt x="1920" y="857"/>
                    <a:pt x="1920" y="901"/>
                    <a:pt x="1957" y="916"/>
                  </a:cubicBezTo>
                  <a:cubicBezTo>
                    <a:pt x="1993" y="938"/>
                    <a:pt x="2023" y="923"/>
                    <a:pt x="2081" y="938"/>
                  </a:cubicBezTo>
                  <a:cubicBezTo>
                    <a:pt x="2147" y="945"/>
                    <a:pt x="2242" y="1033"/>
                    <a:pt x="2279" y="1069"/>
                  </a:cubicBezTo>
                  <a:cubicBezTo>
                    <a:pt x="2308" y="1099"/>
                    <a:pt x="2323" y="1179"/>
                    <a:pt x="2382" y="1179"/>
                  </a:cubicBezTo>
                  <a:cubicBezTo>
                    <a:pt x="2389" y="1179"/>
                    <a:pt x="2396" y="1172"/>
                    <a:pt x="2411" y="1172"/>
                  </a:cubicBezTo>
                  <a:cubicBezTo>
                    <a:pt x="2477" y="1150"/>
                    <a:pt x="2506" y="1135"/>
                    <a:pt x="2543" y="1135"/>
                  </a:cubicBezTo>
                  <a:cubicBezTo>
                    <a:pt x="2550" y="1135"/>
                    <a:pt x="2565" y="1135"/>
                    <a:pt x="2580" y="1135"/>
                  </a:cubicBezTo>
                  <a:cubicBezTo>
                    <a:pt x="2616" y="1150"/>
                    <a:pt x="2638" y="1157"/>
                    <a:pt x="2660" y="1157"/>
                  </a:cubicBezTo>
                  <a:cubicBezTo>
                    <a:pt x="2675" y="1157"/>
                    <a:pt x="2689" y="1157"/>
                    <a:pt x="2711" y="1150"/>
                  </a:cubicBezTo>
                  <a:cubicBezTo>
                    <a:pt x="2726" y="1143"/>
                    <a:pt x="2741" y="1135"/>
                    <a:pt x="2755" y="1135"/>
                  </a:cubicBezTo>
                  <a:cubicBezTo>
                    <a:pt x="2792" y="1135"/>
                    <a:pt x="2814" y="1165"/>
                    <a:pt x="2807" y="1201"/>
                  </a:cubicBezTo>
                  <a:cubicBezTo>
                    <a:pt x="2799" y="1231"/>
                    <a:pt x="2821" y="1253"/>
                    <a:pt x="2858" y="1253"/>
                  </a:cubicBezTo>
                  <a:cubicBezTo>
                    <a:pt x="2865" y="1253"/>
                    <a:pt x="2880" y="1253"/>
                    <a:pt x="2894" y="1245"/>
                  </a:cubicBezTo>
                  <a:cubicBezTo>
                    <a:pt x="2894" y="1245"/>
                    <a:pt x="2902" y="1245"/>
                    <a:pt x="2909" y="1245"/>
                  </a:cubicBezTo>
                  <a:cubicBezTo>
                    <a:pt x="2953" y="1245"/>
                    <a:pt x="2953" y="1311"/>
                    <a:pt x="2997" y="1333"/>
                  </a:cubicBezTo>
                  <a:cubicBezTo>
                    <a:pt x="3026" y="1355"/>
                    <a:pt x="3041" y="1370"/>
                    <a:pt x="3063" y="1370"/>
                  </a:cubicBezTo>
                  <a:cubicBezTo>
                    <a:pt x="3070" y="1370"/>
                    <a:pt x="3078" y="1363"/>
                    <a:pt x="3085" y="1363"/>
                  </a:cubicBezTo>
                  <a:cubicBezTo>
                    <a:pt x="3122" y="1341"/>
                    <a:pt x="3217" y="1333"/>
                    <a:pt x="3217" y="1333"/>
                  </a:cubicBezTo>
                  <a:cubicBezTo>
                    <a:pt x="3232" y="1348"/>
                    <a:pt x="3254" y="1355"/>
                    <a:pt x="3275" y="1355"/>
                  </a:cubicBezTo>
                  <a:cubicBezTo>
                    <a:pt x="3290" y="1355"/>
                    <a:pt x="3305" y="1355"/>
                    <a:pt x="3320" y="1348"/>
                  </a:cubicBezTo>
                  <a:cubicBezTo>
                    <a:pt x="3356" y="1341"/>
                    <a:pt x="3393" y="1297"/>
                    <a:pt x="3415" y="1297"/>
                  </a:cubicBezTo>
                  <a:cubicBezTo>
                    <a:pt x="3415" y="1297"/>
                    <a:pt x="3415" y="1297"/>
                    <a:pt x="3422" y="1297"/>
                  </a:cubicBezTo>
                  <a:cubicBezTo>
                    <a:pt x="3430" y="1326"/>
                    <a:pt x="3378" y="1414"/>
                    <a:pt x="3437" y="1414"/>
                  </a:cubicBezTo>
                  <a:cubicBezTo>
                    <a:pt x="3495" y="1414"/>
                    <a:pt x="3488" y="1414"/>
                    <a:pt x="3532" y="1348"/>
                  </a:cubicBezTo>
                  <a:cubicBezTo>
                    <a:pt x="3569" y="1289"/>
                    <a:pt x="3583" y="1311"/>
                    <a:pt x="3635" y="1275"/>
                  </a:cubicBezTo>
                  <a:cubicBezTo>
                    <a:pt x="3686" y="1238"/>
                    <a:pt x="3671" y="1216"/>
                    <a:pt x="3701" y="1172"/>
                  </a:cubicBezTo>
                  <a:cubicBezTo>
                    <a:pt x="3723" y="1135"/>
                    <a:pt x="3759" y="1092"/>
                    <a:pt x="3789" y="1092"/>
                  </a:cubicBezTo>
                  <a:cubicBezTo>
                    <a:pt x="3796" y="1092"/>
                    <a:pt x="3803" y="1092"/>
                    <a:pt x="3810" y="1099"/>
                  </a:cubicBezTo>
                  <a:cubicBezTo>
                    <a:pt x="3847" y="1121"/>
                    <a:pt x="3847" y="1187"/>
                    <a:pt x="3884" y="1187"/>
                  </a:cubicBezTo>
                  <a:cubicBezTo>
                    <a:pt x="3899" y="1187"/>
                    <a:pt x="3906" y="1187"/>
                    <a:pt x="3906" y="1187"/>
                  </a:cubicBezTo>
                  <a:cubicBezTo>
                    <a:pt x="3935" y="1187"/>
                    <a:pt x="3950" y="1187"/>
                    <a:pt x="3957" y="1128"/>
                  </a:cubicBezTo>
                  <a:cubicBezTo>
                    <a:pt x="3964" y="1062"/>
                    <a:pt x="3972" y="1047"/>
                    <a:pt x="4030" y="1018"/>
                  </a:cubicBezTo>
                  <a:cubicBezTo>
                    <a:pt x="4074" y="1004"/>
                    <a:pt x="4104" y="974"/>
                    <a:pt x="4125" y="974"/>
                  </a:cubicBezTo>
                  <a:cubicBezTo>
                    <a:pt x="4140" y="974"/>
                    <a:pt x="4148" y="982"/>
                    <a:pt x="4162" y="996"/>
                  </a:cubicBezTo>
                  <a:cubicBezTo>
                    <a:pt x="4191" y="1033"/>
                    <a:pt x="4199" y="1099"/>
                    <a:pt x="4235" y="1099"/>
                  </a:cubicBezTo>
                  <a:lnTo>
                    <a:pt x="4243" y="1099"/>
                  </a:lnTo>
                  <a:cubicBezTo>
                    <a:pt x="4287" y="1084"/>
                    <a:pt x="4272" y="1084"/>
                    <a:pt x="4301" y="1018"/>
                  </a:cubicBezTo>
                  <a:cubicBezTo>
                    <a:pt x="4331" y="960"/>
                    <a:pt x="4316" y="916"/>
                    <a:pt x="4353" y="916"/>
                  </a:cubicBezTo>
                  <a:lnTo>
                    <a:pt x="4360" y="916"/>
                  </a:lnTo>
                  <a:cubicBezTo>
                    <a:pt x="4389" y="923"/>
                    <a:pt x="4404" y="930"/>
                    <a:pt x="4411" y="930"/>
                  </a:cubicBezTo>
                  <a:cubicBezTo>
                    <a:pt x="4426" y="930"/>
                    <a:pt x="4433" y="923"/>
                    <a:pt x="4448" y="894"/>
                  </a:cubicBezTo>
                  <a:cubicBezTo>
                    <a:pt x="4470" y="835"/>
                    <a:pt x="4514" y="776"/>
                    <a:pt x="4507" y="725"/>
                  </a:cubicBezTo>
                  <a:cubicBezTo>
                    <a:pt x="4499" y="674"/>
                    <a:pt x="4492" y="601"/>
                    <a:pt x="4536" y="571"/>
                  </a:cubicBezTo>
                  <a:cubicBezTo>
                    <a:pt x="4573" y="535"/>
                    <a:pt x="4587" y="520"/>
                    <a:pt x="4624" y="498"/>
                  </a:cubicBezTo>
                  <a:cubicBezTo>
                    <a:pt x="4668" y="483"/>
                    <a:pt x="4661" y="469"/>
                    <a:pt x="4726" y="381"/>
                  </a:cubicBezTo>
                  <a:cubicBezTo>
                    <a:pt x="4800" y="300"/>
                    <a:pt x="4800" y="307"/>
                    <a:pt x="4858" y="300"/>
                  </a:cubicBezTo>
                  <a:cubicBezTo>
                    <a:pt x="4917" y="285"/>
                    <a:pt x="4961" y="285"/>
                    <a:pt x="4990" y="256"/>
                  </a:cubicBezTo>
                  <a:cubicBezTo>
                    <a:pt x="5027" y="219"/>
                    <a:pt x="4983" y="212"/>
                    <a:pt x="4946" y="176"/>
                  </a:cubicBezTo>
                  <a:cubicBezTo>
                    <a:pt x="4917" y="146"/>
                    <a:pt x="4910" y="117"/>
                    <a:pt x="4932" y="58"/>
                  </a:cubicBezTo>
                  <a:cubicBezTo>
                    <a:pt x="4939" y="36"/>
                    <a:pt x="4954" y="29"/>
                    <a:pt x="4961" y="29"/>
                  </a:cubicBezTo>
                  <a:lnTo>
                    <a:pt x="4961" y="0"/>
                  </a:lnTo>
                  <a:lnTo>
                    <a:pt x="4961" y="0"/>
                  </a:lnTo>
                  <a:lnTo>
                    <a:pt x="4961" y="0"/>
                  </a:lnTo>
                  <a:lnTo>
                    <a:pt x="4961" y="0"/>
                  </a:lnTo>
                  <a:cubicBezTo>
                    <a:pt x="4946" y="0"/>
                    <a:pt x="4924" y="7"/>
                    <a:pt x="4902" y="44"/>
                  </a:cubicBezTo>
                  <a:cubicBezTo>
                    <a:pt x="4873" y="117"/>
                    <a:pt x="4880" y="154"/>
                    <a:pt x="4932" y="197"/>
                  </a:cubicBezTo>
                  <a:cubicBezTo>
                    <a:pt x="4939" y="212"/>
                    <a:pt x="4954" y="219"/>
                    <a:pt x="4961" y="227"/>
                  </a:cubicBezTo>
                  <a:lnTo>
                    <a:pt x="4968" y="234"/>
                  </a:lnTo>
                  <a:cubicBezTo>
                    <a:pt x="4946" y="256"/>
                    <a:pt x="4924" y="256"/>
                    <a:pt x="4880" y="264"/>
                  </a:cubicBezTo>
                  <a:cubicBezTo>
                    <a:pt x="4873" y="264"/>
                    <a:pt x="4858" y="264"/>
                    <a:pt x="4851" y="264"/>
                  </a:cubicBezTo>
                  <a:cubicBezTo>
                    <a:pt x="4836" y="271"/>
                    <a:pt x="4836" y="271"/>
                    <a:pt x="4836" y="271"/>
                  </a:cubicBezTo>
                  <a:cubicBezTo>
                    <a:pt x="4778" y="278"/>
                    <a:pt x="4770" y="285"/>
                    <a:pt x="4704" y="366"/>
                  </a:cubicBezTo>
                  <a:cubicBezTo>
                    <a:pt x="4675" y="395"/>
                    <a:pt x="4661" y="417"/>
                    <a:pt x="4653" y="439"/>
                  </a:cubicBezTo>
                  <a:cubicBezTo>
                    <a:pt x="4639" y="461"/>
                    <a:pt x="4631" y="469"/>
                    <a:pt x="4616" y="476"/>
                  </a:cubicBezTo>
                  <a:cubicBezTo>
                    <a:pt x="4580" y="483"/>
                    <a:pt x="4565" y="498"/>
                    <a:pt x="4543" y="520"/>
                  </a:cubicBezTo>
                  <a:cubicBezTo>
                    <a:pt x="4536" y="527"/>
                    <a:pt x="4529" y="535"/>
                    <a:pt x="4514" y="542"/>
                  </a:cubicBezTo>
                  <a:cubicBezTo>
                    <a:pt x="4455" y="593"/>
                    <a:pt x="4470" y="681"/>
                    <a:pt x="4477" y="725"/>
                  </a:cubicBezTo>
                  <a:cubicBezTo>
                    <a:pt x="4485" y="754"/>
                    <a:pt x="4463" y="791"/>
                    <a:pt x="4441" y="828"/>
                  </a:cubicBezTo>
                  <a:cubicBezTo>
                    <a:pt x="4433" y="850"/>
                    <a:pt x="4426" y="864"/>
                    <a:pt x="4419" y="879"/>
                  </a:cubicBezTo>
                  <a:cubicBezTo>
                    <a:pt x="4419" y="894"/>
                    <a:pt x="4411" y="894"/>
                    <a:pt x="4411" y="901"/>
                  </a:cubicBezTo>
                  <a:lnTo>
                    <a:pt x="4404" y="894"/>
                  </a:lnTo>
                  <a:cubicBezTo>
                    <a:pt x="4397" y="894"/>
                    <a:pt x="4382" y="886"/>
                    <a:pt x="4367" y="886"/>
                  </a:cubicBezTo>
                  <a:cubicBezTo>
                    <a:pt x="4360" y="886"/>
                    <a:pt x="4353" y="886"/>
                    <a:pt x="4353" y="886"/>
                  </a:cubicBezTo>
                  <a:cubicBezTo>
                    <a:pt x="4309" y="886"/>
                    <a:pt x="4301" y="923"/>
                    <a:pt x="4294" y="945"/>
                  </a:cubicBezTo>
                  <a:cubicBezTo>
                    <a:pt x="4294" y="967"/>
                    <a:pt x="4287" y="982"/>
                    <a:pt x="4280" y="1004"/>
                  </a:cubicBezTo>
                  <a:cubicBezTo>
                    <a:pt x="4265" y="1026"/>
                    <a:pt x="4257" y="1040"/>
                    <a:pt x="4257" y="1055"/>
                  </a:cubicBezTo>
                  <a:cubicBezTo>
                    <a:pt x="4250" y="1055"/>
                    <a:pt x="4250" y="1062"/>
                    <a:pt x="4250" y="1062"/>
                  </a:cubicBezTo>
                  <a:cubicBezTo>
                    <a:pt x="4250" y="1062"/>
                    <a:pt x="4243" y="1062"/>
                    <a:pt x="4235" y="1069"/>
                  </a:cubicBezTo>
                  <a:cubicBezTo>
                    <a:pt x="4228" y="1062"/>
                    <a:pt x="4221" y="1040"/>
                    <a:pt x="4213" y="1033"/>
                  </a:cubicBezTo>
                  <a:cubicBezTo>
                    <a:pt x="4206" y="1011"/>
                    <a:pt x="4199" y="989"/>
                    <a:pt x="4184" y="974"/>
                  </a:cubicBezTo>
                  <a:cubicBezTo>
                    <a:pt x="4170" y="952"/>
                    <a:pt x="4148" y="945"/>
                    <a:pt x="4125" y="945"/>
                  </a:cubicBezTo>
                  <a:cubicBezTo>
                    <a:pt x="4104" y="945"/>
                    <a:pt x="4082" y="960"/>
                    <a:pt x="4060" y="974"/>
                  </a:cubicBezTo>
                  <a:cubicBezTo>
                    <a:pt x="4045" y="974"/>
                    <a:pt x="4030" y="989"/>
                    <a:pt x="4023" y="989"/>
                  </a:cubicBezTo>
                  <a:cubicBezTo>
                    <a:pt x="3950" y="1026"/>
                    <a:pt x="3935" y="1047"/>
                    <a:pt x="3928" y="1128"/>
                  </a:cubicBezTo>
                  <a:cubicBezTo>
                    <a:pt x="3920" y="1150"/>
                    <a:pt x="3920" y="1157"/>
                    <a:pt x="3920" y="1157"/>
                  </a:cubicBezTo>
                  <a:lnTo>
                    <a:pt x="3913" y="1157"/>
                  </a:lnTo>
                  <a:cubicBezTo>
                    <a:pt x="3913" y="1157"/>
                    <a:pt x="3913" y="1157"/>
                    <a:pt x="3906" y="1157"/>
                  </a:cubicBezTo>
                  <a:cubicBezTo>
                    <a:pt x="3899" y="1157"/>
                    <a:pt x="3899" y="1157"/>
                    <a:pt x="3899" y="1157"/>
                  </a:cubicBezTo>
                  <a:cubicBezTo>
                    <a:pt x="3884" y="1157"/>
                    <a:pt x="3884" y="1157"/>
                    <a:pt x="3884" y="1157"/>
                  </a:cubicBezTo>
                  <a:cubicBezTo>
                    <a:pt x="3884" y="1157"/>
                    <a:pt x="3876" y="1143"/>
                    <a:pt x="3869" y="1128"/>
                  </a:cubicBezTo>
                  <a:cubicBezTo>
                    <a:pt x="3862" y="1106"/>
                    <a:pt x="3847" y="1084"/>
                    <a:pt x="3825" y="1069"/>
                  </a:cubicBezTo>
                  <a:cubicBezTo>
                    <a:pt x="3818" y="1062"/>
                    <a:pt x="3803" y="1062"/>
                    <a:pt x="3789" y="1062"/>
                  </a:cubicBezTo>
                  <a:cubicBezTo>
                    <a:pt x="3737" y="1062"/>
                    <a:pt x="3686" y="1135"/>
                    <a:pt x="3671" y="1157"/>
                  </a:cubicBezTo>
                  <a:cubicBezTo>
                    <a:pt x="3664" y="1172"/>
                    <a:pt x="3657" y="1187"/>
                    <a:pt x="3657" y="1201"/>
                  </a:cubicBezTo>
                  <a:cubicBezTo>
                    <a:pt x="3649" y="1223"/>
                    <a:pt x="3642" y="1231"/>
                    <a:pt x="3613" y="1253"/>
                  </a:cubicBezTo>
                  <a:cubicBezTo>
                    <a:pt x="3598" y="1260"/>
                    <a:pt x="3591" y="1267"/>
                    <a:pt x="3576" y="1267"/>
                  </a:cubicBezTo>
                  <a:cubicBezTo>
                    <a:pt x="3554" y="1282"/>
                    <a:pt x="3539" y="1289"/>
                    <a:pt x="3503" y="1333"/>
                  </a:cubicBezTo>
                  <a:cubicBezTo>
                    <a:pt x="3503" y="1341"/>
                    <a:pt x="3495" y="1348"/>
                    <a:pt x="3488" y="1355"/>
                  </a:cubicBezTo>
                  <a:cubicBezTo>
                    <a:pt x="3473" y="1377"/>
                    <a:pt x="3473" y="1377"/>
                    <a:pt x="3437" y="1377"/>
                  </a:cubicBezTo>
                  <a:cubicBezTo>
                    <a:pt x="3437" y="1370"/>
                    <a:pt x="3444" y="1355"/>
                    <a:pt x="3444" y="1348"/>
                  </a:cubicBezTo>
                  <a:cubicBezTo>
                    <a:pt x="3451" y="1326"/>
                    <a:pt x="3451" y="1304"/>
                    <a:pt x="3451" y="1289"/>
                  </a:cubicBezTo>
                  <a:cubicBezTo>
                    <a:pt x="3444" y="1275"/>
                    <a:pt x="3430" y="1260"/>
                    <a:pt x="3415" y="1260"/>
                  </a:cubicBezTo>
                  <a:cubicBezTo>
                    <a:pt x="3393" y="1260"/>
                    <a:pt x="3378" y="1275"/>
                    <a:pt x="3363" y="1289"/>
                  </a:cubicBezTo>
                  <a:cubicBezTo>
                    <a:pt x="3342" y="1304"/>
                    <a:pt x="3327" y="1319"/>
                    <a:pt x="3305" y="1319"/>
                  </a:cubicBezTo>
                  <a:cubicBezTo>
                    <a:pt x="3298" y="1326"/>
                    <a:pt x="3290" y="1326"/>
                    <a:pt x="3275" y="1326"/>
                  </a:cubicBezTo>
                  <a:cubicBezTo>
                    <a:pt x="3261" y="1326"/>
                    <a:pt x="3246" y="1319"/>
                    <a:pt x="3232" y="1311"/>
                  </a:cubicBezTo>
                  <a:cubicBezTo>
                    <a:pt x="3224" y="1304"/>
                    <a:pt x="3224" y="1304"/>
                    <a:pt x="3224" y="1304"/>
                  </a:cubicBezTo>
                  <a:cubicBezTo>
                    <a:pt x="3210" y="1304"/>
                    <a:pt x="3210" y="1304"/>
                    <a:pt x="3210" y="1304"/>
                  </a:cubicBezTo>
                  <a:cubicBezTo>
                    <a:pt x="3202" y="1304"/>
                    <a:pt x="3114" y="1311"/>
                    <a:pt x="3070" y="1333"/>
                  </a:cubicBezTo>
                  <a:lnTo>
                    <a:pt x="3063" y="1333"/>
                  </a:lnTo>
                  <a:cubicBezTo>
                    <a:pt x="3056" y="1333"/>
                    <a:pt x="3041" y="1326"/>
                    <a:pt x="3026" y="1319"/>
                  </a:cubicBezTo>
                  <a:cubicBezTo>
                    <a:pt x="3019" y="1319"/>
                    <a:pt x="3019" y="1311"/>
                    <a:pt x="3012" y="1311"/>
                  </a:cubicBezTo>
                  <a:cubicBezTo>
                    <a:pt x="2997" y="1304"/>
                    <a:pt x="2990" y="1289"/>
                    <a:pt x="2982" y="1275"/>
                  </a:cubicBezTo>
                  <a:cubicBezTo>
                    <a:pt x="2968" y="1253"/>
                    <a:pt x="2953" y="1216"/>
                    <a:pt x="2909" y="1216"/>
                  </a:cubicBezTo>
                  <a:cubicBezTo>
                    <a:pt x="2902" y="1216"/>
                    <a:pt x="2894" y="1216"/>
                    <a:pt x="2887" y="1223"/>
                  </a:cubicBezTo>
                  <a:cubicBezTo>
                    <a:pt x="2873" y="1223"/>
                    <a:pt x="2865" y="1223"/>
                    <a:pt x="2858" y="1223"/>
                  </a:cubicBezTo>
                  <a:cubicBezTo>
                    <a:pt x="2851" y="1223"/>
                    <a:pt x="2843" y="1223"/>
                    <a:pt x="2836" y="1216"/>
                  </a:cubicBezTo>
                  <a:cubicBezTo>
                    <a:pt x="2836" y="1216"/>
                    <a:pt x="2836" y="1209"/>
                    <a:pt x="2836" y="1201"/>
                  </a:cubicBezTo>
                  <a:cubicBezTo>
                    <a:pt x="2843" y="1179"/>
                    <a:pt x="2836" y="1157"/>
                    <a:pt x="2821" y="1135"/>
                  </a:cubicBezTo>
                  <a:cubicBezTo>
                    <a:pt x="2807" y="1121"/>
                    <a:pt x="2777" y="1106"/>
                    <a:pt x="2755" y="1106"/>
                  </a:cubicBezTo>
                  <a:cubicBezTo>
                    <a:pt x="2733" y="1106"/>
                    <a:pt x="2719" y="1114"/>
                    <a:pt x="2704" y="1121"/>
                  </a:cubicBezTo>
                  <a:cubicBezTo>
                    <a:pt x="2682" y="1128"/>
                    <a:pt x="2675" y="1128"/>
                    <a:pt x="2660" y="1128"/>
                  </a:cubicBezTo>
                  <a:cubicBezTo>
                    <a:pt x="2645" y="1128"/>
                    <a:pt x="2638" y="1128"/>
                    <a:pt x="2616" y="1121"/>
                  </a:cubicBezTo>
                  <a:cubicBezTo>
                    <a:pt x="2609" y="1114"/>
                    <a:pt x="2601" y="1114"/>
                    <a:pt x="2587" y="1106"/>
                  </a:cubicBezTo>
                  <a:cubicBezTo>
                    <a:pt x="2572" y="1106"/>
                    <a:pt x="2558" y="1106"/>
                    <a:pt x="2543" y="1106"/>
                  </a:cubicBezTo>
                  <a:cubicBezTo>
                    <a:pt x="2513" y="1106"/>
                    <a:pt x="2492" y="1114"/>
                    <a:pt x="2455" y="1121"/>
                  </a:cubicBezTo>
                  <a:cubicBezTo>
                    <a:pt x="2440" y="1128"/>
                    <a:pt x="2426" y="1135"/>
                    <a:pt x="2396" y="1143"/>
                  </a:cubicBezTo>
                  <a:cubicBezTo>
                    <a:pt x="2389" y="1143"/>
                    <a:pt x="2389" y="1143"/>
                    <a:pt x="2382" y="1143"/>
                  </a:cubicBezTo>
                  <a:cubicBezTo>
                    <a:pt x="2360" y="1143"/>
                    <a:pt x="2352" y="1128"/>
                    <a:pt x="2330" y="1099"/>
                  </a:cubicBezTo>
                  <a:cubicBezTo>
                    <a:pt x="2323" y="1077"/>
                    <a:pt x="2316" y="1062"/>
                    <a:pt x="2301" y="1047"/>
                  </a:cubicBezTo>
                  <a:cubicBezTo>
                    <a:pt x="2279" y="1026"/>
                    <a:pt x="2162" y="916"/>
                    <a:pt x="2089" y="901"/>
                  </a:cubicBezTo>
                  <a:cubicBezTo>
                    <a:pt x="2067" y="901"/>
                    <a:pt x="2044" y="901"/>
                    <a:pt x="2030" y="901"/>
                  </a:cubicBezTo>
                  <a:cubicBezTo>
                    <a:pt x="2001" y="901"/>
                    <a:pt x="1986" y="901"/>
                    <a:pt x="1971" y="894"/>
                  </a:cubicBezTo>
                  <a:cubicBezTo>
                    <a:pt x="1964" y="886"/>
                    <a:pt x="1957" y="879"/>
                    <a:pt x="1949" y="872"/>
                  </a:cubicBezTo>
                  <a:cubicBezTo>
                    <a:pt x="1942" y="850"/>
                    <a:pt x="1920" y="828"/>
                    <a:pt x="1883" y="820"/>
                  </a:cubicBezTo>
                  <a:cubicBezTo>
                    <a:pt x="1876" y="820"/>
                    <a:pt x="1869" y="820"/>
                    <a:pt x="1861" y="820"/>
                  </a:cubicBezTo>
                  <a:cubicBezTo>
                    <a:pt x="1810" y="820"/>
                    <a:pt x="1751" y="850"/>
                    <a:pt x="1737" y="864"/>
                  </a:cubicBezTo>
                  <a:cubicBezTo>
                    <a:pt x="1722" y="879"/>
                    <a:pt x="1708" y="886"/>
                    <a:pt x="1693" y="886"/>
                  </a:cubicBezTo>
                  <a:cubicBezTo>
                    <a:pt x="1693" y="886"/>
                    <a:pt x="1678" y="886"/>
                    <a:pt x="1663" y="872"/>
                  </a:cubicBezTo>
                  <a:cubicBezTo>
                    <a:pt x="1656" y="864"/>
                    <a:pt x="1649" y="857"/>
                    <a:pt x="1642" y="850"/>
                  </a:cubicBezTo>
                  <a:cubicBezTo>
                    <a:pt x="1627" y="828"/>
                    <a:pt x="1612" y="813"/>
                    <a:pt x="1598" y="813"/>
                  </a:cubicBezTo>
                  <a:cubicBezTo>
                    <a:pt x="1561" y="813"/>
                    <a:pt x="1554" y="850"/>
                    <a:pt x="1554" y="872"/>
                  </a:cubicBezTo>
                  <a:cubicBezTo>
                    <a:pt x="1546" y="901"/>
                    <a:pt x="1510" y="901"/>
                    <a:pt x="1510" y="901"/>
                  </a:cubicBezTo>
                  <a:cubicBezTo>
                    <a:pt x="1480" y="908"/>
                    <a:pt x="1480" y="908"/>
                    <a:pt x="1480" y="908"/>
                  </a:cubicBezTo>
                  <a:cubicBezTo>
                    <a:pt x="1488" y="938"/>
                    <a:pt x="1488" y="938"/>
                    <a:pt x="1488" y="938"/>
                  </a:cubicBezTo>
                  <a:cubicBezTo>
                    <a:pt x="1488" y="974"/>
                    <a:pt x="1480" y="1026"/>
                    <a:pt x="1458" y="1033"/>
                  </a:cubicBezTo>
                  <a:cubicBezTo>
                    <a:pt x="1414" y="1040"/>
                    <a:pt x="1392" y="1047"/>
                    <a:pt x="1385" y="1084"/>
                  </a:cubicBezTo>
                  <a:cubicBezTo>
                    <a:pt x="1385" y="1092"/>
                    <a:pt x="1385" y="1092"/>
                    <a:pt x="1385" y="1092"/>
                  </a:cubicBezTo>
                  <a:cubicBezTo>
                    <a:pt x="1378" y="1106"/>
                    <a:pt x="1378" y="1114"/>
                    <a:pt x="1370" y="1114"/>
                  </a:cubicBezTo>
                  <a:cubicBezTo>
                    <a:pt x="1370" y="1114"/>
                    <a:pt x="1370" y="1114"/>
                    <a:pt x="1363" y="1106"/>
                  </a:cubicBezTo>
                  <a:cubicBezTo>
                    <a:pt x="1349" y="1099"/>
                    <a:pt x="1334" y="1092"/>
                    <a:pt x="1319" y="1092"/>
                  </a:cubicBezTo>
                  <a:cubicBezTo>
                    <a:pt x="1290" y="1092"/>
                    <a:pt x="1268" y="1114"/>
                    <a:pt x="1239" y="1135"/>
                  </a:cubicBezTo>
                  <a:cubicBezTo>
                    <a:pt x="1231" y="1143"/>
                    <a:pt x="1224" y="1150"/>
                    <a:pt x="1217" y="1157"/>
                  </a:cubicBezTo>
                  <a:cubicBezTo>
                    <a:pt x="1202" y="1172"/>
                    <a:pt x="1187" y="1179"/>
                    <a:pt x="1173" y="1187"/>
                  </a:cubicBezTo>
                  <a:cubicBezTo>
                    <a:pt x="1151" y="1209"/>
                    <a:pt x="1129" y="1223"/>
                    <a:pt x="1114" y="1253"/>
                  </a:cubicBezTo>
                  <a:cubicBezTo>
                    <a:pt x="1107" y="1260"/>
                    <a:pt x="1092" y="1267"/>
                    <a:pt x="1070" y="1275"/>
                  </a:cubicBezTo>
                  <a:cubicBezTo>
                    <a:pt x="1055" y="1282"/>
                    <a:pt x="1033" y="1289"/>
                    <a:pt x="1011" y="1297"/>
                  </a:cubicBezTo>
                  <a:cubicBezTo>
                    <a:pt x="1011" y="1297"/>
                    <a:pt x="1011" y="1304"/>
                    <a:pt x="1004" y="1304"/>
                  </a:cubicBezTo>
                  <a:cubicBezTo>
                    <a:pt x="982" y="1304"/>
                    <a:pt x="945" y="1282"/>
                    <a:pt x="916" y="1267"/>
                  </a:cubicBezTo>
                  <a:cubicBezTo>
                    <a:pt x="901" y="1253"/>
                    <a:pt x="880" y="1245"/>
                    <a:pt x="865" y="1238"/>
                  </a:cubicBezTo>
                  <a:cubicBezTo>
                    <a:pt x="850" y="1231"/>
                    <a:pt x="836" y="1231"/>
                    <a:pt x="821" y="1231"/>
                  </a:cubicBezTo>
                  <a:cubicBezTo>
                    <a:pt x="784" y="1231"/>
                    <a:pt x="755" y="1253"/>
                    <a:pt x="733" y="1275"/>
                  </a:cubicBezTo>
                  <a:cubicBezTo>
                    <a:pt x="718" y="1282"/>
                    <a:pt x="711" y="1297"/>
                    <a:pt x="696" y="1297"/>
                  </a:cubicBezTo>
                  <a:cubicBezTo>
                    <a:pt x="652" y="1326"/>
                    <a:pt x="616" y="1355"/>
                    <a:pt x="572" y="1421"/>
                  </a:cubicBezTo>
                  <a:cubicBezTo>
                    <a:pt x="535" y="1465"/>
                    <a:pt x="550" y="1502"/>
                    <a:pt x="564" y="1531"/>
                  </a:cubicBezTo>
                  <a:cubicBezTo>
                    <a:pt x="572" y="1546"/>
                    <a:pt x="579" y="1560"/>
                    <a:pt x="572" y="1575"/>
                  </a:cubicBezTo>
                  <a:cubicBezTo>
                    <a:pt x="572" y="1590"/>
                    <a:pt x="572" y="1590"/>
                    <a:pt x="572" y="1590"/>
                  </a:cubicBezTo>
                  <a:cubicBezTo>
                    <a:pt x="564" y="1626"/>
                    <a:pt x="564" y="1641"/>
                    <a:pt x="557" y="1656"/>
                  </a:cubicBezTo>
                  <a:cubicBezTo>
                    <a:pt x="550" y="1656"/>
                    <a:pt x="542" y="1648"/>
                    <a:pt x="528" y="1641"/>
                  </a:cubicBezTo>
                  <a:cubicBezTo>
                    <a:pt x="499" y="1626"/>
                    <a:pt x="462" y="1604"/>
                    <a:pt x="418" y="1604"/>
                  </a:cubicBezTo>
                  <a:cubicBezTo>
                    <a:pt x="411" y="1597"/>
                    <a:pt x="396" y="1597"/>
                    <a:pt x="381" y="1597"/>
                  </a:cubicBezTo>
                  <a:cubicBezTo>
                    <a:pt x="301" y="1597"/>
                    <a:pt x="279" y="1634"/>
                    <a:pt x="271" y="1670"/>
                  </a:cubicBezTo>
                  <a:cubicBezTo>
                    <a:pt x="264" y="1685"/>
                    <a:pt x="264" y="1685"/>
                    <a:pt x="242" y="1685"/>
                  </a:cubicBezTo>
                  <a:cubicBezTo>
                    <a:pt x="81" y="1685"/>
                    <a:pt x="81" y="1685"/>
                    <a:pt x="81" y="1685"/>
                  </a:cubicBezTo>
                  <a:cubicBezTo>
                    <a:pt x="73" y="1685"/>
                    <a:pt x="73" y="1685"/>
                    <a:pt x="73" y="1685"/>
                  </a:cubicBezTo>
                  <a:cubicBezTo>
                    <a:pt x="66" y="1685"/>
                    <a:pt x="66" y="1685"/>
                    <a:pt x="66" y="1685"/>
                  </a:cubicBezTo>
                  <a:cubicBezTo>
                    <a:pt x="59" y="1685"/>
                    <a:pt x="59" y="1685"/>
                    <a:pt x="59" y="1685"/>
                  </a:cubicBezTo>
                  <a:cubicBezTo>
                    <a:pt x="0" y="1692"/>
                    <a:pt x="0" y="1692"/>
                    <a:pt x="0" y="1692"/>
                  </a:cubicBezTo>
                  <a:cubicBezTo>
                    <a:pt x="22" y="1722"/>
                    <a:pt x="22" y="1722"/>
                    <a:pt x="22" y="1722"/>
                  </a:cubicBezTo>
                  <a:cubicBezTo>
                    <a:pt x="15" y="1736"/>
                    <a:pt x="15" y="1773"/>
                    <a:pt x="103" y="1883"/>
                  </a:cubicBezTo>
                  <a:cubicBezTo>
                    <a:pt x="139" y="1919"/>
                    <a:pt x="169" y="1934"/>
                    <a:pt x="213" y="1934"/>
                  </a:cubicBezTo>
                  <a:cubicBezTo>
                    <a:pt x="227" y="1934"/>
                    <a:pt x="249" y="1934"/>
                    <a:pt x="271" y="1927"/>
                  </a:cubicBezTo>
                  <a:cubicBezTo>
                    <a:pt x="279" y="1919"/>
                    <a:pt x="286" y="1912"/>
                    <a:pt x="293" y="1912"/>
                  </a:cubicBezTo>
                  <a:cubicBezTo>
                    <a:pt x="323" y="1897"/>
                    <a:pt x="352" y="1883"/>
                    <a:pt x="381" y="1883"/>
                  </a:cubicBezTo>
                  <a:cubicBezTo>
                    <a:pt x="396" y="1883"/>
                    <a:pt x="403" y="1883"/>
                    <a:pt x="418" y="1890"/>
                  </a:cubicBezTo>
                  <a:cubicBezTo>
                    <a:pt x="440" y="1897"/>
                    <a:pt x="469" y="1912"/>
                    <a:pt x="491" y="1927"/>
                  </a:cubicBezTo>
                  <a:cubicBezTo>
                    <a:pt x="520" y="1949"/>
                    <a:pt x="550" y="1971"/>
                    <a:pt x="594" y="1978"/>
                  </a:cubicBezTo>
                  <a:cubicBezTo>
                    <a:pt x="608" y="1978"/>
                    <a:pt x="616" y="1978"/>
                    <a:pt x="630" y="1978"/>
                  </a:cubicBezTo>
                  <a:cubicBezTo>
                    <a:pt x="652" y="1978"/>
                    <a:pt x="667" y="1978"/>
                    <a:pt x="682" y="1971"/>
                  </a:cubicBezTo>
                  <a:cubicBezTo>
                    <a:pt x="696" y="1971"/>
                    <a:pt x="711" y="1971"/>
                    <a:pt x="726" y="1971"/>
                  </a:cubicBezTo>
                  <a:cubicBezTo>
                    <a:pt x="740" y="1971"/>
                    <a:pt x="740" y="1971"/>
                    <a:pt x="740" y="1971"/>
                  </a:cubicBezTo>
                  <a:lnTo>
                    <a:pt x="740" y="1971"/>
                  </a:lnTo>
                  <a:cubicBezTo>
                    <a:pt x="755" y="1971"/>
                    <a:pt x="762" y="1971"/>
                    <a:pt x="770" y="1971"/>
                  </a:cubicBezTo>
                  <a:cubicBezTo>
                    <a:pt x="762" y="1971"/>
                    <a:pt x="762" y="1971"/>
                    <a:pt x="762" y="1978"/>
                  </a:cubicBezTo>
                  <a:cubicBezTo>
                    <a:pt x="755" y="1993"/>
                    <a:pt x="740" y="2022"/>
                    <a:pt x="755" y="2051"/>
                  </a:cubicBezTo>
                  <a:cubicBezTo>
                    <a:pt x="770" y="2066"/>
                    <a:pt x="784" y="2081"/>
                    <a:pt x="813" y="2088"/>
                  </a:cubicBezTo>
                  <a:lnTo>
                    <a:pt x="813" y="2088"/>
                  </a:lnTo>
                  <a:cubicBezTo>
                    <a:pt x="828" y="2088"/>
                    <a:pt x="836" y="2088"/>
                    <a:pt x="843" y="2095"/>
                  </a:cubicBezTo>
                  <a:cubicBezTo>
                    <a:pt x="843" y="2095"/>
                    <a:pt x="843" y="2103"/>
                    <a:pt x="850" y="2125"/>
                  </a:cubicBezTo>
                  <a:cubicBezTo>
                    <a:pt x="858" y="2169"/>
                    <a:pt x="887" y="2176"/>
                    <a:pt x="901" y="2176"/>
                  </a:cubicBezTo>
                  <a:cubicBezTo>
                    <a:pt x="923" y="2176"/>
                    <a:pt x="945" y="2161"/>
                    <a:pt x="968" y="2147"/>
                  </a:cubicBezTo>
                  <a:cubicBezTo>
                    <a:pt x="975" y="2139"/>
                    <a:pt x="975" y="2139"/>
                    <a:pt x="975" y="2139"/>
                  </a:cubicBezTo>
                  <a:cubicBezTo>
                    <a:pt x="989" y="2132"/>
                    <a:pt x="997" y="2132"/>
                    <a:pt x="1004" y="2132"/>
                  </a:cubicBezTo>
                  <a:cubicBezTo>
                    <a:pt x="1011" y="2132"/>
                    <a:pt x="1026" y="2154"/>
                    <a:pt x="1033" y="2161"/>
                  </a:cubicBezTo>
                  <a:cubicBezTo>
                    <a:pt x="1048" y="2191"/>
                    <a:pt x="1070" y="2257"/>
                    <a:pt x="1114" y="2257"/>
                  </a:cubicBezTo>
                  <a:cubicBezTo>
                    <a:pt x="1129" y="2257"/>
                    <a:pt x="1136" y="2249"/>
                    <a:pt x="1151" y="2242"/>
                  </a:cubicBezTo>
                  <a:cubicBezTo>
                    <a:pt x="1158" y="2242"/>
                    <a:pt x="1165" y="2235"/>
                    <a:pt x="1165" y="2235"/>
                  </a:cubicBezTo>
                  <a:cubicBezTo>
                    <a:pt x="1173" y="2235"/>
                    <a:pt x="1180" y="2242"/>
                    <a:pt x="1180" y="2242"/>
                  </a:cubicBezTo>
                  <a:cubicBezTo>
                    <a:pt x="1165" y="2278"/>
                    <a:pt x="1143" y="2323"/>
                    <a:pt x="1165" y="2359"/>
                  </a:cubicBezTo>
                  <a:cubicBezTo>
                    <a:pt x="1180" y="2388"/>
                    <a:pt x="1217" y="2396"/>
                    <a:pt x="1261" y="2418"/>
                  </a:cubicBezTo>
                  <a:cubicBezTo>
                    <a:pt x="1290" y="2425"/>
                    <a:pt x="1312" y="2440"/>
                    <a:pt x="1341" y="2447"/>
                  </a:cubicBezTo>
                  <a:cubicBezTo>
                    <a:pt x="1385" y="2469"/>
                    <a:pt x="1444" y="2476"/>
                    <a:pt x="1480" y="2476"/>
                  </a:cubicBezTo>
                  <a:cubicBezTo>
                    <a:pt x="1517" y="2476"/>
                    <a:pt x="1554" y="2476"/>
                    <a:pt x="1568" y="2469"/>
                  </a:cubicBezTo>
                  <a:cubicBezTo>
                    <a:pt x="1568" y="2469"/>
                    <a:pt x="1568" y="2469"/>
                    <a:pt x="1576" y="2469"/>
                  </a:cubicBezTo>
                  <a:cubicBezTo>
                    <a:pt x="1598" y="2469"/>
                    <a:pt x="1642" y="2476"/>
                    <a:pt x="1671" y="2484"/>
                  </a:cubicBezTo>
                  <a:cubicBezTo>
                    <a:pt x="1685" y="2484"/>
                    <a:pt x="1693" y="2484"/>
                    <a:pt x="1708" y="2484"/>
                  </a:cubicBezTo>
                  <a:cubicBezTo>
                    <a:pt x="1708" y="2484"/>
                    <a:pt x="1715" y="2491"/>
                    <a:pt x="1722" y="2491"/>
                  </a:cubicBezTo>
                  <a:cubicBezTo>
                    <a:pt x="1737" y="2491"/>
                    <a:pt x="1751" y="2484"/>
                    <a:pt x="1759" y="2476"/>
                  </a:cubicBezTo>
                  <a:cubicBezTo>
                    <a:pt x="1759" y="2484"/>
                    <a:pt x="1759" y="2484"/>
                    <a:pt x="1759" y="2491"/>
                  </a:cubicBezTo>
                  <a:cubicBezTo>
                    <a:pt x="1766" y="2513"/>
                    <a:pt x="1773" y="2557"/>
                    <a:pt x="1818" y="2557"/>
                  </a:cubicBezTo>
                  <a:cubicBezTo>
                    <a:pt x="1825" y="2557"/>
                    <a:pt x="1832" y="2557"/>
                    <a:pt x="1839" y="2550"/>
                  </a:cubicBezTo>
                  <a:cubicBezTo>
                    <a:pt x="1869" y="2542"/>
                    <a:pt x="1883" y="2520"/>
                    <a:pt x="1891" y="2506"/>
                  </a:cubicBezTo>
                  <a:cubicBezTo>
                    <a:pt x="1898" y="2498"/>
                    <a:pt x="1898" y="2498"/>
                    <a:pt x="1898" y="2498"/>
                  </a:cubicBezTo>
                  <a:cubicBezTo>
                    <a:pt x="1927" y="2506"/>
                    <a:pt x="1986" y="2579"/>
                    <a:pt x="2008" y="2623"/>
                  </a:cubicBezTo>
                  <a:cubicBezTo>
                    <a:pt x="2030" y="2674"/>
                    <a:pt x="2023" y="2696"/>
                    <a:pt x="2008" y="2704"/>
                  </a:cubicBezTo>
                  <a:cubicBezTo>
                    <a:pt x="1942" y="2740"/>
                    <a:pt x="1920" y="2784"/>
                    <a:pt x="1927" y="2828"/>
                  </a:cubicBezTo>
                  <a:cubicBezTo>
                    <a:pt x="1927" y="2843"/>
                    <a:pt x="1935" y="2850"/>
                    <a:pt x="1935" y="2857"/>
                  </a:cubicBezTo>
                  <a:cubicBezTo>
                    <a:pt x="1949" y="2879"/>
                    <a:pt x="1949" y="2887"/>
                    <a:pt x="1942" y="2909"/>
                  </a:cubicBezTo>
                  <a:cubicBezTo>
                    <a:pt x="1913" y="2953"/>
                    <a:pt x="1935" y="2997"/>
                    <a:pt x="1964" y="3048"/>
                  </a:cubicBezTo>
                  <a:cubicBezTo>
                    <a:pt x="1971" y="3063"/>
                    <a:pt x="1979" y="3077"/>
                    <a:pt x="1986" y="3099"/>
                  </a:cubicBezTo>
                  <a:cubicBezTo>
                    <a:pt x="2023" y="3165"/>
                    <a:pt x="2008" y="3224"/>
                    <a:pt x="1993" y="3246"/>
                  </a:cubicBezTo>
                  <a:cubicBezTo>
                    <a:pt x="1986" y="3253"/>
                    <a:pt x="1971" y="3260"/>
                    <a:pt x="1957" y="3268"/>
                  </a:cubicBezTo>
                  <a:cubicBezTo>
                    <a:pt x="1942" y="3275"/>
                    <a:pt x="1920" y="3290"/>
                    <a:pt x="1905" y="3304"/>
                  </a:cubicBezTo>
                  <a:cubicBezTo>
                    <a:pt x="1891" y="3326"/>
                    <a:pt x="1891" y="3356"/>
                    <a:pt x="1891" y="3392"/>
                  </a:cubicBezTo>
                  <a:cubicBezTo>
                    <a:pt x="1891" y="3422"/>
                    <a:pt x="1891" y="3451"/>
                    <a:pt x="1883" y="3473"/>
                  </a:cubicBezTo>
                  <a:cubicBezTo>
                    <a:pt x="1869" y="3524"/>
                    <a:pt x="1861" y="3561"/>
                    <a:pt x="1861" y="3561"/>
                  </a:cubicBezTo>
                  <a:cubicBezTo>
                    <a:pt x="1854" y="3597"/>
                    <a:pt x="1854" y="3597"/>
                    <a:pt x="1854" y="3597"/>
                  </a:cubicBezTo>
                  <a:cubicBezTo>
                    <a:pt x="1883" y="3597"/>
                    <a:pt x="1883" y="3597"/>
                    <a:pt x="1883" y="3597"/>
                  </a:cubicBezTo>
                  <a:cubicBezTo>
                    <a:pt x="1898" y="3605"/>
                    <a:pt x="1905" y="3605"/>
                    <a:pt x="1920" y="3605"/>
                  </a:cubicBezTo>
                  <a:cubicBezTo>
                    <a:pt x="1905" y="3619"/>
                    <a:pt x="1891" y="3642"/>
                    <a:pt x="1898" y="3685"/>
                  </a:cubicBezTo>
                  <a:cubicBezTo>
                    <a:pt x="1905" y="3722"/>
                    <a:pt x="1927" y="3729"/>
                    <a:pt x="1949" y="3729"/>
                  </a:cubicBezTo>
                  <a:cubicBezTo>
                    <a:pt x="1971" y="3729"/>
                    <a:pt x="1993" y="3729"/>
                    <a:pt x="2052" y="3671"/>
                  </a:cubicBezTo>
                  <a:cubicBezTo>
                    <a:pt x="2067" y="3656"/>
                    <a:pt x="2074" y="3649"/>
                    <a:pt x="2074" y="3649"/>
                  </a:cubicBezTo>
                  <a:lnTo>
                    <a:pt x="2074" y="3649"/>
                  </a:lnTo>
                  <a:cubicBezTo>
                    <a:pt x="2081" y="3656"/>
                    <a:pt x="2081" y="3664"/>
                    <a:pt x="2081" y="3671"/>
                  </a:cubicBezTo>
                  <a:cubicBezTo>
                    <a:pt x="2089" y="3700"/>
                    <a:pt x="2096" y="3744"/>
                    <a:pt x="2125" y="3766"/>
                  </a:cubicBezTo>
                  <a:cubicBezTo>
                    <a:pt x="2140" y="3773"/>
                    <a:pt x="2162" y="3781"/>
                    <a:pt x="2176" y="3781"/>
                  </a:cubicBezTo>
                  <a:cubicBezTo>
                    <a:pt x="2184" y="3781"/>
                    <a:pt x="2199" y="3781"/>
                    <a:pt x="2206" y="3773"/>
                  </a:cubicBezTo>
                  <a:cubicBezTo>
                    <a:pt x="2213" y="3773"/>
                    <a:pt x="2213" y="3773"/>
                    <a:pt x="2220" y="3773"/>
                  </a:cubicBezTo>
                  <a:cubicBezTo>
                    <a:pt x="2228" y="3773"/>
                    <a:pt x="2228" y="3773"/>
                    <a:pt x="2235" y="3781"/>
                  </a:cubicBezTo>
                  <a:cubicBezTo>
                    <a:pt x="2250" y="3795"/>
                    <a:pt x="2213" y="3832"/>
                    <a:pt x="2191" y="3861"/>
                  </a:cubicBezTo>
                  <a:cubicBezTo>
                    <a:pt x="2191" y="3869"/>
                    <a:pt x="2191" y="3869"/>
                    <a:pt x="2191" y="3869"/>
                  </a:cubicBezTo>
                  <a:cubicBezTo>
                    <a:pt x="2140" y="3927"/>
                    <a:pt x="2162" y="4125"/>
                    <a:pt x="2162" y="4125"/>
                  </a:cubicBezTo>
                  <a:cubicBezTo>
                    <a:pt x="2169" y="4147"/>
                    <a:pt x="2176" y="4169"/>
                    <a:pt x="2184" y="4184"/>
                  </a:cubicBezTo>
                  <a:cubicBezTo>
                    <a:pt x="2191" y="4206"/>
                    <a:pt x="2191" y="4228"/>
                    <a:pt x="2191" y="4242"/>
                  </a:cubicBezTo>
                  <a:cubicBezTo>
                    <a:pt x="2191" y="4257"/>
                    <a:pt x="2176" y="4264"/>
                    <a:pt x="2169" y="4279"/>
                  </a:cubicBezTo>
                  <a:cubicBezTo>
                    <a:pt x="2147" y="4308"/>
                    <a:pt x="2118" y="4338"/>
                    <a:pt x="2103" y="4396"/>
                  </a:cubicBezTo>
                  <a:cubicBezTo>
                    <a:pt x="2103" y="4404"/>
                    <a:pt x="2103" y="4404"/>
                    <a:pt x="2103" y="4404"/>
                  </a:cubicBezTo>
                  <a:cubicBezTo>
                    <a:pt x="2089" y="4492"/>
                    <a:pt x="2081" y="4535"/>
                    <a:pt x="2125" y="4579"/>
                  </a:cubicBezTo>
                  <a:cubicBezTo>
                    <a:pt x="2132" y="4587"/>
                    <a:pt x="2147" y="4602"/>
                    <a:pt x="2154" y="4609"/>
                  </a:cubicBezTo>
                  <a:cubicBezTo>
                    <a:pt x="2162" y="4609"/>
                    <a:pt x="2169" y="4616"/>
                    <a:pt x="2176" y="4623"/>
                  </a:cubicBezTo>
                  <a:cubicBezTo>
                    <a:pt x="2169" y="4623"/>
                    <a:pt x="2169" y="4623"/>
                    <a:pt x="2162" y="4623"/>
                  </a:cubicBezTo>
                  <a:cubicBezTo>
                    <a:pt x="2147" y="4631"/>
                    <a:pt x="2125" y="4638"/>
                    <a:pt x="2096" y="4675"/>
                  </a:cubicBezTo>
                  <a:cubicBezTo>
                    <a:pt x="2044" y="4733"/>
                    <a:pt x="2044" y="4792"/>
                    <a:pt x="2067" y="4851"/>
                  </a:cubicBezTo>
                  <a:cubicBezTo>
                    <a:pt x="2081" y="4902"/>
                    <a:pt x="2118" y="4946"/>
                    <a:pt x="2147" y="4983"/>
                  </a:cubicBezTo>
                  <a:cubicBezTo>
                    <a:pt x="2154" y="4990"/>
                    <a:pt x="2162" y="4997"/>
                    <a:pt x="2169" y="5012"/>
                  </a:cubicBezTo>
                  <a:cubicBezTo>
                    <a:pt x="2184" y="5026"/>
                    <a:pt x="2199" y="5034"/>
                    <a:pt x="2220" y="5048"/>
                  </a:cubicBezTo>
                  <a:cubicBezTo>
                    <a:pt x="2242" y="5063"/>
                    <a:pt x="2264" y="5078"/>
                    <a:pt x="2279" y="5114"/>
                  </a:cubicBezTo>
                  <a:cubicBezTo>
                    <a:pt x="2301" y="5180"/>
                    <a:pt x="2338" y="5195"/>
                    <a:pt x="2352" y="5202"/>
                  </a:cubicBezTo>
                  <a:cubicBezTo>
                    <a:pt x="2374" y="5217"/>
                    <a:pt x="2499" y="5297"/>
                    <a:pt x="2528" y="5312"/>
                  </a:cubicBezTo>
                  <a:cubicBezTo>
                    <a:pt x="2535" y="5319"/>
                    <a:pt x="2543" y="5319"/>
                    <a:pt x="2550" y="5319"/>
                  </a:cubicBezTo>
                  <a:cubicBezTo>
                    <a:pt x="2587" y="5319"/>
                    <a:pt x="2609" y="5283"/>
                    <a:pt x="2609" y="5254"/>
                  </a:cubicBezTo>
                  <a:cubicBezTo>
                    <a:pt x="2616" y="5254"/>
                    <a:pt x="2616" y="5254"/>
                    <a:pt x="2616" y="5254"/>
                  </a:cubicBezTo>
                  <a:cubicBezTo>
                    <a:pt x="2623" y="5254"/>
                    <a:pt x="2623" y="5261"/>
                    <a:pt x="2623" y="5261"/>
                  </a:cubicBezTo>
                  <a:cubicBezTo>
                    <a:pt x="2638" y="5283"/>
                    <a:pt x="2653" y="5297"/>
                    <a:pt x="2675" y="5319"/>
                  </a:cubicBezTo>
                  <a:cubicBezTo>
                    <a:pt x="2689" y="5342"/>
                    <a:pt x="2711" y="5364"/>
                    <a:pt x="2733" y="5393"/>
                  </a:cubicBezTo>
                  <a:cubicBezTo>
                    <a:pt x="2755" y="5422"/>
                    <a:pt x="2777" y="5437"/>
                    <a:pt x="2807" y="5437"/>
                  </a:cubicBezTo>
                  <a:cubicBezTo>
                    <a:pt x="2836" y="5437"/>
                    <a:pt x="2865" y="5422"/>
                    <a:pt x="2902" y="5400"/>
                  </a:cubicBezTo>
                  <a:cubicBezTo>
                    <a:pt x="2909" y="5400"/>
                    <a:pt x="2917" y="5393"/>
                    <a:pt x="2924" y="5393"/>
                  </a:cubicBezTo>
                  <a:cubicBezTo>
                    <a:pt x="2953" y="5378"/>
                    <a:pt x="2982" y="5356"/>
                    <a:pt x="3004" y="5342"/>
                  </a:cubicBezTo>
                  <a:cubicBezTo>
                    <a:pt x="3026" y="5327"/>
                    <a:pt x="3049" y="5312"/>
                    <a:pt x="3070" y="5305"/>
                  </a:cubicBezTo>
                  <a:cubicBezTo>
                    <a:pt x="3070" y="5312"/>
                    <a:pt x="3078" y="5334"/>
                    <a:pt x="3092" y="5349"/>
                  </a:cubicBezTo>
                  <a:cubicBezTo>
                    <a:pt x="3100" y="5364"/>
                    <a:pt x="3122" y="5378"/>
                    <a:pt x="3144" y="5378"/>
                  </a:cubicBezTo>
                  <a:cubicBezTo>
                    <a:pt x="3144" y="5378"/>
                    <a:pt x="3151" y="5371"/>
                    <a:pt x="3158" y="5371"/>
                  </a:cubicBezTo>
                  <a:cubicBezTo>
                    <a:pt x="3166" y="5371"/>
                    <a:pt x="3166" y="5371"/>
                    <a:pt x="3173" y="5371"/>
                  </a:cubicBezTo>
                  <a:lnTo>
                    <a:pt x="3173" y="5371"/>
                  </a:lnTo>
                  <a:lnTo>
                    <a:pt x="3173" y="5371"/>
                  </a:lnTo>
                  <a:cubicBezTo>
                    <a:pt x="3202" y="5407"/>
                    <a:pt x="3254" y="5444"/>
                    <a:pt x="3305" y="5444"/>
                  </a:cubicBezTo>
                  <a:cubicBezTo>
                    <a:pt x="3312" y="5444"/>
                    <a:pt x="3320" y="5444"/>
                    <a:pt x="3320" y="5444"/>
                  </a:cubicBezTo>
                  <a:cubicBezTo>
                    <a:pt x="3327" y="5444"/>
                    <a:pt x="3327" y="5444"/>
                    <a:pt x="3327" y="5444"/>
                  </a:cubicBezTo>
                  <a:cubicBezTo>
                    <a:pt x="3342" y="5444"/>
                    <a:pt x="3349" y="5437"/>
                    <a:pt x="3356" y="5437"/>
                  </a:cubicBezTo>
                  <a:cubicBezTo>
                    <a:pt x="3356" y="5437"/>
                    <a:pt x="3371" y="5437"/>
                    <a:pt x="3385" y="5481"/>
                  </a:cubicBezTo>
                  <a:cubicBezTo>
                    <a:pt x="3400" y="5539"/>
                    <a:pt x="3444" y="5554"/>
                    <a:pt x="3466" y="5554"/>
                  </a:cubicBezTo>
                  <a:cubicBezTo>
                    <a:pt x="3510" y="5554"/>
                    <a:pt x="3554" y="5517"/>
                    <a:pt x="3576" y="5510"/>
                  </a:cubicBezTo>
                  <a:cubicBezTo>
                    <a:pt x="3576" y="5503"/>
                    <a:pt x="3576" y="5503"/>
                    <a:pt x="3583" y="5503"/>
                  </a:cubicBezTo>
                  <a:cubicBezTo>
                    <a:pt x="3583" y="5503"/>
                    <a:pt x="3591" y="5517"/>
                    <a:pt x="3591" y="5539"/>
                  </a:cubicBezTo>
                  <a:cubicBezTo>
                    <a:pt x="3605" y="5605"/>
                    <a:pt x="3642" y="5613"/>
                    <a:pt x="3701" y="5613"/>
                  </a:cubicBezTo>
                  <a:cubicBezTo>
                    <a:pt x="3715" y="5613"/>
                    <a:pt x="3723" y="5613"/>
                    <a:pt x="3730" y="5620"/>
                  </a:cubicBezTo>
                  <a:cubicBezTo>
                    <a:pt x="3723" y="5635"/>
                    <a:pt x="3715" y="5649"/>
                    <a:pt x="3723" y="5664"/>
                  </a:cubicBezTo>
                  <a:cubicBezTo>
                    <a:pt x="3737" y="5701"/>
                    <a:pt x="3781" y="5723"/>
                    <a:pt x="3840" y="5723"/>
                  </a:cubicBezTo>
                  <a:cubicBezTo>
                    <a:pt x="3869" y="5723"/>
                    <a:pt x="3891" y="5715"/>
                    <a:pt x="3920" y="5708"/>
                  </a:cubicBezTo>
                  <a:cubicBezTo>
                    <a:pt x="3935" y="5701"/>
                    <a:pt x="3942" y="5701"/>
                    <a:pt x="3950" y="5701"/>
                  </a:cubicBezTo>
                  <a:cubicBezTo>
                    <a:pt x="3964" y="5701"/>
                    <a:pt x="3964" y="5708"/>
                    <a:pt x="3964" y="5708"/>
                  </a:cubicBezTo>
                  <a:cubicBezTo>
                    <a:pt x="3972" y="5715"/>
                    <a:pt x="3979" y="5730"/>
                    <a:pt x="3964" y="5788"/>
                  </a:cubicBezTo>
                  <a:cubicBezTo>
                    <a:pt x="3957" y="5847"/>
                    <a:pt x="4001" y="5884"/>
                    <a:pt x="4038" y="5906"/>
                  </a:cubicBezTo>
                  <a:cubicBezTo>
                    <a:pt x="4045" y="5913"/>
                    <a:pt x="4045" y="5913"/>
                    <a:pt x="4045" y="5913"/>
                  </a:cubicBezTo>
                  <a:cubicBezTo>
                    <a:pt x="4074" y="5935"/>
                    <a:pt x="4045" y="5986"/>
                    <a:pt x="4038" y="6008"/>
                  </a:cubicBezTo>
                  <a:cubicBezTo>
                    <a:pt x="4001" y="6074"/>
                    <a:pt x="4038" y="6140"/>
                    <a:pt x="4089" y="6169"/>
                  </a:cubicBezTo>
                  <a:cubicBezTo>
                    <a:pt x="4096" y="6177"/>
                    <a:pt x="4096" y="6177"/>
                    <a:pt x="4096" y="6184"/>
                  </a:cubicBezTo>
                  <a:cubicBezTo>
                    <a:pt x="4104" y="6199"/>
                    <a:pt x="4089" y="6235"/>
                    <a:pt x="4067" y="6272"/>
                  </a:cubicBezTo>
                  <a:cubicBezTo>
                    <a:pt x="4045" y="6302"/>
                    <a:pt x="4023" y="6316"/>
                    <a:pt x="3986" y="6331"/>
                  </a:cubicBezTo>
                  <a:cubicBezTo>
                    <a:pt x="3972" y="6345"/>
                    <a:pt x="3950" y="6353"/>
                    <a:pt x="3928" y="6367"/>
                  </a:cubicBezTo>
                  <a:cubicBezTo>
                    <a:pt x="3899" y="6382"/>
                    <a:pt x="3876" y="6404"/>
                    <a:pt x="3847" y="6433"/>
                  </a:cubicBezTo>
                  <a:cubicBezTo>
                    <a:pt x="3825" y="6455"/>
                    <a:pt x="3825" y="6455"/>
                    <a:pt x="3825" y="6455"/>
                  </a:cubicBezTo>
                  <a:cubicBezTo>
                    <a:pt x="3847" y="6477"/>
                    <a:pt x="3847" y="6477"/>
                    <a:pt x="3847" y="6477"/>
                  </a:cubicBezTo>
                  <a:cubicBezTo>
                    <a:pt x="3854" y="6477"/>
                    <a:pt x="3854" y="6477"/>
                    <a:pt x="3854" y="6477"/>
                  </a:cubicBezTo>
                  <a:cubicBezTo>
                    <a:pt x="3854" y="6485"/>
                    <a:pt x="3854" y="6485"/>
                    <a:pt x="3854" y="6485"/>
                  </a:cubicBezTo>
                  <a:cubicBezTo>
                    <a:pt x="3862" y="6485"/>
                    <a:pt x="3869" y="6499"/>
                    <a:pt x="3869" y="6507"/>
                  </a:cubicBezTo>
                  <a:cubicBezTo>
                    <a:pt x="3884" y="6536"/>
                    <a:pt x="3899" y="6580"/>
                    <a:pt x="3957" y="6580"/>
                  </a:cubicBezTo>
                  <a:cubicBezTo>
                    <a:pt x="3957" y="6580"/>
                    <a:pt x="3964" y="6580"/>
                    <a:pt x="3964" y="6573"/>
                  </a:cubicBezTo>
                  <a:cubicBezTo>
                    <a:pt x="3986" y="6573"/>
                    <a:pt x="4001" y="6573"/>
                    <a:pt x="4008" y="6573"/>
                  </a:cubicBezTo>
                  <a:cubicBezTo>
                    <a:pt x="4016" y="6573"/>
                    <a:pt x="4023" y="6573"/>
                    <a:pt x="4045" y="6595"/>
                  </a:cubicBezTo>
                  <a:cubicBezTo>
                    <a:pt x="4060" y="6609"/>
                    <a:pt x="4060" y="6661"/>
                    <a:pt x="4052" y="6683"/>
                  </a:cubicBezTo>
                  <a:cubicBezTo>
                    <a:pt x="4052" y="6697"/>
                    <a:pt x="4052" y="6697"/>
                    <a:pt x="4052" y="6697"/>
                  </a:cubicBezTo>
                  <a:cubicBezTo>
                    <a:pt x="4060" y="6712"/>
                    <a:pt x="4060" y="6712"/>
                    <a:pt x="4060" y="6712"/>
                  </a:cubicBezTo>
                  <a:cubicBezTo>
                    <a:pt x="4060" y="6712"/>
                    <a:pt x="4089" y="6748"/>
                    <a:pt x="4140" y="6748"/>
                  </a:cubicBezTo>
                  <a:lnTo>
                    <a:pt x="4140" y="6748"/>
                  </a:lnTo>
                  <a:cubicBezTo>
                    <a:pt x="4140" y="6763"/>
                    <a:pt x="4140" y="6792"/>
                    <a:pt x="4170" y="6814"/>
                  </a:cubicBezTo>
                  <a:cubicBezTo>
                    <a:pt x="4191" y="6822"/>
                    <a:pt x="4213" y="6858"/>
                    <a:pt x="4213" y="6866"/>
                  </a:cubicBezTo>
                  <a:cubicBezTo>
                    <a:pt x="4206" y="6873"/>
                    <a:pt x="4199" y="6873"/>
                    <a:pt x="4191" y="6880"/>
                  </a:cubicBezTo>
                  <a:cubicBezTo>
                    <a:pt x="4170" y="6888"/>
                    <a:pt x="4148" y="6902"/>
                    <a:pt x="4148" y="6946"/>
                  </a:cubicBezTo>
                  <a:cubicBezTo>
                    <a:pt x="4148" y="6976"/>
                    <a:pt x="4155" y="6990"/>
                    <a:pt x="4170" y="7012"/>
                  </a:cubicBezTo>
                  <a:cubicBezTo>
                    <a:pt x="4170" y="7019"/>
                    <a:pt x="4177" y="7027"/>
                    <a:pt x="4177" y="7034"/>
                  </a:cubicBezTo>
                  <a:cubicBezTo>
                    <a:pt x="4184" y="7042"/>
                    <a:pt x="4184" y="7049"/>
                    <a:pt x="4184" y="7056"/>
                  </a:cubicBezTo>
                  <a:cubicBezTo>
                    <a:pt x="4191" y="7071"/>
                    <a:pt x="4191" y="7078"/>
                    <a:pt x="4184" y="7107"/>
                  </a:cubicBezTo>
                  <a:cubicBezTo>
                    <a:pt x="4155" y="7166"/>
                    <a:pt x="4170" y="7225"/>
                    <a:pt x="4213" y="7247"/>
                  </a:cubicBezTo>
                  <a:cubicBezTo>
                    <a:pt x="4221" y="7247"/>
                    <a:pt x="4228" y="7254"/>
                    <a:pt x="4235" y="7261"/>
                  </a:cubicBezTo>
                  <a:cubicBezTo>
                    <a:pt x="4257" y="7283"/>
                    <a:pt x="4280" y="7313"/>
                    <a:pt x="4316" y="7313"/>
                  </a:cubicBezTo>
                  <a:cubicBezTo>
                    <a:pt x="4338" y="7313"/>
                    <a:pt x="4360" y="7298"/>
                    <a:pt x="4375" y="7283"/>
                  </a:cubicBezTo>
                  <a:cubicBezTo>
                    <a:pt x="4397" y="7254"/>
                    <a:pt x="4419" y="7239"/>
                    <a:pt x="4433" y="7225"/>
                  </a:cubicBezTo>
                  <a:cubicBezTo>
                    <a:pt x="4448" y="7210"/>
                    <a:pt x="4470" y="7188"/>
                    <a:pt x="4492" y="7159"/>
                  </a:cubicBezTo>
                  <a:cubicBezTo>
                    <a:pt x="4492" y="7152"/>
                    <a:pt x="4492" y="7152"/>
                    <a:pt x="4492" y="7152"/>
                  </a:cubicBezTo>
                  <a:cubicBezTo>
                    <a:pt x="4499" y="7152"/>
                    <a:pt x="4499" y="7144"/>
                    <a:pt x="4499" y="7144"/>
                  </a:cubicBezTo>
                  <a:cubicBezTo>
                    <a:pt x="4499" y="7144"/>
                    <a:pt x="4507" y="7144"/>
                    <a:pt x="4514" y="7144"/>
                  </a:cubicBezTo>
                  <a:cubicBezTo>
                    <a:pt x="4521" y="7144"/>
                    <a:pt x="4529" y="7144"/>
                    <a:pt x="4536" y="7144"/>
                  </a:cubicBezTo>
                  <a:cubicBezTo>
                    <a:pt x="4587" y="7137"/>
                    <a:pt x="4602" y="7122"/>
                    <a:pt x="4624" y="7100"/>
                  </a:cubicBezTo>
                  <a:cubicBezTo>
                    <a:pt x="4631" y="7093"/>
                    <a:pt x="4639" y="7093"/>
                    <a:pt x="4646" y="7085"/>
                  </a:cubicBezTo>
                  <a:cubicBezTo>
                    <a:pt x="4646" y="7100"/>
                    <a:pt x="4661" y="7115"/>
                    <a:pt x="4682" y="7122"/>
                  </a:cubicBezTo>
                  <a:cubicBezTo>
                    <a:pt x="4697" y="7137"/>
                    <a:pt x="4712" y="7144"/>
                    <a:pt x="4726" y="7159"/>
                  </a:cubicBezTo>
                  <a:cubicBezTo>
                    <a:pt x="4763" y="7181"/>
                    <a:pt x="4800" y="7210"/>
                    <a:pt x="4851" y="7210"/>
                  </a:cubicBezTo>
                  <a:cubicBezTo>
                    <a:pt x="4858" y="7217"/>
                    <a:pt x="4858" y="7217"/>
                    <a:pt x="4858" y="7217"/>
                  </a:cubicBezTo>
                  <a:lnTo>
                    <a:pt x="4858" y="7217"/>
                  </a:lnTo>
                  <a:cubicBezTo>
                    <a:pt x="4851" y="7261"/>
                    <a:pt x="4873" y="7276"/>
                    <a:pt x="4888" y="7283"/>
                  </a:cubicBezTo>
                  <a:cubicBezTo>
                    <a:pt x="4910" y="7283"/>
                    <a:pt x="4932" y="7283"/>
                    <a:pt x="4961" y="7283"/>
                  </a:cubicBezTo>
                  <a:cubicBezTo>
                    <a:pt x="4990" y="7283"/>
                    <a:pt x="5020" y="7283"/>
                    <a:pt x="5056" y="7291"/>
                  </a:cubicBezTo>
                  <a:cubicBezTo>
                    <a:pt x="5078" y="7291"/>
                    <a:pt x="5100" y="7298"/>
                    <a:pt x="5130" y="7305"/>
                  </a:cubicBezTo>
                  <a:cubicBezTo>
                    <a:pt x="5188" y="7313"/>
                    <a:pt x="5247" y="7327"/>
                    <a:pt x="5305" y="7327"/>
                  </a:cubicBezTo>
                  <a:cubicBezTo>
                    <a:pt x="5335" y="7327"/>
                    <a:pt x="5364" y="7320"/>
                    <a:pt x="5386" y="7313"/>
                  </a:cubicBezTo>
                  <a:cubicBezTo>
                    <a:pt x="5444" y="7291"/>
                    <a:pt x="5474" y="7283"/>
                    <a:pt x="5525" y="7269"/>
                  </a:cubicBezTo>
                  <a:cubicBezTo>
                    <a:pt x="5540" y="7269"/>
                    <a:pt x="5569" y="7261"/>
                    <a:pt x="5591" y="7254"/>
                  </a:cubicBezTo>
                  <a:cubicBezTo>
                    <a:pt x="5628" y="7247"/>
                    <a:pt x="5657" y="7239"/>
                    <a:pt x="5672" y="7239"/>
                  </a:cubicBezTo>
                  <a:cubicBezTo>
                    <a:pt x="5716" y="7232"/>
                    <a:pt x="5745" y="7225"/>
                    <a:pt x="5782" y="7203"/>
                  </a:cubicBezTo>
                  <a:cubicBezTo>
                    <a:pt x="5804" y="7188"/>
                    <a:pt x="5811" y="7181"/>
                    <a:pt x="5818" y="7181"/>
                  </a:cubicBezTo>
                  <a:lnTo>
                    <a:pt x="5818" y="7181"/>
                  </a:lnTo>
                  <a:cubicBezTo>
                    <a:pt x="5818" y="7225"/>
                    <a:pt x="5847" y="7254"/>
                    <a:pt x="5884" y="7254"/>
                  </a:cubicBezTo>
                  <a:cubicBezTo>
                    <a:pt x="5899" y="7254"/>
                    <a:pt x="5928" y="7247"/>
                    <a:pt x="5957" y="7195"/>
                  </a:cubicBezTo>
                  <a:cubicBezTo>
                    <a:pt x="5965" y="7181"/>
                    <a:pt x="5972" y="7166"/>
                    <a:pt x="5980" y="7152"/>
                  </a:cubicBezTo>
                  <a:cubicBezTo>
                    <a:pt x="6001" y="7115"/>
                    <a:pt x="6023" y="7078"/>
                    <a:pt x="6016" y="7019"/>
                  </a:cubicBezTo>
                  <a:cubicBezTo>
                    <a:pt x="6016" y="6990"/>
                    <a:pt x="6009" y="6976"/>
                    <a:pt x="6001" y="6954"/>
                  </a:cubicBezTo>
                  <a:cubicBezTo>
                    <a:pt x="5994" y="6939"/>
                    <a:pt x="5994" y="6924"/>
                    <a:pt x="5994" y="6917"/>
                  </a:cubicBezTo>
                  <a:lnTo>
                    <a:pt x="5994" y="6917"/>
                  </a:lnTo>
                  <a:cubicBezTo>
                    <a:pt x="6038" y="6902"/>
                    <a:pt x="6053" y="6888"/>
                    <a:pt x="6060" y="6851"/>
                  </a:cubicBezTo>
                  <a:cubicBezTo>
                    <a:pt x="6067" y="6836"/>
                    <a:pt x="6075" y="6829"/>
                    <a:pt x="6082" y="6807"/>
                  </a:cubicBezTo>
                  <a:cubicBezTo>
                    <a:pt x="6097" y="6778"/>
                    <a:pt x="6104" y="6756"/>
                    <a:pt x="6111" y="6734"/>
                  </a:cubicBezTo>
                  <a:cubicBezTo>
                    <a:pt x="6119" y="6697"/>
                    <a:pt x="6126" y="6690"/>
                    <a:pt x="6141" y="6683"/>
                  </a:cubicBezTo>
                  <a:cubicBezTo>
                    <a:pt x="6177" y="6675"/>
                    <a:pt x="6229" y="6653"/>
                    <a:pt x="6273" y="6653"/>
                  </a:cubicBezTo>
                  <a:cubicBezTo>
                    <a:pt x="6287" y="6653"/>
                    <a:pt x="6294" y="6661"/>
                    <a:pt x="6294" y="6661"/>
                  </a:cubicBezTo>
                  <a:cubicBezTo>
                    <a:pt x="6338" y="6704"/>
                    <a:pt x="6404" y="6704"/>
                    <a:pt x="6463" y="6704"/>
                  </a:cubicBezTo>
                  <a:cubicBezTo>
                    <a:pt x="6470" y="6704"/>
                    <a:pt x="6478" y="6704"/>
                    <a:pt x="6478" y="6704"/>
                  </a:cubicBezTo>
                  <a:lnTo>
                    <a:pt x="6478" y="6712"/>
                  </a:lnTo>
                  <a:cubicBezTo>
                    <a:pt x="6478" y="6726"/>
                    <a:pt x="6485" y="6741"/>
                    <a:pt x="6500" y="6756"/>
                  </a:cubicBezTo>
                  <a:cubicBezTo>
                    <a:pt x="6507" y="6756"/>
                    <a:pt x="6507" y="6756"/>
                    <a:pt x="6507" y="6756"/>
                  </a:cubicBezTo>
                  <a:cubicBezTo>
                    <a:pt x="6514" y="6763"/>
                    <a:pt x="6522" y="6778"/>
                    <a:pt x="6536" y="6778"/>
                  </a:cubicBezTo>
                  <a:cubicBezTo>
                    <a:pt x="6551" y="6778"/>
                    <a:pt x="6566" y="6756"/>
                    <a:pt x="6566" y="6756"/>
                  </a:cubicBezTo>
                  <a:cubicBezTo>
                    <a:pt x="6573" y="6748"/>
                    <a:pt x="6580" y="6734"/>
                    <a:pt x="6602" y="6712"/>
                  </a:cubicBezTo>
                  <a:cubicBezTo>
                    <a:pt x="6632" y="6683"/>
                    <a:pt x="6646" y="6661"/>
                    <a:pt x="6646" y="6646"/>
                  </a:cubicBezTo>
                  <a:cubicBezTo>
                    <a:pt x="6654" y="6624"/>
                    <a:pt x="6654" y="6624"/>
                    <a:pt x="6683" y="6616"/>
                  </a:cubicBezTo>
                  <a:cubicBezTo>
                    <a:pt x="6727" y="6609"/>
                    <a:pt x="6734" y="6609"/>
                    <a:pt x="6756" y="6595"/>
                  </a:cubicBezTo>
                  <a:cubicBezTo>
                    <a:pt x="6763" y="6595"/>
                    <a:pt x="6778" y="6587"/>
                    <a:pt x="6807" y="6573"/>
                  </a:cubicBezTo>
                  <a:cubicBezTo>
                    <a:pt x="6859" y="6551"/>
                    <a:pt x="6881" y="6543"/>
                    <a:pt x="6903" y="6543"/>
                  </a:cubicBezTo>
                  <a:cubicBezTo>
                    <a:pt x="6910" y="6543"/>
                    <a:pt x="6917" y="6551"/>
                    <a:pt x="6932" y="6551"/>
                  </a:cubicBezTo>
                  <a:cubicBezTo>
                    <a:pt x="6939" y="6551"/>
                    <a:pt x="6947" y="6551"/>
                    <a:pt x="6954" y="6551"/>
                  </a:cubicBezTo>
                  <a:cubicBezTo>
                    <a:pt x="6969" y="6551"/>
                    <a:pt x="6991" y="6551"/>
                    <a:pt x="6991" y="6514"/>
                  </a:cubicBezTo>
                  <a:cubicBezTo>
                    <a:pt x="6998" y="6507"/>
                    <a:pt x="6998" y="6492"/>
                    <a:pt x="7005" y="6477"/>
                  </a:cubicBezTo>
                  <a:cubicBezTo>
                    <a:pt x="7020" y="6463"/>
                    <a:pt x="7027" y="6455"/>
                    <a:pt x="7035" y="6455"/>
                  </a:cubicBezTo>
                  <a:cubicBezTo>
                    <a:pt x="7035" y="6455"/>
                    <a:pt x="7042" y="6463"/>
                    <a:pt x="7049" y="6470"/>
                  </a:cubicBezTo>
                  <a:cubicBezTo>
                    <a:pt x="7064" y="6521"/>
                    <a:pt x="7152" y="6580"/>
                    <a:pt x="7196" y="6580"/>
                  </a:cubicBezTo>
                  <a:cubicBezTo>
                    <a:pt x="7211" y="6580"/>
                    <a:pt x="7218" y="6580"/>
                    <a:pt x="7225" y="6573"/>
                  </a:cubicBezTo>
                  <a:cubicBezTo>
                    <a:pt x="7232" y="6573"/>
                    <a:pt x="7247" y="6558"/>
                    <a:pt x="7328" y="6528"/>
                  </a:cubicBezTo>
                  <a:cubicBezTo>
                    <a:pt x="7379" y="6514"/>
                    <a:pt x="7379" y="6514"/>
                    <a:pt x="7379" y="6514"/>
                  </a:cubicBezTo>
                  <a:cubicBezTo>
                    <a:pt x="7342" y="6485"/>
                    <a:pt x="7342" y="6485"/>
                    <a:pt x="7342" y="6485"/>
                  </a:cubicBezTo>
                  <a:cubicBezTo>
                    <a:pt x="7372" y="6463"/>
                    <a:pt x="7401" y="6426"/>
                    <a:pt x="7423" y="6397"/>
                  </a:cubicBezTo>
                  <a:cubicBezTo>
                    <a:pt x="7467" y="6345"/>
                    <a:pt x="7467" y="6316"/>
                    <a:pt x="7430" y="6214"/>
                  </a:cubicBezTo>
                  <a:cubicBezTo>
                    <a:pt x="7423" y="6184"/>
                    <a:pt x="7416" y="6162"/>
                    <a:pt x="7408" y="6140"/>
                  </a:cubicBezTo>
                  <a:cubicBezTo>
                    <a:pt x="7401" y="6074"/>
                    <a:pt x="7386" y="6023"/>
                    <a:pt x="7306" y="6001"/>
                  </a:cubicBezTo>
                  <a:cubicBezTo>
                    <a:pt x="7232" y="5986"/>
                    <a:pt x="7225" y="5942"/>
                    <a:pt x="7203" y="5862"/>
                  </a:cubicBezTo>
                  <a:cubicBezTo>
                    <a:pt x="7203" y="5854"/>
                    <a:pt x="7203" y="5854"/>
                    <a:pt x="7203" y="5854"/>
                  </a:cubicBezTo>
                  <a:cubicBezTo>
                    <a:pt x="7188" y="5788"/>
                    <a:pt x="7152" y="5759"/>
                    <a:pt x="7123" y="5723"/>
                  </a:cubicBezTo>
                  <a:cubicBezTo>
                    <a:pt x="7101" y="5701"/>
                    <a:pt x="7079" y="5678"/>
                    <a:pt x="7064" y="5649"/>
                  </a:cubicBezTo>
                  <a:cubicBezTo>
                    <a:pt x="7027" y="5591"/>
                    <a:pt x="7035" y="5583"/>
                    <a:pt x="7108" y="5517"/>
                  </a:cubicBezTo>
                  <a:cubicBezTo>
                    <a:pt x="7166" y="5459"/>
                    <a:pt x="7262" y="5319"/>
                    <a:pt x="7247" y="5224"/>
                  </a:cubicBezTo>
                  <a:cubicBezTo>
                    <a:pt x="7247" y="5202"/>
                    <a:pt x="7240" y="5180"/>
                    <a:pt x="7240" y="5166"/>
                  </a:cubicBezTo>
                  <a:cubicBezTo>
                    <a:pt x="7232" y="5122"/>
                    <a:pt x="7225" y="5100"/>
                    <a:pt x="7247" y="5056"/>
                  </a:cubicBezTo>
                  <a:cubicBezTo>
                    <a:pt x="7254" y="5048"/>
                    <a:pt x="7254" y="5034"/>
                    <a:pt x="7262" y="5026"/>
                  </a:cubicBezTo>
                  <a:cubicBezTo>
                    <a:pt x="7306" y="4946"/>
                    <a:pt x="7379" y="4807"/>
                    <a:pt x="7284" y="4733"/>
                  </a:cubicBezTo>
                  <a:cubicBezTo>
                    <a:pt x="7174" y="4653"/>
                    <a:pt x="7130" y="4587"/>
                    <a:pt x="7166" y="4543"/>
                  </a:cubicBezTo>
                  <a:cubicBezTo>
                    <a:pt x="7203" y="4492"/>
                    <a:pt x="7211" y="4462"/>
                    <a:pt x="7196" y="4440"/>
                  </a:cubicBezTo>
                  <a:cubicBezTo>
                    <a:pt x="7196" y="4433"/>
                    <a:pt x="7181" y="4426"/>
                    <a:pt x="7166" y="4426"/>
                  </a:cubicBezTo>
                  <a:lnTo>
                    <a:pt x="7166" y="4426"/>
                  </a:lnTo>
                  <a:cubicBezTo>
                    <a:pt x="7152" y="4418"/>
                    <a:pt x="7137" y="4411"/>
                    <a:pt x="7137" y="4396"/>
                  </a:cubicBezTo>
                  <a:lnTo>
                    <a:pt x="7137" y="4396"/>
                  </a:lnTo>
                  <a:cubicBezTo>
                    <a:pt x="7137" y="4396"/>
                    <a:pt x="7137" y="4396"/>
                    <a:pt x="7144" y="4389"/>
                  </a:cubicBezTo>
                  <a:cubicBezTo>
                    <a:pt x="7152" y="4382"/>
                    <a:pt x="7166" y="4374"/>
                    <a:pt x="7174" y="4360"/>
                  </a:cubicBezTo>
                  <a:cubicBezTo>
                    <a:pt x="7196" y="4330"/>
                    <a:pt x="7188" y="4279"/>
                    <a:pt x="7174" y="4250"/>
                  </a:cubicBezTo>
                  <a:cubicBezTo>
                    <a:pt x="7152" y="4206"/>
                    <a:pt x="7115" y="4169"/>
                    <a:pt x="7079" y="4162"/>
                  </a:cubicBezTo>
                  <a:cubicBezTo>
                    <a:pt x="7071" y="4162"/>
                    <a:pt x="7056" y="4162"/>
                    <a:pt x="7042" y="4162"/>
                  </a:cubicBezTo>
                  <a:cubicBezTo>
                    <a:pt x="7005" y="4154"/>
                    <a:pt x="6895" y="4133"/>
                    <a:pt x="6888" y="4110"/>
                  </a:cubicBezTo>
                  <a:cubicBezTo>
                    <a:pt x="6881" y="4081"/>
                    <a:pt x="6873" y="4059"/>
                    <a:pt x="6859" y="4030"/>
                  </a:cubicBezTo>
                  <a:cubicBezTo>
                    <a:pt x="6844" y="3986"/>
                    <a:pt x="6822" y="3942"/>
                    <a:pt x="6822" y="3898"/>
                  </a:cubicBezTo>
                  <a:cubicBezTo>
                    <a:pt x="6815" y="3847"/>
                    <a:pt x="6793" y="3817"/>
                    <a:pt x="6771" y="3795"/>
                  </a:cubicBezTo>
                  <a:cubicBezTo>
                    <a:pt x="6749" y="3766"/>
                    <a:pt x="6742" y="3759"/>
                    <a:pt x="6756" y="3722"/>
                  </a:cubicBezTo>
                  <a:cubicBezTo>
                    <a:pt x="6793" y="3656"/>
                    <a:pt x="6807" y="3634"/>
                    <a:pt x="6844" y="3597"/>
                  </a:cubicBezTo>
                  <a:cubicBezTo>
                    <a:pt x="6851" y="3590"/>
                    <a:pt x="6866" y="3576"/>
                    <a:pt x="6881" y="3554"/>
                  </a:cubicBezTo>
                  <a:cubicBezTo>
                    <a:pt x="6939" y="3488"/>
                    <a:pt x="6925" y="3451"/>
                    <a:pt x="6910" y="3392"/>
                  </a:cubicBezTo>
                  <a:cubicBezTo>
                    <a:pt x="6903" y="3385"/>
                    <a:pt x="6903" y="3378"/>
                    <a:pt x="6895" y="3370"/>
                  </a:cubicBezTo>
                  <a:cubicBezTo>
                    <a:pt x="6881" y="3312"/>
                    <a:pt x="6888" y="3246"/>
                    <a:pt x="6917" y="3224"/>
                  </a:cubicBezTo>
                  <a:cubicBezTo>
                    <a:pt x="6932" y="3209"/>
                    <a:pt x="6939" y="3195"/>
                    <a:pt x="6939" y="3173"/>
                  </a:cubicBezTo>
                  <a:cubicBezTo>
                    <a:pt x="6947" y="3121"/>
                    <a:pt x="6866" y="3048"/>
                    <a:pt x="6793" y="2989"/>
                  </a:cubicBezTo>
                  <a:cubicBezTo>
                    <a:pt x="6771" y="2975"/>
                    <a:pt x="6734" y="2960"/>
                    <a:pt x="6683" y="2938"/>
                  </a:cubicBezTo>
                  <a:cubicBezTo>
                    <a:pt x="6610" y="2909"/>
                    <a:pt x="6514" y="2872"/>
                    <a:pt x="6485" y="2821"/>
                  </a:cubicBezTo>
                  <a:cubicBezTo>
                    <a:pt x="6470" y="2784"/>
                    <a:pt x="6456" y="2755"/>
                    <a:pt x="6448" y="2733"/>
                  </a:cubicBezTo>
                  <a:cubicBezTo>
                    <a:pt x="6426" y="2674"/>
                    <a:pt x="6412" y="2630"/>
                    <a:pt x="6346" y="2608"/>
                  </a:cubicBezTo>
                  <a:cubicBezTo>
                    <a:pt x="6302" y="2601"/>
                    <a:pt x="6280" y="2579"/>
                    <a:pt x="6251" y="2557"/>
                  </a:cubicBezTo>
                  <a:cubicBezTo>
                    <a:pt x="6229" y="2542"/>
                    <a:pt x="6199" y="2520"/>
                    <a:pt x="6155" y="2498"/>
                  </a:cubicBezTo>
                  <a:cubicBezTo>
                    <a:pt x="6075" y="2462"/>
                    <a:pt x="6009" y="2374"/>
                    <a:pt x="6009" y="2374"/>
                  </a:cubicBezTo>
                  <a:cubicBezTo>
                    <a:pt x="6001" y="2359"/>
                    <a:pt x="6001" y="2359"/>
                    <a:pt x="6001" y="2359"/>
                  </a:cubicBezTo>
                  <a:cubicBezTo>
                    <a:pt x="5980" y="2359"/>
                    <a:pt x="5980" y="2359"/>
                    <a:pt x="5980" y="2359"/>
                  </a:cubicBezTo>
                  <a:cubicBezTo>
                    <a:pt x="5980" y="2359"/>
                    <a:pt x="5980" y="2359"/>
                    <a:pt x="5965" y="2359"/>
                  </a:cubicBezTo>
                  <a:cubicBezTo>
                    <a:pt x="5913" y="2359"/>
                    <a:pt x="5870" y="2352"/>
                    <a:pt x="5862" y="2330"/>
                  </a:cubicBezTo>
                  <a:cubicBezTo>
                    <a:pt x="5855" y="2330"/>
                    <a:pt x="5855" y="2323"/>
                    <a:pt x="5855" y="2308"/>
                  </a:cubicBezTo>
                  <a:cubicBezTo>
                    <a:pt x="5862" y="2271"/>
                    <a:pt x="5870" y="2249"/>
                    <a:pt x="5884" y="2227"/>
                  </a:cubicBezTo>
                  <a:cubicBezTo>
                    <a:pt x="5899" y="2183"/>
                    <a:pt x="5913" y="2147"/>
                    <a:pt x="5884" y="2095"/>
                  </a:cubicBezTo>
                  <a:cubicBezTo>
                    <a:pt x="5833" y="1993"/>
                    <a:pt x="5862" y="1956"/>
                    <a:pt x="5884" y="1942"/>
                  </a:cubicBezTo>
                  <a:cubicBezTo>
                    <a:pt x="6009" y="1861"/>
                    <a:pt x="6082" y="1795"/>
                    <a:pt x="6119" y="1751"/>
                  </a:cubicBezTo>
                  <a:cubicBezTo>
                    <a:pt x="6126" y="1744"/>
                    <a:pt x="6133" y="1736"/>
                    <a:pt x="6141" y="1729"/>
                  </a:cubicBezTo>
                  <a:cubicBezTo>
                    <a:pt x="6214" y="1641"/>
                    <a:pt x="6273" y="1560"/>
                    <a:pt x="6273" y="1494"/>
                  </a:cubicBezTo>
                  <a:cubicBezTo>
                    <a:pt x="6273" y="1428"/>
                    <a:pt x="6265" y="1267"/>
                    <a:pt x="6251" y="1194"/>
                  </a:cubicBezTo>
                  <a:cubicBezTo>
                    <a:pt x="6243" y="1143"/>
                    <a:pt x="6251" y="1114"/>
                    <a:pt x="6302" y="1047"/>
                  </a:cubicBezTo>
                  <a:cubicBezTo>
                    <a:pt x="6338" y="1011"/>
                    <a:pt x="6375" y="945"/>
                    <a:pt x="6375" y="886"/>
                  </a:cubicBezTo>
                  <a:cubicBezTo>
                    <a:pt x="6368" y="857"/>
                    <a:pt x="6353" y="835"/>
                    <a:pt x="6331" y="813"/>
                  </a:cubicBezTo>
                  <a:cubicBezTo>
                    <a:pt x="6287" y="776"/>
                    <a:pt x="6273" y="718"/>
                    <a:pt x="6273" y="681"/>
                  </a:cubicBezTo>
                  <a:cubicBezTo>
                    <a:pt x="6273" y="652"/>
                    <a:pt x="6273" y="652"/>
                    <a:pt x="6273" y="652"/>
                  </a:cubicBezTo>
                  <a:cubicBezTo>
                    <a:pt x="6243" y="652"/>
                    <a:pt x="6243" y="652"/>
                    <a:pt x="6243" y="652"/>
                  </a:cubicBezTo>
                  <a:cubicBezTo>
                    <a:pt x="6177" y="652"/>
                    <a:pt x="6163" y="674"/>
                    <a:pt x="6141" y="703"/>
                  </a:cubicBezTo>
                  <a:cubicBezTo>
                    <a:pt x="6133" y="718"/>
                    <a:pt x="6119" y="740"/>
                    <a:pt x="6097" y="754"/>
                  </a:cubicBezTo>
                  <a:cubicBezTo>
                    <a:pt x="6016" y="820"/>
                    <a:pt x="6016" y="820"/>
                    <a:pt x="5965" y="879"/>
                  </a:cubicBezTo>
                  <a:cubicBezTo>
                    <a:pt x="5950" y="894"/>
                    <a:pt x="5943" y="908"/>
                    <a:pt x="5935" y="916"/>
                  </a:cubicBezTo>
                  <a:cubicBezTo>
                    <a:pt x="5935" y="923"/>
                    <a:pt x="5928" y="923"/>
                    <a:pt x="5928" y="930"/>
                  </a:cubicBezTo>
                  <a:cubicBezTo>
                    <a:pt x="5921" y="930"/>
                    <a:pt x="5906" y="923"/>
                    <a:pt x="5899" y="923"/>
                  </a:cubicBezTo>
                  <a:cubicBezTo>
                    <a:pt x="5862" y="908"/>
                    <a:pt x="5833" y="908"/>
                    <a:pt x="5804" y="908"/>
                  </a:cubicBezTo>
                  <a:cubicBezTo>
                    <a:pt x="5782" y="908"/>
                    <a:pt x="5760" y="908"/>
                    <a:pt x="5723" y="901"/>
                  </a:cubicBezTo>
                  <a:cubicBezTo>
                    <a:pt x="5701" y="901"/>
                    <a:pt x="5694" y="894"/>
                    <a:pt x="5694" y="894"/>
                  </a:cubicBezTo>
                  <a:cubicBezTo>
                    <a:pt x="5694" y="894"/>
                    <a:pt x="5694" y="886"/>
                    <a:pt x="5716" y="850"/>
                  </a:cubicBezTo>
                  <a:cubicBezTo>
                    <a:pt x="5738" y="806"/>
                    <a:pt x="5804" y="725"/>
                    <a:pt x="5884" y="674"/>
                  </a:cubicBezTo>
                  <a:cubicBezTo>
                    <a:pt x="5957" y="615"/>
                    <a:pt x="5943" y="557"/>
                    <a:pt x="5928" y="513"/>
                  </a:cubicBezTo>
                  <a:cubicBezTo>
                    <a:pt x="5928" y="491"/>
                    <a:pt x="5921" y="476"/>
                    <a:pt x="5921" y="461"/>
                  </a:cubicBezTo>
                  <a:cubicBezTo>
                    <a:pt x="5928" y="417"/>
                    <a:pt x="5921" y="388"/>
                    <a:pt x="5906" y="366"/>
                  </a:cubicBezTo>
                  <a:cubicBezTo>
                    <a:pt x="5899" y="359"/>
                    <a:pt x="5884" y="351"/>
                    <a:pt x="5870" y="351"/>
                  </a:cubicBezTo>
                  <a:cubicBezTo>
                    <a:pt x="5862" y="351"/>
                    <a:pt x="5855" y="351"/>
                    <a:pt x="5847" y="351"/>
                  </a:cubicBezTo>
                  <a:cubicBezTo>
                    <a:pt x="5840" y="359"/>
                    <a:pt x="5818" y="359"/>
                    <a:pt x="5796" y="359"/>
                  </a:cubicBezTo>
                  <a:cubicBezTo>
                    <a:pt x="5767" y="359"/>
                    <a:pt x="5745" y="359"/>
                    <a:pt x="5730" y="344"/>
                  </a:cubicBezTo>
                  <a:cubicBezTo>
                    <a:pt x="5708" y="337"/>
                    <a:pt x="5694" y="329"/>
                    <a:pt x="5679" y="329"/>
                  </a:cubicBezTo>
                  <a:cubicBezTo>
                    <a:pt x="5657" y="329"/>
                    <a:pt x="5642" y="337"/>
                    <a:pt x="5628" y="359"/>
                  </a:cubicBezTo>
                  <a:cubicBezTo>
                    <a:pt x="5613" y="366"/>
                    <a:pt x="5613" y="366"/>
                    <a:pt x="5613" y="366"/>
                  </a:cubicBezTo>
                  <a:cubicBezTo>
                    <a:pt x="5569" y="395"/>
                    <a:pt x="5569" y="395"/>
                    <a:pt x="5525" y="410"/>
                  </a:cubicBezTo>
                  <a:cubicBezTo>
                    <a:pt x="5518" y="417"/>
                    <a:pt x="5518" y="417"/>
                    <a:pt x="5518" y="417"/>
                  </a:cubicBezTo>
                  <a:cubicBezTo>
                    <a:pt x="5511" y="417"/>
                    <a:pt x="5511" y="410"/>
                    <a:pt x="5503" y="403"/>
                  </a:cubicBezTo>
                  <a:cubicBezTo>
                    <a:pt x="5496" y="388"/>
                    <a:pt x="5481" y="373"/>
                    <a:pt x="5466" y="366"/>
                  </a:cubicBezTo>
                  <a:cubicBezTo>
                    <a:pt x="5459" y="359"/>
                    <a:pt x="5444" y="351"/>
                    <a:pt x="5430" y="351"/>
                  </a:cubicBezTo>
                  <a:cubicBezTo>
                    <a:pt x="5408" y="351"/>
                    <a:pt x="5386" y="366"/>
                    <a:pt x="5364" y="381"/>
                  </a:cubicBezTo>
                  <a:cubicBezTo>
                    <a:pt x="5356" y="388"/>
                    <a:pt x="5342" y="395"/>
                    <a:pt x="5327" y="403"/>
                  </a:cubicBezTo>
                  <a:cubicBezTo>
                    <a:pt x="5320" y="410"/>
                    <a:pt x="5313" y="410"/>
                    <a:pt x="5305" y="410"/>
                  </a:cubicBezTo>
                  <a:cubicBezTo>
                    <a:pt x="5298" y="410"/>
                    <a:pt x="5291" y="410"/>
                    <a:pt x="5276" y="373"/>
                  </a:cubicBezTo>
                  <a:cubicBezTo>
                    <a:pt x="5269" y="366"/>
                    <a:pt x="5261" y="351"/>
                    <a:pt x="5254" y="329"/>
                  </a:cubicBezTo>
                  <a:cubicBezTo>
                    <a:pt x="5247" y="300"/>
                    <a:pt x="5232" y="264"/>
                    <a:pt x="5210" y="234"/>
                  </a:cubicBezTo>
                  <a:cubicBezTo>
                    <a:pt x="5203" y="227"/>
                    <a:pt x="5203" y="219"/>
                    <a:pt x="5195" y="205"/>
                  </a:cubicBezTo>
                  <a:cubicBezTo>
                    <a:pt x="5188" y="176"/>
                    <a:pt x="5173" y="139"/>
                    <a:pt x="5122" y="132"/>
                  </a:cubicBezTo>
                  <a:cubicBezTo>
                    <a:pt x="5093" y="124"/>
                    <a:pt x="5085" y="117"/>
                    <a:pt x="5056" y="73"/>
                  </a:cubicBezTo>
                  <a:cubicBezTo>
                    <a:pt x="5049" y="66"/>
                    <a:pt x="5049" y="66"/>
                    <a:pt x="5049" y="66"/>
                  </a:cubicBezTo>
                  <a:cubicBezTo>
                    <a:pt x="5027" y="29"/>
                    <a:pt x="4998" y="0"/>
                    <a:pt x="4961" y="0"/>
                  </a:cubicBezTo>
                  <a:lnTo>
                    <a:pt x="4961" y="0"/>
                  </a:lnTo>
                  <a:lnTo>
                    <a:pt x="4961" y="29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9" name="Freeform 28"/>
            <p:cNvSpPr>
              <a:spLocks noChangeArrowheads="1"/>
            </p:cNvSpPr>
            <p:nvPr/>
          </p:nvSpPr>
          <p:spPr bwMode="auto">
            <a:xfrm>
              <a:off x="8227354" y="6785783"/>
              <a:ext cx="2498751" cy="1951579"/>
            </a:xfrm>
            <a:custGeom>
              <a:avLst/>
              <a:gdLst>
                <a:gd name="T0" fmla="*/ 6177 w 6500"/>
                <a:gd name="T1" fmla="*/ 374 h 5137"/>
                <a:gd name="T2" fmla="*/ 5488 w 6500"/>
                <a:gd name="T3" fmla="*/ 125 h 5137"/>
                <a:gd name="T4" fmla="*/ 5092 w 6500"/>
                <a:gd name="T5" fmla="*/ 249 h 5137"/>
                <a:gd name="T6" fmla="*/ 4733 w 6500"/>
                <a:gd name="T7" fmla="*/ 300 h 5137"/>
                <a:gd name="T8" fmla="*/ 4404 w 6500"/>
                <a:gd name="T9" fmla="*/ 681 h 5137"/>
                <a:gd name="T10" fmla="*/ 4001 w 6500"/>
                <a:gd name="T11" fmla="*/ 887 h 5137"/>
                <a:gd name="T12" fmla="*/ 3275 w 6500"/>
                <a:gd name="T13" fmla="*/ 843 h 5137"/>
                <a:gd name="T14" fmla="*/ 2880 w 6500"/>
                <a:gd name="T15" fmla="*/ 806 h 5137"/>
                <a:gd name="T16" fmla="*/ 2630 w 6500"/>
                <a:gd name="T17" fmla="*/ 689 h 5137"/>
                <a:gd name="T18" fmla="*/ 2565 w 6500"/>
                <a:gd name="T19" fmla="*/ 381 h 5137"/>
                <a:gd name="T20" fmla="*/ 2293 w 6500"/>
                <a:gd name="T21" fmla="*/ 125 h 5137"/>
                <a:gd name="T22" fmla="*/ 2227 w 6500"/>
                <a:gd name="T23" fmla="*/ 103 h 5137"/>
                <a:gd name="T24" fmla="*/ 1898 w 6500"/>
                <a:gd name="T25" fmla="*/ 22 h 5137"/>
                <a:gd name="T26" fmla="*/ 1487 w 6500"/>
                <a:gd name="T27" fmla="*/ 205 h 5137"/>
                <a:gd name="T28" fmla="*/ 1158 w 6500"/>
                <a:gd name="T29" fmla="*/ 345 h 5137"/>
                <a:gd name="T30" fmla="*/ 762 w 6500"/>
                <a:gd name="T31" fmla="*/ 432 h 5137"/>
                <a:gd name="T32" fmla="*/ 549 w 6500"/>
                <a:gd name="T33" fmla="*/ 616 h 5137"/>
                <a:gd name="T34" fmla="*/ 520 w 6500"/>
                <a:gd name="T35" fmla="*/ 997 h 5137"/>
                <a:gd name="T36" fmla="*/ 586 w 6500"/>
                <a:gd name="T37" fmla="*/ 1532 h 5137"/>
                <a:gd name="T38" fmla="*/ 652 w 6500"/>
                <a:gd name="T39" fmla="*/ 1956 h 5137"/>
                <a:gd name="T40" fmla="*/ 799 w 6500"/>
                <a:gd name="T41" fmla="*/ 2007 h 5137"/>
                <a:gd name="T42" fmla="*/ 1202 w 6500"/>
                <a:gd name="T43" fmla="*/ 2102 h 5137"/>
                <a:gd name="T44" fmla="*/ 1502 w 6500"/>
                <a:gd name="T45" fmla="*/ 2373 h 5137"/>
                <a:gd name="T46" fmla="*/ 1150 w 6500"/>
                <a:gd name="T47" fmla="*/ 2754 h 5137"/>
                <a:gd name="T48" fmla="*/ 952 w 6500"/>
                <a:gd name="T49" fmla="*/ 2879 h 5137"/>
                <a:gd name="T50" fmla="*/ 791 w 6500"/>
                <a:gd name="T51" fmla="*/ 3040 h 5137"/>
                <a:gd name="T52" fmla="*/ 784 w 6500"/>
                <a:gd name="T53" fmla="*/ 3201 h 5137"/>
                <a:gd name="T54" fmla="*/ 887 w 6500"/>
                <a:gd name="T55" fmla="*/ 3480 h 5137"/>
                <a:gd name="T56" fmla="*/ 593 w 6500"/>
                <a:gd name="T57" fmla="*/ 3604 h 5137"/>
                <a:gd name="T58" fmla="*/ 469 w 6500"/>
                <a:gd name="T59" fmla="*/ 3744 h 5137"/>
                <a:gd name="T60" fmla="*/ 300 w 6500"/>
                <a:gd name="T61" fmla="*/ 3634 h 5137"/>
                <a:gd name="T62" fmla="*/ 44 w 6500"/>
                <a:gd name="T63" fmla="*/ 3846 h 5137"/>
                <a:gd name="T64" fmla="*/ 117 w 6500"/>
                <a:gd name="T65" fmla="*/ 4146 h 5137"/>
                <a:gd name="T66" fmla="*/ 249 w 6500"/>
                <a:gd name="T67" fmla="*/ 4520 h 5137"/>
                <a:gd name="T68" fmla="*/ 659 w 6500"/>
                <a:gd name="T69" fmla="*/ 4579 h 5137"/>
                <a:gd name="T70" fmla="*/ 909 w 6500"/>
                <a:gd name="T71" fmla="*/ 4916 h 5137"/>
                <a:gd name="T72" fmla="*/ 1304 w 6500"/>
                <a:gd name="T73" fmla="*/ 4454 h 5137"/>
                <a:gd name="T74" fmla="*/ 2176 w 6500"/>
                <a:gd name="T75" fmla="*/ 4154 h 5137"/>
                <a:gd name="T76" fmla="*/ 2565 w 6500"/>
                <a:gd name="T77" fmla="*/ 3897 h 5137"/>
                <a:gd name="T78" fmla="*/ 3063 w 6500"/>
                <a:gd name="T79" fmla="*/ 3612 h 5137"/>
                <a:gd name="T80" fmla="*/ 3349 w 6500"/>
                <a:gd name="T81" fmla="*/ 3502 h 5137"/>
                <a:gd name="T82" fmla="*/ 3678 w 6500"/>
                <a:gd name="T83" fmla="*/ 3113 h 5137"/>
                <a:gd name="T84" fmla="*/ 4242 w 6500"/>
                <a:gd name="T85" fmla="*/ 2967 h 5137"/>
                <a:gd name="T86" fmla="*/ 4946 w 6500"/>
                <a:gd name="T87" fmla="*/ 2476 h 5137"/>
                <a:gd name="T88" fmla="*/ 4953 w 6500"/>
                <a:gd name="T89" fmla="*/ 2102 h 5137"/>
                <a:gd name="T90" fmla="*/ 5305 w 6500"/>
                <a:gd name="T91" fmla="*/ 1970 h 5137"/>
                <a:gd name="T92" fmla="*/ 5693 w 6500"/>
                <a:gd name="T93" fmla="*/ 2300 h 5137"/>
                <a:gd name="T94" fmla="*/ 6155 w 6500"/>
                <a:gd name="T95" fmla="*/ 2513 h 5137"/>
                <a:gd name="T96" fmla="*/ 6477 w 6500"/>
                <a:gd name="T97" fmla="*/ 1209 h 5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500" h="5137">
                  <a:moveTo>
                    <a:pt x="6382" y="916"/>
                  </a:moveTo>
                  <a:lnTo>
                    <a:pt x="6382" y="916"/>
                  </a:lnTo>
                  <a:cubicBezTo>
                    <a:pt x="6338" y="828"/>
                    <a:pt x="6250" y="667"/>
                    <a:pt x="6294" y="579"/>
                  </a:cubicBezTo>
                  <a:cubicBezTo>
                    <a:pt x="6338" y="484"/>
                    <a:pt x="6294" y="337"/>
                    <a:pt x="6177" y="374"/>
                  </a:cubicBezTo>
                  <a:cubicBezTo>
                    <a:pt x="6067" y="403"/>
                    <a:pt x="5979" y="330"/>
                    <a:pt x="5906" y="293"/>
                  </a:cubicBezTo>
                  <a:cubicBezTo>
                    <a:pt x="5854" y="264"/>
                    <a:pt x="5774" y="198"/>
                    <a:pt x="5737" y="169"/>
                  </a:cubicBezTo>
                  <a:cubicBezTo>
                    <a:pt x="5693" y="183"/>
                    <a:pt x="5642" y="198"/>
                    <a:pt x="5628" y="205"/>
                  </a:cubicBezTo>
                  <a:cubicBezTo>
                    <a:pt x="5605" y="227"/>
                    <a:pt x="5510" y="169"/>
                    <a:pt x="5488" y="125"/>
                  </a:cubicBezTo>
                  <a:cubicBezTo>
                    <a:pt x="5473" y="81"/>
                    <a:pt x="5430" y="73"/>
                    <a:pt x="5400" y="125"/>
                  </a:cubicBezTo>
                  <a:cubicBezTo>
                    <a:pt x="5364" y="176"/>
                    <a:pt x="5400" y="190"/>
                    <a:pt x="5356" y="183"/>
                  </a:cubicBezTo>
                  <a:cubicBezTo>
                    <a:pt x="5312" y="176"/>
                    <a:pt x="5298" y="176"/>
                    <a:pt x="5210" y="205"/>
                  </a:cubicBezTo>
                  <a:cubicBezTo>
                    <a:pt x="5129" y="242"/>
                    <a:pt x="5166" y="235"/>
                    <a:pt x="5092" y="249"/>
                  </a:cubicBezTo>
                  <a:cubicBezTo>
                    <a:pt x="5019" y="264"/>
                    <a:pt x="5056" y="300"/>
                    <a:pt x="4997" y="352"/>
                  </a:cubicBezTo>
                  <a:cubicBezTo>
                    <a:pt x="4939" y="403"/>
                    <a:pt x="4968" y="418"/>
                    <a:pt x="4939" y="396"/>
                  </a:cubicBezTo>
                  <a:cubicBezTo>
                    <a:pt x="4917" y="366"/>
                    <a:pt x="4931" y="337"/>
                    <a:pt x="4880" y="337"/>
                  </a:cubicBezTo>
                  <a:cubicBezTo>
                    <a:pt x="4829" y="337"/>
                    <a:pt x="4770" y="337"/>
                    <a:pt x="4733" y="300"/>
                  </a:cubicBezTo>
                  <a:cubicBezTo>
                    <a:pt x="4704" y="264"/>
                    <a:pt x="4602" y="300"/>
                    <a:pt x="4550" y="315"/>
                  </a:cubicBezTo>
                  <a:cubicBezTo>
                    <a:pt x="4499" y="337"/>
                    <a:pt x="4506" y="388"/>
                    <a:pt x="4470" y="454"/>
                  </a:cubicBezTo>
                  <a:cubicBezTo>
                    <a:pt x="4440" y="520"/>
                    <a:pt x="4455" y="528"/>
                    <a:pt x="4404" y="550"/>
                  </a:cubicBezTo>
                  <a:cubicBezTo>
                    <a:pt x="4352" y="564"/>
                    <a:pt x="4397" y="616"/>
                    <a:pt x="4404" y="681"/>
                  </a:cubicBezTo>
                  <a:cubicBezTo>
                    <a:pt x="4411" y="755"/>
                    <a:pt x="4382" y="777"/>
                    <a:pt x="4345" y="843"/>
                  </a:cubicBezTo>
                  <a:cubicBezTo>
                    <a:pt x="4309" y="916"/>
                    <a:pt x="4264" y="887"/>
                    <a:pt x="4264" y="843"/>
                  </a:cubicBezTo>
                  <a:cubicBezTo>
                    <a:pt x="4264" y="806"/>
                    <a:pt x="4235" y="806"/>
                    <a:pt x="4184" y="835"/>
                  </a:cubicBezTo>
                  <a:cubicBezTo>
                    <a:pt x="4133" y="872"/>
                    <a:pt x="4103" y="865"/>
                    <a:pt x="4001" y="887"/>
                  </a:cubicBezTo>
                  <a:cubicBezTo>
                    <a:pt x="3906" y="916"/>
                    <a:pt x="3876" y="916"/>
                    <a:pt x="3788" y="945"/>
                  </a:cubicBezTo>
                  <a:cubicBezTo>
                    <a:pt x="3708" y="982"/>
                    <a:pt x="3554" y="931"/>
                    <a:pt x="3480" y="923"/>
                  </a:cubicBezTo>
                  <a:cubicBezTo>
                    <a:pt x="3400" y="916"/>
                    <a:pt x="3349" y="923"/>
                    <a:pt x="3312" y="916"/>
                  </a:cubicBezTo>
                  <a:cubicBezTo>
                    <a:pt x="3283" y="901"/>
                    <a:pt x="3341" y="857"/>
                    <a:pt x="3275" y="843"/>
                  </a:cubicBezTo>
                  <a:cubicBezTo>
                    <a:pt x="3202" y="835"/>
                    <a:pt x="3165" y="784"/>
                    <a:pt x="3114" y="762"/>
                  </a:cubicBezTo>
                  <a:cubicBezTo>
                    <a:pt x="3063" y="733"/>
                    <a:pt x="3114" y="674"/>
                    <a:pt x="3063" y="711"/>
                  </a:cubicBezTo>
                  <a:cubicBezTo>
                    <a:pt x="3011" y="740"/>
                    <a:pt x="3011" y="769"/>
                    <a:pt x="2953" y="777"/>
                  </a:cubicBezTo>
                  <a:cubicBezTo>
                    <a:pt x="2887" y="784"/>
                    <a:pt x="2916" y="755"/>
                    <a:pt x="2880" y="806"/>
                  </a:cubicBezTo>
                  <a:cubicBezTo>
                    <a:pt x="2850" y="857"/>
                    <a:pt x="2821" y="865"/>
                    <a:pt x="2770" y="923"/>
                  </a:cubicBezTo>
                  <a:cubicBezTo>
                    <a:pt x="2718" y="982"/>
                    <a:pt x="2674" y="894"/>
                    <a:pt x="2645" y="879"/>
                  </a:cubicBezTo>
                  <a:cubicBezTo>
                    <a:pt x="2608" y="865"/>
                    <a:pt x="2608" y="821"/>
                    <a:pt x="2630" y="777"/>
                  </a:cubicBezTo>
                  <a:cubicBezTo>
                    <a:pt x="2645" y="733"/>
                    <a:pt x="2638" y="726"/>
                    <a:pt x="2630" y="689"/>
                  </a:cubicBezTo>
                  <a:cubicBezTo>
                    <a:pt x="2616" y="659"/>
                    <a:pt x="2594" y="645"/>
                    <a:pt x="2594" y="608"/>
                  </a:cubicBezTo>
                  <a:cubicBezTo>
                    <a:pt x="2594" y="572"/>
                    <a:pt x="2630" y="572"/>
                    <a:pt x="2652" y="550"/>
                  </a:cubicBezTo>
                  <a:cubicBezTo>
                    <a:pt x="2674" y="520"/>
                    <a:pt x="2638" y="462"/>
                    <a:pt x="2601" y="447"/>
                  </a:cubicBezTo>
                  <a:cubicBezTo>
                    <a:pt x="2565" y="432"/>
                    <a:pt x="2608" y="366"/>
                    <a:pt x="2565" y="381"/>
                  </a:cubicBezTo>
                  <a:cubicBezTo>
                    <a:pt x="2528" y="388"/>
                    <a:pt x="2499" y="352"/>
                    <a:pt x="2499" y="352"/>
                  </a:cubicBezTo>
                  <a:cubicBezTo>
                    <a:pt x="2499" y="352"/>
                    <a:pt x="2513" y="264"/>
                    <a:pt x="2484" y="235"/>
                  </a:cubicBezTo>
                  <a:cubicBezTo>
                    <a:pt x="2447" y="198"/>
                    <a:pt x="2440" y="198"/>
                    <a:pt x="2381" y="205"/>
                  </a:cubicBezTo>
                  <a:cubicBezTo>
                    <a:pt x="2323" y="213"/>
                    <a:pt x="2323" y="147"/>
                    <a:pt x="2293" y="125"/>
                  </a:cubicBezTo>
                  <a:cubicBezTo>
                    <a:pt x="2293" y="117"/>
                    <a:pt x="2293" y="117"/>
                    <a:pt x="2286" y="117"/>
                  </a:cubicBezTo>
                  <a:cubicBezTo>
                    <a:pt x="2271" y="132"/>
                    <a:pt x="2264" y="147"/>
                    <a:pt x="2264" y="147"/>
                  </a:cubicBezTo>
                  <a:cubicBezTo>
                    <a:pt x="2264" y="147"/>
                    <a:pt x="2271" y="132"/>
                    <a:pt x="2286" y="117"/>
                  </a:cubicBezTo>
                  <a:cubicBezTo>
                    <a:pt x="2264" y="95"/>
                    <a:pt x="2257" y="103"/>
                    <a:pt x="2227" y="103"/>
                  </a:cubicBezTo>
                  <a:cubicBezTo>
                    <a:pt x="2191" y="103"/>
                    <a:pt x="2206" y="29"/>
                    <a:pt x="2176" y="22"/>
                  </a:cubicBezTo>
                  <a:cubicBezTo>
                    <a:pt x="2154" y="15"/>
                    <a:pt x="2125" y="51"/>
                    <a:pt x="2081" y="95"/>
                  </a:cubicBezTo>
                  <a:cubicBezTo>
                    <a:pt x="2037" y="139"/>
                    <a:pt x="2000" y="103"/>
                    <a:pt x="1956" y="103"/>
                  </a:cubicBezTo>
                  <a:cubicBezTo>
                    <a:pt x="1912" y="103"/>
                    <a:pt x="1942" y="37"/>
                    <a:pt x="1898" y="22"/>
                  </a:cubicBezTo>
                  <a:cubicBezTo>
                    <a:pt x="1854" y="0"/>
                    <a:pt x="1810" y="22"/>
                    <a:pt x="1773" y="66"/>
                  </a:cubicBezTo>
                  <a:cubicBezTo>
                    <a:pt x="1744" y="103"/>
                    <a:pt x="1729" y="117"/>
                    <a:pt x="1678" y="125"/>
                  </a:cubicBezTo>
                  <a:cubicBezTo>
                    <a:pt x="1627" y="132"/>
                    <a:pt x="1627" y="88"/>
                    <a:pt x="1583" y="95"/>
                  </a:cubicBezTo>
                  <a:cubicBezTo>
                    <a:pt x="1539" y="103"/>
                    <a:pt x="1524" y="154"/>
                    <a:pt x="1487" y="205"/>
                  </a:cubicBezTo>
                  <a:cubicBezTo>
                    <a:pt x="1451" y="257"/>
                    <a:pt x="1436" y="257"/>
                    <a:pt x="1399" y="257"/>
                  </a:cubicBezTo>
                  <a:cubicBezTo>
                    <a:pt x="1370" y="257"/>
                    <a:pt x="1341" y="257"/>
                    <a:pt x="1311" y="264"/>
                  </a:cubicBezTo>
                  <a:cubicBezTo>
                    <a:pt x="1275" y="278"/>
                    <a:pt x="1268" y="278"/>
                    <a:pt x="1231" y="300"/>
                  </a:cubicBezTo>
                  <a:cubicBezTo>
                    <a:pt x="1202" y="330"/>
                    <a:pt x="1180" y="345"/>
                    <a:pt x="1158" y="345"/>
                  </a:cubicBezTo>
                  <a:cubicBezTo>
                    <a:pt x="1128" y="345"/>
                    <a:pt x="1128" y="308"/>
                    <a:pt x="1077" y="308"/>
                  </a:cubicBezTo>
                  <a:cubicBezTo>
                    <a:pt x="1026" y="308"/>
                    <a:pt x="1011" y="345"/>
                    <a:pt x="1011" y="345"/>
                  </a:cubicBezTo>
                  <a:cubicBezTo>
                    <a:pt x="1011" y="345"/>
                    <a:pt x="923" y="359"/>
                    <a:pt x="865" y="359"/>
                  </a:cubicBezTo>
                  <a:cubicBezTo>
                    <a:pt x="806" y="359"/>
                    <a:pt x="791" y="403"/>
                    <a:pt x="762" y="432"/>
                  </a:cubicBezTo>
                  <a:cubicBezTo>
                    <a:pt x="740" y="454"/>
                    <a:pt x="740" y="469"/>
                    <a:pt x="696" y="476"/>
                  </a:cubicBezTo>
                  <a:cubicBezTo>
                    <a:pt x="652" y="491"/>
                    <a:pt x="674" y="432"/>
                    <a:pt x="645" y="447"/>
                  </a:cubicBezTo>
                  <a:cubicBezTo>
                    <a:pt x="623" y="462"/>
                    <a:pt x="623" y="506"/>
                    <a:pt x="616" y="528"/>
                  </a:cubicBezTo>
                  <a:cubicBezTo>
                    <a:pt x="601" y="557"/>
                    <a:pt x="542" y="579"/>
                    <a:pt x="549" y="616"/>
                  </a:cubicBezTo>
                  <a:cubicBezTo>
                    <a:pt x="564" y="652"/>
                    <a:pt x="549" y="718"/>
                    <a:pt x="535" y="740"/>
                  </a:cubicBezTo>
                  <a:cubicBezTo>
                    <a:pt x="520" y="769"/>
                    <a:pt x="498" y="769"/>
                    <a:pt x="476" y="828"/>
                  </a:cubicBezTo>
                  <a:cubicBezTo>
                    <a:pt x="447" y="887"/>
                    <a:pt x="447" y="916"/>
                    <a:pt x="491" y="916"/>
                  </a:cubicBezTo>
                  <a:cubicBezTo>
                    <a:pt x="535" y="916"/>
                    <a:pt x="549" y="967"/>
                    <a:pt x="520" y="997"/>
                  </a:cubicBezTo>
                  <a:cubicBezTo>
                    <a:pt x="484" y="1033"/>
                    <a:pt x="535" y="1099"/>
                    <a:pt x="564" y="1180"/>
                  </a:cubicBezTo>
                  <a:cubicBezTo>
                    <a:pt x="586" y="1253"/>
                    <a:pt x="542" y="1260"/>
                    <a:pt x="491" y="1290"/>
                  </a:cubicBezTo>
                  <a:cubicBezTo>
                    <a:pt x="440" y="1312"/>
                    <a:pt x="491" y="1363"/>
                    <a:pt x="513" y="1451"/>
                  </a:cubicBezTo>
                  <a:cubicBezTo>
                    <a:pt x="528" y="1532"/>
                    <a:pt x="571" y="1502"/>
                    <a:pt x="586" y="1532"/>
                  </a:cubicBezTo>
                  <a:cubicBezTo>
                    <a:pt x="601" y="1568"/>
                    <a:pt x="623" y="1605"/>
                    <a:pt x="593" y="1627"/>
                  </a:cubicBezTo>
                  <a:cubicBezTo>
                    <a:pt x="571" y="1656"/>
                    <a:pt x="564" y="1685"/>
                    <a:pt x="601" y="1737"/>
                  </a:cubicBezTo>
                  <a:cubicBezTo>
                    <a:pt x="645" y="1788"/>
                    <a:pt x="586" y="1883"/>
                    <a:pt x="623" y="1883"/>
                  </a:cubicBezTo>
                  <a:cubicBezTo>
                    <a:pt x="652" y="1883"/>
                    <a:pt x="681" y="1926"/>
                    <a:pt x="652" y="1956"/>
                  </a:cubicBezTo>
                  <a:cubicBezTo>
                    <a:pt x="630" y="1992"/>
                    <a:pt x="740" y="2014"/>
                    <a:pt x="799" y="2007"/>
                  </a:cubicBezTo>
                  <a:cubicBezTo>
                    <a:pt x="813" y="1985"/>
                    <a:pt x="821" y="1970"/>
                    <a:pt x="821" y="1970"/>
                  </a:cubicBezTo>
                  <a:cubicBezTo>
                    <a:pt x="821" y="1970"/>
                    <a:pt x="813" y="1985"/>
                    <a:pt x="799" y="2007"/>
                  </a:cubicBezTo>
                  <a:lnTo>
                    <a:pt x="799" y="2007"/>
                  </a:lnTo>
                  <a:cubicBezTo>
                    <a:pt x="857" y="1999"/>
                    <a:pt x="887" y="2007"/>
                    <a:pt x="909" y="2044"/>
                  </a:cubicBezTo>
                  <a:cubicBezTo>
                    <a:pt x="938" y="2080"/>
                    <a:pt x="989" y="2087"/>
                    <a:pt x="1055" y="2080"/>
                  </a:cubicBezTo>
                  <a:cubicBezTo>
                    <a:pt x="1121" y="2065"/>
                    <a:pt x="1114" y="2058"/>
                    <a:pt x="1136" y="2058"/>
                  </a:cubicBezTo>
                  <a:cubicBezTo>
                    <a:pt x="1165" y="2058"/>
                    <a:pt x="1158" y="2095"/>
                    <a:pt x="1202" y="2102"/>
                  </a:cubicBezTo>
                  <a:cubicBezTo>
                    <a:pt x="1238" y="2109"/>
                    <a:pt x="1268" y="2131"/>
                    <a:pt x="1290" y="2190"/>
                  </a:cubicBezTo>
                  <a:cubicBezTo>
                    <a:pt x="1319" y="2249"/>
                    <a:pt x="1290" y="2293"/>
                    <a:pt x="1363" y="2307"/>
                  </a:cubicBezTo>
                  <a:cubicBezTo>
                    <a:pt x="1429" y="2322"/>
                    <a:pt x="1399" y="2329"/>
                    <a:pt x="1443" y="2315"/>
                  </a:cubicBezTo>
                  <a:cubicBezTo>
                    <a:pt x="1487" y="2300"/>
                    <a:pt x="1487" y="2329"/>
                    <a:pt x="1502" y="2373"/>
                  </a:cubicBezTo>
                  <a:cubicBezTo>
                    <a:pt x="1524" y="2417"/>
                    <a:pt x="1539" y="2454"/>
                    <a:pt x="1553" y="2520"/>
                  </a:cubicBezTo>
                  <a:cubicBezTo>
                    <a:pt x="1575" y="2586"/>
                    <a:pt x="1583" y="2593"/>
                    <a:pt x="1539" y="2630"/>
                  </a:cubicBezTo>
                  <a:cubicBezTo>
                    <a:pt x="1495" y="2666"/>
                    <a:pt x="1297" y="2622"/>
                    <a:pt x="1238" y="2644"/>
                  </a:cubicBezTo>
                  <a:cubicBezTo>
                    <a:pt x="1180" y="2674"/>
                    <a:pt x="1172" y="2718"/>
                    <a:pt x="1150" y="2754"/>
                  </a:cubicBezTo>
                  <a:cubicBezTo>
                    <a:pt x="1121" y="2798"/>
                    <a:pt x="1128" y="2857"/>
                    <a:pt x="1114" y="2864"/>
                  </a:cubicBezTo>
                  <a:cubicBezTo>
                    <a:pt x="1099" y="2879"/>
                    <a:pt x="1084" y="2776"/>
                    <a:pt x="1084" y="2776"/>
                  </a:cubicBezTo>
                  <a:cubicBezTo>
                    <a:pt x="1084" y="2776"/>
                    <a:pt x="1077" y="2820"/>
                    <a:pt x="1040" y="2835"/>
                  </a:cubicBezTo>
                  <a:cubicBezTo>
                    <a:pt x="997" y="2849"/>
                    <a:pt x="960" y="2842"/>
                    <a:pt x="952" y="2879"/>
                  </a:cubicBezTo>
                  <a:cubicBezTo>
                    <a:pt x="945" y="2908"/>
                    <a:pt x="945" y="2930"/>
                    <a:pt x="909" y="2915"/>
                  </a:cubicBezTo>
                  <a:cubicBezTo>
                    <a:pt x="872" y="2908"/>
                    <a:pt x="843" y="2894"/>
                    <a:pt x="813" y="2930"/>
                  </a:cubicBezTo>
                  <a:cubicBezTo>
                    <a:pt x="791" y="2959"/>
                    <a:pt x="799" y="2959"/>
                    <a:pt x="747" y="2981"/>
                  </a:cubicBezTo>
                  <a:cubicBezTo>
                    <a:pt x="696" y="2996"/>
                    <a:pt x="747" y="3033"/>
                    <a:pt x="791" y="3040"/>
                  </a:cubicBezTo>
                  <a:cubicBezTo>
                    <a:pt x="835" y="3047"/>
                    <a:pt x="857" y="3047"/>
                    <a:pt x="835" y="3091"/>
                  </a:cubicBezTo>
                  <a:cubicBezTo>
                    <a:pt x="806" y="3128"/>
                    <a:pt x="777" y="3121"/>
                    <a:pt x="747" y="3128"/>
                  </a:cubicBezTo>
                  <a:cubicBezTo>
                    <a:pt x="725" y="3143"/>
                    <a:pt x="703" y="3165"/>
                    <a:pt x="711" y="3208"/>
                  </a:cubicBezTo>
                  <a:cubicBezTo>
                    <a:pt x="725" y="3253"/>
                    <a:pt x="755" y="3216"/>
                    <a:pt x="784" y="3201"/>
                  </a:cubicBezTo>
                  <a:cubicBezTo>
                    <a:pt x="806" y="3179"/>
                    <a:pt x="828" y="3216"/>
                    <a:pt x="813" y="3253"/>
                  </a:cubicBezTo>
                  <a:cubicBezTo>
                    <a:pt x="806" y="3282"/>
                    <a:pt x="784" y="3282"/>
                    <a:pt x="791" y="3318"/>
                  </a:cubicBezTo>
                  <a:cubicBezTo>
                    <a:pt x="799" y="3355"/>
                    <a:pt x="828" y="3370"/>
                    <a:pt x="887" y="3377"/>
                  </a:cubicBezTo>
                  <a:cubicBezTo>
                    <a:pt x="945" y="3384"/>
                    <a:pt x="916" y="3465"/>
                    <a:pt x="887" y="3480"/>
                  </a:cubicBezTo>
                  <a:cubicBezTo>
                    <a:pt x="850" y="3494"/>
                    <a:pt x="843" y="3494"/>
                    <a:pt x="828" y="3524"/>
                  </a:cubicBezTo>
                  <a:cubicBezTo>
                    <a:pt x="806" y="3546"/>
                    <a:pt x="806" y="3553"/>
                    <a:pt x="777" y="3568"/>
                  </a:cubicBezTo>
                  <a:cubicBezTo>
                    <a:pt x="740" y="3575"/>
                    <a:pt x="696" y="3568"/>
                    <a:pt x="696" y="3568"/>
                  </a:cubicBezTo>
                  <a:cubicBezTo>
                    <a:pt x="696" y="3568"/>
                    <a:pt x="659" y="3597"/>
                    <a:pt x="593" y="3604"/>
                  </a:cubicBezTo>
                  <a:cubicBezTo>
                    <a:pt x="528" y="3619"/>
                    <a:pt x="593" y="3604"/>
                    <a:pt x="571" y="3641"/>
                  </a:cubicBezTo>
                  <a:cubicBezTo>
                    <a:pt x="542" y="3677"/>
                    <a:pt x="542" y="3677"/>
                    <a:pt x="564" y="3707"/>
                  </a:cubicBezTo>
                  <a:cubicBezTo>
                    <a:pt x="579" y="3744"/>
                    <a:pt x="549" y="3765"/>
                    <a:pt x="520" y="3787"/>
                  </a:cubicBezTo>
                  <a:cubicBezTo>
                    <a:pt x="484" y="3802"/>
                    <a:pt x="491" y="3744"/>
                    <a:pt x="469" y="3744"/>
                  </a:cubicBezTo>
                  <a:cubicBezTo>
                    <a:pt x="440" y="3744"/>
                    <a:pt x="461" y="3787"/>
                    <a:pt x="418" y="3831"/>
                  </a:cubicBezTo>
                  <a:cubicBezTo>
                    <a:pt x="374" y="3868"/>
                    <a:pt x="322" y="3809"/>
                    <a:pt x="315" y="3787"/>
                  </a:cubicBezTo>
                  <a:cubicBezTo>
                    <a:pt x="308" y="3758"/>
                    <a:pt x="330" y="3722"/>
                    <a:pt x="330" y="3722"/>
                  </a:cubicBezTo>
                  <a:cubicBezTo>
                    <a:pt x="330" y="3722"/>
                    <a:pt x="271" y="3656"/>
                    <a:pt x="300" y="3634"/>
                  </a:cubicBezTo>
                  <a:cubicBezTo>
                    <a:pt x="322" y="3604"/>
                    <a:pt x="264" y="3582"/>
                    <a:pt x="249" y="3619"/>
                  </a:cubicBezTo>
                  <a:cubicBezTo>
                    <a:pt x="227" y="3648"/>
                    <a:pt x="227" y="3641"/>
                    <a:pt x="183" y="3670"/>
                  </a:cubicBezTo>
                  <a:cubicBezTo>
                    <a:pt x="147" y="3692"/>
                    <a:pt x="125" y="3699"/>
                    <a:pt x="110" y="3751"/>
                  </a:cubicBezTo>
                  <a:cubicBezTo>
                    <a:pt x="95" y="3802"/>
                    <a:pt x="88" y="3839"/>
                    <a:pt x="44" y="3846"/>
                  </a:cubicBezTo>
                  <a:cubicBezTo>
                    <a:pt x="0" y="3853"/>
                    <a:pt x="0" y="3897"/>
                    <a:pt x="15" y="3949"/>
                  </a:cubicBezTo>
                  <a:cubicBezTo>
                    <a:pt x="37" y="4000"/>
                    <a:pt x="59" y="3978"/>
                    <a:pt x="88" y="3956"/>
                  </a:cubicBezTo>
                  <a:cubicBezTo>
                    <a:pt x="110" y="3934"/>
                    <a:pt x="154" y="3971"/>
                    <a:pt x="168" y="4029"/>
                  </a:cubicBezTo>
                  <a:cubicBezTo>
                    <a:pt x="183" y="4095"/>
                    <a:pt x="176" y="4110"/>
                    <a:pt x="117" y="4146"/>
                  </a:cubicBezTo>
                  <a:cubicBezTo>
                    <a:pt x="59" y="4176"/>
                    <a:pt x="51" y="4183"/>
                    <a:pt x="22" y="4227"/>
                  </a:cubicBezTo>
                  <a:cubicBezTo>
                    <a:pt x="7" y="4264"/>
                    <a:pt x="95" y="4293"/>
                    <a:pt x="117" y="4300"/>
                  </a:cubicBezTo>
                  <a:cubicBezTo>
                    <a:pt x="147" y="4300"/>
                    <a:pt x="168" y="4308"/>
                    <a:pt x="183" y="4330"/>
                  </a:cubicBezTo>
                  <a:cubicBezTo>
                    <a:pt x="205" y="4359"/>
                    <a:pt x="198" y="4498"/>
                    <a:pt x="249" y="4520"/>
                  </a:cubicBezTo>
                  <a:cubicBezTo>
                    <a:pt x="308" y="4542"/>
                    <a:pt x="366" y="4564"/>
                    <a:pt x="410" y="4564"/>
                  </a:cubicBezTo>
                  <a:cubicBezTo>
                    <a:pt x="440" y="4564"/>
                    <a:pt x="513" y="4601"/>
                    <a:pt x="564" y="4630"/>
                  </a:cubicBezTo>
                  <a:cubicBezTo>
                    <a:pt x="557" y="4623"/>
                    <a:pt x="557" y="4623"/>
                    <a:pt x="557" y="4623"/>
                  </a:cubicBezTo>
                  <a:cubicBezTo>
                    <a:pt x="557" y="4623"/>
                    <a:pt x="616" y="4579"/>
                    <a:pt x="659" y="4579"/>
                  </a:cubicBezTo>
                  <a:cubicBezTo>
                    <a:pt x="703" y="4579"/>
                    <a:pt x="696" y="4667"/>
                    <a:pt x="725" y="4711"/>
                  </a:cubicBezTo>
                  <a:cubicBezTo>
                    <a:pt x="762" y="4755"/>
                    <a:pt x="828" y="4733"/>
                    <a:pt x="865" y="4769"/>
                  </a:cubicBezTo>
                  <a:cubicBezTo>
                    <a:pt x="901" y="4806"/>
                    <a:pt x="872" y="4828"/>
                    <a:pt x="865" y="4857"/>
                  </a:cubicBezTo>
                  <a:cubicBezTo>
                    <a:pt x="850" y="4894"/>
                    <a:pt x="901" y="4872"/>
                    <a:pt x="909" y="4916"/>
                  </a:cubicBezTo>
                  <a:cubicBezTo>
                    <a:pt x="923" y="4960"/>
                    <a:pt x="967" y="5136"/>
                    <a:pt x="1026" y="4960"/>
                  </a:cubicBezTo>
                  <a:cubicBezTo>
                    <a:pt x="1077" y="4791"/>
                    <a:pt x="1092" y="4703"/>
                    <a:pt x="1128" y="4681"/>
                  </a:cubicBezTo>
                  <a:cubicBezTo>
                    <a:pt x="1158" y="4659"/>
                    <a:pt x="1180" y="4586"/>
                    <a:pt x="1180" y="4542"/>
                  </a:cubicBezTo>
                  <a:cubicBezTo>
                    <a:pt x="1180" y="4498"/>
                    <a:pt x="1275" y="4462"/>
                    <a:pt x="1304" y="4454"/>
                  </a:cubicBezTo>
                  <a:cubicBezTo>
                    <a:pt x="1341" y="4440"/>
                    <a:pt x="1363" y="4374"/>
                    <a:pt x="1385" y="4330"/>
                  </a:cubicBezTo>
                  <a:cubicBezTo>
                    <a:pt x="1407" y="4278"/>
                    <a:pt x="1692" y="4227"/>
                    <a:pt x="1737" y="4234"/>
                  </a:cubicBezTo>
                  <a:cubicBezTo>
                    <a:pt x="1780" y="4249"/>
                    <a:pt x="1780" y="4234"/>
                    <a:pt x="1876" y="4168"/>
                  </a:cubicBezTo>
                  <a:cubicBezTo>
                    <a:pt x="1964" y="4103"/>
                    <a:pt x="2052" y="4088"/>
                    <a:pt x="2176" y="4154"/>
                  </a:cubicBezTo>
                  <a:cubicBezTo>
                    <a:pt x="2301" y="4227"/>
                    <a:pt x="2271" y="4234"/>
                    <a:pt x="2271" y="4234"/>
                  </a:cubicBezTo>
                  <a:cubicBezTo>
                    <a:pt x="2271" y="4234"/>
                    <a:pt x="2396" y="4213"/>
                    <a:pt x="2425" y="4110"/>
                  </a:cubicBezTo>
                  <a:cubicBezTo>
                    <a:pt x="2462" y="4007"/>
                    <a:pt x="2418" y="3985"/>
                    <a:pt x="2440" y="3919"/>
                  </a:cubicBezTo>
                  <a:cubicBezTo>
                    <a:pt x="2462" y="3853"/>
                    <a:pt x="2506" y="3919"/>
                    <a:pt x="2565" y="3897"/>
                  </a:cubicBezTo>
                  <a:cubicBezTo>
                    <a:pt x="2623" y="3875"/>
                    <a:pt x="2652" y="3853"/>
                    <a:pt x="2726" y="3875"/>
                  </a:cubicBezTo>
                  <a:cubicBezTo>
                    <a:pt x="2792" y="3897"/>
                    <a:pt x="2850" y="3861"/>
                    <a:pt x="2850" y="3758"/>
                  </a:cubicBezTo>
                  <a:cubicBezTo>
                    <a:pt x="2850" y="3656"/>
                    <a:pt x="2894" y="3553"/>
                    <a:pt x="2938" y="3582"/>
                  </a:cubicBezTo>
                  <a:cubicBezTo>
                    <a:pt x="2982" y="3604"/>
                    <a:pt x="3056" y="3670"/>
                    <a:pt x="3063" y="3612"/>
                  </a:cubicBezTo>
                  <a:cubicBezTo>
                    <a:pt x="3078" y="3553"/>
                    <a:pt x="3078" y="3524"/>
                    <a:pt x="3121" y="3465"/>
                  </a:cubicBezTo>
                  <a:cubicBezTo>
                    <a:pt x="3165" y="3406"/>
                    <a:pt x="3180" y="3340"/>
                    <a:pt x="3180" y="3340"/>
                  </a:cubicBezTo>
                  <a:cubicBezTo>
                    <a:pt x="3180" y="3340"/>
                    <a:pt x="3165" y="3406"/>
                    <a:pt x="3224" y="3458"/>
                  </a:cubicBezTo>
                  <a:cubicBezTo>
                    <a:pt x="3275" y="3502"/>
                    <a:pt x="3312" y="3531"/>
                    <a:pt x="3349" y="3502"/>
                  </a:cubicBezTo>
                  <a:cubicBezTo>
                    <a:pt x="3378" y="3465"/>
                    <a:pt x="3392" y="3480"/>
                    <a:pt x="3437" y="3406"/>
                  </a:cubicBezTo>
                  <a:cubicBezTo>
                    <a:pt x="3480" y="3340"/>
                    <a:pt x="3480" y="3318"/>
                    <a:pt x="3480" y="3260"/>
                  </a:cubicBezTo>
                  <a:cubicBezTo>
                    <a:pt x="3480" y="3201"/>
                    <a:pt x="3451" y="3128"/>
                    <a:pt x="3502" y="3135"/>
                  </a:cubicBezTo>
                  <a:cubicBezTo>
                    <a:pt x="3561" y="3150"/>
                    <a:pt x="3598" y="3157"/>
                    <a:pt x="3678" y="3113"/>
                  </a:cubicBezTo>
                  <a:cubicBezTo>
                    <a:pt x="3752" y="3069"/>
                    <a:pt x="3788" y="3106"/>
                    <a:pt x="3847" y="3106"/>
                  </a:cubicBezTo>
                  <a:cubicBezTo>
                    <a:pt x="3906" y="3106"/>
                    <a:pt x="3913" y="3069"/>
                    <a:pt x="3993" y="3047"/>
                  </a:cubicBezTo>
                  <a:cubicBezTo>
                    <a:pt x="4074" y="3025"/>
                    <a:pt x="4081" y="3069"/>
                    <a:pt x="4155" y="3047"/>
                  </a:cubicBezTo>
                  <a:cubicBezTo>
                    <a:pt x="4221" y="3025"/>
                    <a:pt x="4264" y="3025"/>
                    <a:pt x="4242" y="2967"/>
                  </a:cubicBezTo>
                  <a:cubicBezTo>
                    <a:pt x="4221" y="2908"/>
                    <a:pt x="4242" y="2806"/>
                    <a:pt x="4382" y="2776"/>
                  </a:cubicBezTo>
                  <a:cubicBezTo>
                    <a:pt x="4514" y="2740"/>
                    <a:pt x="4528" y="2798"/>
                    <a:pt x="4631" y="2732"/>
                  </a:cubicBezTo>
                  <a:cubicBezTo>
                    <a:pt x="4726" y="2659"/>
                    <a:pt x="4821" y="2608"/>
                    <a:pt x="4887" y="2571"/>
                  </a:cubicBezTo>
                  <a:cubicBezTo>
                    <a:pt x="4953" y="2534"/>
                    <a:pt x="4865" y="2549"/>
                    <a:pt x="4946" y="2476"/>
                  </a:cubicBezTo>
                  <a:cubicBezTo>
                    <a:pt x="5027" y="2410"/>
                    <a:pt x="5049" y="2432"/>
                    <a:pt x="5137" y="2410"/>
                  </a:cubicBezTo>
                  <a:cubicBezTo>
                    <a:pt x="5232" y="2388"/>
                    <a:pt x="5320" y="2322"/>
                    <a:pt x="5195" y="2278"/>
                  </a:cubicBezTo>
                  <a:cubicBezTo>
                    <a:pt x="5071" y="2227"/>
                    <a:pt x="5049" y="2219"/>
                    <a:pt x="5049" y="2175"/>
                  </a:cubicBezTo>
                  <a:cubicBezTo>
                    <a:pt x="5049" y="2131"/>
                    <a:pt x="4975" y="2139"/>
                    <a:pt x="4953" y="2102"/>
                  </a:cubicBezTo>
                  <a:cubicBezTo>
                    <a:pt x="4931" y="2073"/>
                    <a:pt x="4931" y="2073"/>
                    <a:pt x="4953" y="1992"/>
                  </a:cubicBezTo>
                  <a:cubicBezTo>
                    <a:pt x="4975" y="1912"/>
                    <a:pt x="4968" y="1912"/>
                    <a:pt x="5056" y="1926"/>
                  </a:cubicBezTo>
                  <a:cubicBezTo>
                    <a:pt x="5151" y="1934"/>
                    <a:pt x="5151" y="1934"/>
                    <a:pt x="5195" y="1977"/>
                  </a:cubicBezTo>
                  <a:cubicBezTo>
                    <a:pt x="5239" y="2029"/>
                    <a:pt x="5261" y="2036"/>
                    <a:pt x="5305" y="1970"/>
                  </a:cubicBezTo>
                  <a:cubicBezTo>
                    <a:pt x="5356" y="1904"/>
                    <a:pt x="5400" y="1904"/>
                    <a:pt x="5444" y="1948"/>
                  </a:cubicBezTo>
                  <a:cubicBezTo>
                    <a:pt x="5488" y="1992"/>
                    <a:pt x="5605" y="2029"/>
                    <a:pt x="5628" y="2073"/>
                  </a:cubicBezTo>
                  <a:cubicBezTo>
                    <a:pt x="5649" y="2117"/>
                    <a:pt x="5649" y="2183"/>
                    <a:pt x="5613" y="2227"/>
                  </a:cubicBezTo>
                  <a:cubicBezTo>
                    <a:pt x="5583" y="2278"/>
                    <a:pt x="5613" y="2344"/>
                    <a:pt x="5693" y="2300"/>
                  </a:cubicBezTo>
                  <a:cubicBezTo>
                    <a:pt x="5774" y="2256"/>
                    <a:pt x="5796" y="2351"/>
                    <a:pt x="5752" y="2410"/>
                  </a:cubicBezTo>
                  <a:cubicBezTo>
                    <a:pt x="5708" y="2468"/>
                    <a:pt x="5730" y="2513"/>
                    <a:pt x="5803" y="2527"/>
                  </a:cubicBezTo>
                  <a:cubicBezTo>
                    <a:pt x="5884" y="2534"/>
                    <a:pt x="5986" y="2571"/>
                    <a:pt x="6009" y="2608"/>
                  </a:cubicBezTo>
                  <a:cubicBezTo>
                    <a:pt x="6030" y="2637"/>
                    <a:pt x="6148" y="2615"/>
                    <a:pt x="6155" y="2513"/>
                  </a:cubicBezTo>
                  <a:cubicBezTo>
                    <a:pt x="6170" y="2410"/>
                    <a:pt x="6170" y="2344"/>
                    <a:pt x="6236" y="2263"/>
                  </a:cubicBezTo>
                  <a:cubicBezTo>
                    <a:pt x="6309" y="2183"/>
                    <a:pt x="6294" y="2051"/>
                    <a:pt x="6331" y="1970"/>
                  </a:cubicBezTo>
                  <a:cubicBezTo>
                    <a:pt x="6360" y="1890"/>
                    <a:pt x="6485" y="1517"/>
                    <a:pt x="6455" y="1451"/>
                  </a:cubicBezTo>
                  <a:cubicBezTo>
                    <a:pt x="6419" y="1378"/>
                    <a:pt x="6455" y="1290"/>
                    <a:pt x="6477" y="1209"/>
                  </a:cubicBezTo>
                  <a:cubicBezTo>
                    <a:pt x="6499" y="1128"/>
                    <a:pt x="6433" y="1004"/>
                    <a:pt x="6382" y="91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0" name="Freeform 29"/>
            <p:cNvSpPr>
              <a:spLocks noChangeArrowheads="1"/>
            </p:cNvSpPr>
            <p:nvPr/>
          </p:nvSpPr>
          <p:spPr bwMode="auto">
            <a:xfrm>
              <a:off x="5495144" y="4899865"/>
              <a:ext cx="393964" cy="302768"/>
            </a:xfrm>
            <a:custGeom>
              <a:avLst/>
              <a:gdLst>
                <a:gd name="T0" fmla="*/ 7 w 1027"/>
                <a:gd name="T1" fmla="*/ 66 h 800"/>
                <a:gd name="T2" fmla="*/ 7 w 1027"/>
                <a:gd name="T3" fmla="*/ 66 h 800"/>
                <a:gd name="T4" fmla="*/ 95 w 1027"/>
                <a:gd name="T5" fmla="*/ 183 h 800"/>
                <a:gd name="T6" fmla="*/ 257 w 1027"/>
                <a:gd name="T7" fmla="*/ 278 h 800"/>
                <a:gd name="T8" fmla="*/ 322 w 1027"/>
                <a:gd name="T9" fmla="*/ 417 h 800"/>
                <a:gd name="T10" fmla="*/ 396 w 1027"/>
                <a:gd name="T11" fmla="*/ 498 h 800"/>
                <a:gd name="T12" fmla="*/ 447 w 1027"/>
                <a:gd name="T13" fmla="*/ 637 h 800"/>
                <a:gd name="T14" fmla="*/ 586 w 1027"/>
                <a:gd name="T15" fmla="*/ 696 h 800"/>
                <a:gd name="T16" fmla="*/ 674 w 1027"/>
                <a:gd name="T17" fmla="*/ 740 h 800"/>
                <a:gd name="T18" fmla="*/ 747 w 1027"/>
                <a:gd name="T19" fmla="*/ 747 h 800"/>
                <a:gd name="T20" fmla="*/ 835 w 1027"/>
                <a:gd name="T21" fmla="*/ 762 h 800"/>
                <a:gd name="T22" fmla="*/ 916 w 1027"/>
                <a:gd name="T23" fmla="*/ 740 h 800"/>
                <a:gd name="T24" fmla="*/ 975 w 1027"/>
                <a:gd name="T25" fmla="*/ 630 h 800"/>
                <a:gd name="T26" fmla="*/ 982 w 1027"/>
                <a:gd name="T27" fmla="*/ 527 h 800"/>
                <a:gd name="T28" fmla="*/ 982 w 1027"/>
                <a:gd name="T29" fmla="*/ 454 h 800"/>
                <a:gd name="T30" fmla="*/ 1004 w 1027"/>
                <a:gd name="T31" fmla="*/ 396 h 800"/>
                <a:gd name="T32" fmla="*/ 931 w 1027"/>
                <a:gd name="T33" fmla="*/ 300 h 800"/>
                <a:gd name="T34" fmla="*/ 850 w 1027"/>
                <a:gd name="T35" fmla="*/ 352 h 800"/>
                <a:gd name="T36" fmla="*/ 755 w 1027"/>
                <a:gd name="T37" fmla="*/ 337 h 800"/>
                <a:gd name="T38" fmla="*/ 608 w 1027"/>
                <a:gd name="T39" fmla="*/ 264 h 800"/>
                <a:gd name="T40" fmla="*/ 491 w 1027"/>
                <a:gd name="T41" fmla="*/ 220 h 800"/>
                <a:gd name="T42" fmla="*/ 396 w 1027"/>
                <a:gd name="T43" fmla="*/ 190 h 800"/>
                <a:gd name="T44" fmla="*/ 293 w 1027"/>
                <a:gd name="T45" fmla="*/ 154 h 800"/>
                <a:gd name="T46" fmla="*/ 220 w 1027"/>
                <a:gd name="T47" fmla="*/ 110 h 800"/>
                <a:gd name="T48" fmla="*/ 110 w 1027"/>
                <a:gd name="T49" fmla="*/ 95 h 800"/>
                <a:gd name="T50" fmla="*/ 7 w 1027"/>
                <a:gd name="T51" fmla="*/ 66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27" h="800">
                  <a:moveTo>
                    <a:pt x="7" y="66"/>
                  </a:moveTo>
                  <a:lnTo>
                    <a:pt x="7" y="66"/>
                  </a:lnTo>
                  <a:cubicBezTo>
                    <a:pt x="0" y="110"/>
                    <a:pt x="44" y="168"/>
                    <a:pt x="95" y="183"/>
                  </a:cubicBezTo>
                  <a:cubicBezTo>
                    <a:pt x="147" y="205"/>
                    <a:pt x="234" y="234"/>
                    <a:pt x="257" y="278"/>
                  </a:cubicBezTo>
                  <a:cubicBezTo>
                    <a:pt x="271" y="322"/>
                    <a:pt x="278" y="381"/>
                    <a:pt x="322" y="417"/>
                  </a:cubicBezTo>
                  <a:cubicBezTo>
                    <a:pt x="366" y="447"/>
                    <a:pt x="374" y="454"/>
                    <a:pt x="396" y="498"/>
                  </a:cubicBezTo>
                  <a:cubicBezTo>
                    <a:pt x="425" y="542"/>
                    <a:pt x="425" y="594"/>
                    <a:pt x="447" y="637"/>
                  </a:cubicBezTo>
                  <a:cubicBezTo>
                    <a:pt x="476" y="681"/>
                    <a:pt x="528" y="703"/>
                    <a:pt x="586" y="696"/>
                  </a:cubicBezTo>
                  <a:cubicBezTo>
                    <a:pt x="645" y="689"/>
                    <a:pt x="652" y="711"/>
                    <a:pt x="674" y="740"/>
                  </a:cubicBezTo>
                  <a:cubicBezTo>
                    <a:pt x="689" y="762"/>
                    <a:pt x="718" y="791"/>
                    <a:pt x="747" y="747"/>
                  </a:cubicBezTo>
                  <a:cubicBezTo>
                    <a:pt x="769" y="703"/>
                    <a:pt x="806" y="725"/>
                    <a:pt x="835" y="762"/>
                  </a:cubicBezTo>
                  <a:cubicBezTo>
                    <a:pt x="857" y="799"/>
                    <a:pt x="887" y="799"/>
                    <a:pt x="916" y="740"/>
                  </a:cubicBezTo>
                  <a:cubicBezTo>
                    <a:pt x="952" y="681"/>
                    <a:pt x="997" y="689"/>
                    <a:pt x="975" y="630"/>
                  </a:cubicBezTo>
                  <a:cubicBezTo>
                    <a:pt x="960" y="564"/>
                    <a:pt x="960" y="564"/>
                    <a:pt x="982" y="527"/>
                  </a:cubicBezTo>
                  <a:cubicBezTo>
                    <a:pt x="1011" y="484"/>
                    <a:pt x="1004" y="484"/>
                    <a:pt x="982" y="454"/>
                  </a:cubicBezTo>
                  <a:cubicBezTo>
                    <a:pt x="967" y="432"/>
                    <a:pt x="975" y="447"/>
                    <a:pt x="1004" y="396"/>
                  </a:cubicBezTo>
                  <a:cubicBezTo>
                    <a:pt x="1026" y="344"/>
                    <a:pt x="982" y="315"/>
                    <a:pt x="931" y="300"/>
                  </a:cubicBezTo>
                  <a:cubicBezTo>
                    <a:pt x="887" y="293"/>
                    <a:pt x="887" y="344"/>
                    <a:pt x="850" y="352"/>
                  </a:cubicBezTo>
                  <a:cubicBezTo>
                    <a:pt x="813" y="366"/>
                    <a:pt x="784" y="396"/>
                    <a:pt x="755" y="337"/>
                  </a:cubicBezTo>
                  <a:cubicBezTo>
                    <a:pt x="733" y="278"/>
                    <a:pt x="652" y="256"/>
                    <a:pt x="608" y="264"/>
                  </a:cubicBezTo>
                  <a:cubicBezTo>
                    <a:pt x="571" y="271"/>
                    <a:pt x="506" y="256"/>
                    <a:pt x="491" y="220"/>
                  </a:cubicBezTo>
                  <a:cubicBezTo>
                    <a:pt x="476" y="183"/>
                    <a:pt x="447" y="183"/>
                    <a:pt x="396" y="190"/>
                  </a:cubicBezTo>
                  <a:cubicBezTo>
                    <a:pt x="344" y="205"/>
                    <a:pt x="322" y="183"/>
                    <a:pt x="293" y="154"/>
                  </a:cubicBezTo>
                  <a:cubicBezTo>
                    <a:pt x="271" y="117"/>
                    <a:pt x="264" y="110"/>
                    <a:pt x="220" y="110"/>
                  </a:cubicBezTo>
                  <a:cubicBezTo>
                    <a:pt x="176" y="110"/>
                    <a:pt x="132" y="132"/>
                    <a:pt x="110" y="95"/>
                  </a:cubicBezTo>
                  <a:cubicBezTo>
                    <a:pt x="80" y="51"/>
                    <a:pt x="15" y="0"/>
                    <a:pt x="7" y="6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1" name="Freeform 30"/>
            <p:cNvSpPr>
              <a:spLocks noChangeArrowheads="1"/>
            </p:cNvSpPr>
            <p:nvPr/>
          </p:nvSpPr>
          <p:spPr bwMode="auto">
            <a:xfrm>
              <a:off x="5349231" y="2581680"/>
              <a:ext cx="2272586" cy="2152209"/>
            </a:xfrm>
            <a:custGeom>
              <a:avLst/>
              <a:gdLst>
                <a:gd name="T0" fmla="*/ 4140 w 5913"/>
                <a:gd name="T1" fmla="*/ 5488 h 5665"/>
                <a:gd name="T2" fmla="*/ 3788 w 5913"/>
                <a:gd name="T3" fmla="*/ 5569 h 5665"/>
                <a:gd name="T4" fmla="*/ 3466 w 5913"/>
                <a:gd name="T5" fmla="*/ 5422 h 5665"/>
                <a:gd name="T6" fmla="*/ 3187 w 5913"/>
                <a:gd name="T7" fmla="*/ 5400 h 5665"/>
                <a:gd name="T8" fmla="*/ 2894 w 5913"/>
                <a:gd name="T9" fmla="*/ 5063 h 5665"/>
                <a:gd name="T10" fmla="*/ 2081 w 5913"/>
                <a:gd name="T11" fmla="*/ 4118 h 5665"/>
                <a:gd name="T12" fmla="*/ 1443 w 5913"/>
                <a:gd name="T13" fmla="*/ 3935 h 5665"/>
                <a:gd name="T14" fmla="*/ 1092 w 5913"/>
                <a:gd name="T15" fmla="*/ 3429 h 5665"/>
                <a:gd name="T16" fmla="*/ 1341 w 5913"/>
                <a:gd name="T17" fmla="*/ 3334 h 5665"/>
                <a:gd name="T18" fmla="*/ 1062 w 5913"/>
                <a:gd name="T19" fmla="*/ 3136 h 5665"/>
                <a:gd name="T20" fmla="*/ 945 w 5913"/>
                <a:gd name="T21" fmla="*/ 2616 h 5665"/>
                <a:gd name="T22" fmla="*/ 571 w 5913"/>
                <a:gd name="T23" fmla="*/ 2462 h 5665"/>
                <a:gd name="T24" fmla="*/ 703 w 5913"/>
                <a:gd name="T25" fmla="*/ 2242 h 5665"/>
                <a:gd name="T26" fmla="*/ 1209 w 5913"/>
                <a:gd name="T27" fmla="*/ 2191 h 5665"/>
                <a:gd name="T28" fmla="*/ 1290 w 5913"/>
                <a:gd name="T29" fmla="*/ 2022 h 5665"/>
                <a:gd name="T30" fmla="*/ 1026 w 5913"/>
                <a:gd name="T31" fmla="*/ 1920 h 5665"/>
                <a:gd name="T32" fmla="*/ 1143 w 5913"/>
                <a:gd name="T33" fmla="*/ 1634 h 5665"/>
                <a:gd name="T34" fmla="*/ 923 w 5913"/>
                <a:gd name="T35" fmla="*/ 1312 h 5665"/>
                <a:gd name="T36" fmla="*/ 608 w 5913"/>
                <a:gd name="T37" fmla="*/ 674 h 5665"/>
                <a:gd name="T38" fmla="*/ 183 w 5913"/>
                <a:gd name="T39" fmla="*/ 689 h 5665"/>
                <a:gd name="T40" fmla="*/ 110 w 5913"/>
                <a:gd name="T41" fmla="*/ 1055 h 5665"/>
                <a:gd name="T42" fmla="*/ 139 w 5913"/>
                <a:gd name="T43" fmla="*/ 249 h 5665"/>
                <a:gd name="T44" fmla="*/ 418 w 5913"/>
                <a:gd name="T45" fmla="*/ 95 h 5665"/>
                <a:gd name="T46" fmla="*/ 205 w 5913"/>
                <a:gd name="T47" fmla="*/ 403 h 5665"/>
                <a:gd name="T48" fmla="*/ 821 w 5913"/>
                <a:gd name="T49" fmla="*/ 564 h 5665"/>
                <a:gd name="T50" fmla="*/ 1700 w 5913"/>
                <a:gd name="T51" fmla="*/ 660 h 5665"/>
                <a:gd name="T52" fmla="*/ 2220 w 5913"/>
                <a:gd name="T53" fmla="*/ 777 h 5665"/>
                <a:gd name="T54" fmla="*/ 2550 w 5913"/>
                <a:gd name="T55" fmla="*/ 769 h 5665"/>
                <a:gd name="T56" fmla="*/ 3165 w 5913"/>
                <a:gd name="T57" fmla="*/ 901 h 5665"/>
                <a:gd name="T58" fmla="*/ 3414 w 5913"/>
                <a:gd name="T59" fmla="*/ 1414 h 5665"/>
                <a:gd name="T60" fmla="*/ 3078 w 5913"/>
                <a:gd name="T61" fmla="*/ 2059 h 5665"/>
                <a:gd name="T62" fmla="*/ 3744 w 5913"/>
                <a:gd name="T63" fmla="*/ 2044 h 5665"/>
                <a:gd name="T64" fmla="*/ 3942 w 5913"/>
                <a:gd name="T65" fmla="*/ 2088 h 5665"/>
                <a:gd name="T66" fmla="*/ 4813 w 5913"/>
                <a:gd name="T67" fmla="*/ 2499 h 5665"/>
                <a:gd name="T68" fmla="*/ 5414 w 5913"/>
                <a:gd name="T69" fmla="*/ 2242 h 5665"/>
                <a:gd name="T70" fmla="*/ 5297 w 5913"/>
                <a:gd name="T71" fmla="*/ 2081 h 5665"/>
                <a:gd name="T72" fmla="*/ 5326 w 5913"/>
                <a:gd name="T73" fmla="*/ 1788 h 5665"/>
                <a:gd name="T74" fmla="*/ 5868 w 5913"/>
                <a:gd name="T75" fmla="*/ 2096 h 5665"/>
                <a:gd name="T76" fmla="*/ 5670 w 5913"/>
                <a:gd name="T77" fmla="*/ 2140 h 5665"/>
                <a:gd name="T78" fmla="*/ 5458 w 5913"/>
                <a:gd name="T79" fmla="*/ 2308 h 5665"/>
                <a:gd name="T80" fmla="*/ 5282 w 5913"/>
                <a:gd name="T81" fmla="*/ 3041 h 5665"/>
                <a:gd name="T82" fmla="*/ 5106 w 5913"/>
                <a:gd name="T83" fmla="*/ 3605 h 5665"/>
                <a:gd name="T84" fmla="*/ 4864 w 5913"/>
                <a:gd name="T85" fmla="*/ 4052 h 5665"/>
                <a:gd name="T86" fmla="*/ 5209 w 5913"/>
                <a:gd name="T87" fmla="*/ 4543 h 5665"/>
                <a:gd name="T88" fmla="*/ 5099 w 5913"/>
                <a:gd name="T89" fmla="*/ 4976 h 5665"/>
                <a:gd name="T90" fmla="*/ 4857 w 5913"/>
                <a:gd name="T91" fmla="*/ 5276 h 5665"/>
                <a:gd name="T92" fmla="*/ 4593 w 5913"/>
                <a:gd name="T93" fmla="*/ 5657 h 5665"/>
                <a:gd name="T94" fmla="*/ 3656 w 5913"/>
                <a:gd name="T95" fmla="*/ 2403 h 5665"/>
                <a:gd name="T96" fmla="*/ 322 w 5913"/>
                <a:gd name="T97" fmla="*/ 2030 h 5665"/>
                <a:gd name="T98" fmla="*/ 667 w 5913"/>
                <a:gd name="T99" fmla="*/ 1979 h 5665"/>
                <a:gd name="T100" fmla="*/ 850 w 5913"/>
                <a:gd name="T101" fmla="*/ 1707 h 5665"/>
                <a:gd name="T102" fmla="*/ 667 w 5913"/>
                <a:gd name="T103" fmla="*/ 1979 h 5665"/>
                <a:gd name="T104" fmla="*/ 564 w 5913"/>
                <a:gd name="T105" fmla="*/ 1649 h 5665"/>
                <a:gd name="T106" fmla="*/ 51 w 5913"/>
                <a:gd name="T107" fmla="*/ 1392 h 5665"/>
                <a:gd name="T108" fmla="*/ 227 w 5913"/>
                <a:gd name="T109" fmla="*/ 1400 h 5665"/>
                <a:gd name="T110" fmla="*/ 557 w 5913"/>
                <a:gd name="T111" fmla="*/ 1531 h 5665"/>
                <a:gd name="T112" fmla="*/ 791 w 5913"/>
                <a:gd name="T113" fmla="*/ 1282 h 5665"/>
                <a:gd name="T114" fmla="*/ 528 w 5913"/>
                <a:gd name="T115" fmla="*/ 1356 h 5665"/>
                <a:gd name="T116" fmla="*/ 330 w 5913"/>
                <a:gd name="T117" fmla="*/ 1077 h 5665"/>
                <a:gd name="T118" fmla="*/ 593 w 5913"/>
                <a:gd name="T119" fmla="*/ 1282 h 5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13" h="5665">
                  <a:moveTo>
                    <a:pt x="4549" y="5664"/>
                  </a:moveTo>
                  <a:lnTo>
                    <a:pt x="4549" y="5664"/>
                  </a:lnTo>
                  <a:cubicBezTo>
                    <a:pt x="4527" y="5664"/>
                    <a:pt x="4498" y="5657"/>
                    <a:pt x="4476" y="5650"/>
                  </a:cubicBezTo>
                  <a:cubicBezTo>
                    <a:pt x="4461" y="5642"/>
                    <a:pt x="4447" y="5642"/>
                    <a:pt x="4432" y="5635"/>
                  </a:cubicBezTo>
                  <a:cubicBezTo>
                    <a:pt x="4389" y="5628"/>
                    <a:pt x="4323" y="5598"/>
                    <a:pt x="4286" y="5576"/>
                  </a:cubicBezTo>
                  <a:cubicBezTo>
                    <a:pt x="4272" y="5569"/>
                    <a:pt x="4264" y="5562"/>
                    <a:pt x="4257" y="5562"/>
                  </a:cubicBezTo>
                  <a:cubicBezTo>
                    <a:pt x="4235" y="5547"/>
                    <a:pt x="4184" y="5518"/>
                    <a:pt x="4140" y="5488"/>
                  </a:cubicBezTo>
                  <a:cubicBezTo>
                    <a:pt x="4118" y="5474"/>
                    <a:pt x="4096" y="5467"/>
                    <a:pt x="4089" y="5459"/>
                  </a:cubicBezTo>
                  <a:cubicBezTo>
                    <a:pt x="4081" y="5452"/>
                    <a:pt x="4067" y="5452"/>
                    <a:pt x="4059" y="5452"/>
                  </a:cubicBezTo>
                  <a:cubicBezTo>
                    <a:pt x="4052" y="5452"/>
                    <a:pt x="4037" y="5459"/>
                    <a:pt x="4015" y="5459"/>
                  </a:cubicBezTo>
                  <a:cubicBezTo>
                    <a:pt x="4001" y="5467"/>
                    <a:pt x="3986" y="5474"/>
                    <a:pt x="3971" y="5474"/>
                  </a:cubicBezTo>
                  <a:cubicBezTo>
                    <a:pt x="3928" y="5481"/>
                    <a:pt x="3920" y="5496"/>
                    <a:pt x="3898" y="5518"/>
                  </a:cubicBezTo>
                  <a:cubicBezTo>
                    <a:pt x="3883" y="5532"/>
                    <a:pt x="3883" y="5532"/>
                    <a:pt x="3883" y="5532"/>
                  </a:cubicBezTo>
                  <a:cubicBezTo>
                    <a:pt x="3854" y="5562"/>
                    <a:pt x="3825" y="5562"/>
                    <a:pt x="3788" y="5569"/>
                  </a:cubicBezTo>
                  <a:cubicBezTo>
                    <a:pt x="3774" y="5569"/>
                    <a:pt x="3759" y="5569"/>
                    <a:pt x="3744" y="5569"/>
                  </a:cubicBezTo>
                  <a:lnTo>
                    <a:pt x="3737" y="5569"/>
                  </a:lnTo>
                  <a:cubicBezTo>
                    <a:pt x="3671" y="5569"/>
                    <a:pt x="3605" y="5488"/>
                    <a:pt x="3561" y="5437"/>
                  </a:cubicBezTo>
                  <a:cubicBezTo>
                    <a:pt x="3554" y="5430"/>
                    <a:pt x="3554" y="5430"/>
                    <a:pt x="3554" y="5430"/>
                  </a:cubicBezTo>
                  <a:cubicBezTo>
                    <a:pt x="3532" y="5408"/>
                    <a:pt x="3524" y="5400"/>
                    <a:pt x="3517" y="5400"/>
                  </a:cubicBezTo>
                  <a:cubicBezTo>
                    <a:pt x="3510" y="5400"/>
                    <a:pt x="3495" y="5408"/>
                    <a:pt x="3481" y="5415"/>
                  </a:cubicBezTo>
                  <a:cubicBezTo>
                    <a:pt x="3466" y="5422"/>
                    <a:pt x="3466" y="5422"/>
                    <a:pt x="3466" y="5422"/>
                  </a:cubicBezTo>
                  <a:cubicBezTo>
                    <a:pt x="3437" y="5437"/>
                    <a:pt x="3422" y="5452"/>
                    <a:pt x="3407" y="5474"/>
                  </a:cubicBezTo>
                  <a:cubicBezTo>
                    <a:pt x="3393" y="5488"/>
                    <a:pt x="3385" y="5503"/>
                    <a:pt x="3363" y="5518"/>
                  </a:cubicBezTo>
                  <a:cubicBezTo>
                    <a:pt x="3349" y="5525"/>
                    <a:pt x="3334" y="5532"/>
                    <a:pt x="3312" y="5532"/>
                  </a:cubicBezTo>
                  <a:cubicBezTo>
                    <a:pt x="3275" y="5532"/>
                    <a:pt x="3239" y="5503"/>
                    <a:pt x="3224" y="5474"/>
                  </a:cubicBezTo>
                  <a:cubicBezTo>
                    <a:pt x="3217" y="5459"/>
                    <a:pt x="3209" y="5444"/>
                    <a:pt x="3209" y="5430"/>
                  </a:cubicBezTo>
                  <a:cubicBezTo>
                    <a:pt x="3209" y="5408"/>
                    <a:pt x="3209" y="5400"/>
                    <a:pt x="3195" y="5400"/>
                  </a:cubicBezTo>
                  <a:cubicBezTo>
                    <a:pt x="3195" y="5400"/>
                    <a:pt x="3195" y="5400"/>
                    <a:pt x="3187" y="5400"/>
                  </a:cubicBezTo>
                  <a:cubicBezTo>
                    <a:pt x="3173" y="5400"/>
                    <a:pt x="3158" y="5415"/>
                    <a:pt x="3136" y="5437"/>
                  </a:cubicBezTo>
                  <a:cubicBezTo>
                    <a:pt x="3129" y="5444"/>
                    <a:pt x="3121" y="5452"/>
                    <a:pt x="3107" y="5459"/>
                  </a:cubicBezTo>
                  <a:cubicBezTo>
                    <a:pt x="3100" y="5467"/>
                    <a:pt x="3092" y="5467"/>
                    <a:pt x="3085" y="5467"/>
                  </a:cubicBezTo>
                  <a:cubicBezTo>
                    <a:pt x="3055" y="5467"/>
                    <a:pt x="3033" y="5437"/>
                    <a:pt x="3019" y="5400"/>
                  </a:cubicBezTo>
                  <a:cubicBezTo>
                    <a:pt x="3004" y="5379"/>
                    <a:pt x="2997" y="5364"/>
                    <a:pt x="2990" y="5357"/>
                  </a:cubicBezTo>
                  <a:cubicBezTo>
                    <a:pt x="2946" y="5312"/>
                    <a:pt x="2953" y="5232"/>
                    <a:pt x="2968" y="5181"/>
                  </a:cubicBezTo>
                  <a:cubicBezTo>
                    <a:pt x="2975" y="5137"/>
                    <a:pt x="2931" y="5093"/>
                    <a:pt x="2894" y="5063"/>
                  </a:cubicBezTo>
                  <a:cubicBezTo>
                    <a:pt x="2872" y="5049"/>
                    <a:pt x="2814" y="5034"/>
                    <a:pt x="2762" y="5012"/>
                  </a:cubicBezTo>
                  <a:cubicBezTo>
                    <a:pt x="2719" y="5005"/>
                    <a:pt x="2674" y="4990"/>
                    <a:pt x="2645" y="4976"/>
                  </a:cubicBezTo>
                  <a:cubicBezTo>
                    <a:pt x="2557" y="4939"/>
                    <a:pt x="2447" y="4756"/>
                    <a:pt x="2418" y="4660"/>
                  </a:cubicBezTo>
                  <a:cubicBezTo>
                    <a:pt x="2403" y="4602"/>
                    <a:pt x="2359" y="4565"/>
                    <a:pt x="2315" y="4529"/>
                  </a:cubicBezTo>
                  <a:cubicBezTo>
                    <a:pt x="2293" y="4514"/>
                    <a:pt x="2271" y="4492"/>
                    <a:pt x="2257" y="4477"/>
                  </a:cubicBezTo>
                  <a:cubicBezTo>
                    <a:pt x="2235" y="4455"/>
                    <a:pt x="2198" y="4389"/>
                    <a:pt x="2125" y="4272"/>
                  </a:cubicBezTo>
                  <a:cubicBezTo>
                    <a:pt x="2118" y="4235"/>
                    <a:pt x="2103" y="4184"/>
                    <a:pt x="2081" y="4118"/>
                  </a:cubicBezTo>
                  <a:cubicBezTo>
                    <a:pt x="2052" y="4038"/>
                    <a:pt x="2008" y="4023"/>
                    <a:pt x="1964" y="4001"/>
                  </a:cubicBezTo>
                  <a:cubicBezTo>
                    <a:pt x="1949" y="3993"/>
                    <a:pt x="1927" y="3986"/>
                    <a:pt x="1912" y="3979"/>
                  </a:cubicBezTo>
                  <a:cubicBezTo>
                    <a:pt x="1868" y="3950"/>
                    <a:pt x="1737" y="3950"/>
                    <a:pt x="1685" y="3950"/>
                  </a:cubicBezTo>
                  <a:cubicBezTo>
                    <a:pt x="1678" y="3950"/>
                    <a:pt x="1671" y="3950"/>
                    <a:pt x="1656" y="3950"/>
                  </a:cubicBezTo>
                  <a:cubicBezTo>
                    <a:pt x="1627" y="3950"/>
                    <a:pt x="1597" y="3942"/>
                    <a:pt x="1568" y="3935"/>
                  </a:cubicBezTo>
                  <a:cubicBezTo>
                    <a:pt x="1531" y="3935"/>
                    <a:pt x="1509" y="3928"/>
                    <a:pt x="1480" y="3928"/>
                  </a:cubicBezTo>
                  <a:cubicBezTo>
                    <a:pt x="1465" y="3928"/>
                    <a:pt x="1451" y="3928"/>
                    <a:pt x="1443" y="3935"/>
                  </a:cubicBezTo>
                  <a:cubicBezTo>
                    <a:pt x="1421" y="3942"/>
                    <a:pt x="1407" y="3942"/>
                    <a:pt x="1392" y="3942"/>
                  </a:cubicBezTo>
                  <a:cubicBezTo>
                    <a:pt x="1341" y="3942"/>
                    <a:pt x="1297" y="3906"/>
                    <a:pt x="1268" y="3876"/>
                  </a:cubicBezTo>
                  <a:cubicBezTo>
                    <a:pt x="1231" y="3840"/>
                    <a:pt x="1216" y="3796"/>
                    <a:pt x="1194" y="3744"/>
                  </a:cubicBezTo>
                  <a:cubicBezTo>
                    <a:pt x="1187" y="3730"/>
                    <a:pt x="1180" y="3715"/>
                    <a:pt x="1172" y="3700"/>
                  </a:cubicBezTo>
                  <a:cubicBezTo>
                    <a:pt x="1136" y="3620"/>
                    <a:pt x="1106" y="3576"/>
                    <a:pt x="1062" y="3525"/>
                  </a:cubicBezTo>
                  <a:cubicBezTo>
                    <a:pt x="1048" y="3510"/>
                    <a:pt x="1040" y="3488"/>
                    <a:pt x="1040" y="3466"/>
                  </a:cubicBezTo>
                  <a:cubicBezTo>
                    <a:pt x="1048" y="3451"/>
                    <a:pt x="1070" y="3437"/>
                    <a:pt x="1092" y="3429"/>
                  </a:cubicBezTo>
                  <a:cubicBezTo>
                    <a:pt x="1106" y="3429"/>
                    <a:pt x="1114" y="3422"/>
                    <a:pt x="1121" y="3422"/>
                  </a:cubicBezTo>
                  <a:cubicBezTo>
                    <a:pt x="1136" y="3415"/>
                    <a:pt x="1150" y="3407"/>
                    <a:pt x="1165" y="3407"/>
                  </a:cubicBezTo>
                  <a:cubicBezTo>
                    <a:pt x="1194" y="3407"/>
                    <a:pt x="1216" y="3422"/>
                    <a:pt x="1260" y="3437"/>
                  </a:cubicBezTo>
                  <a:cubicBezTo>
                    <a:pt x="1275" y="3437"/>
                    <a:pt x="1290" y="3444"/>
                    <a:pt x="1304" y="3451"/>
                  </a:cubicBezTo>
                  <a:cubicBezTo>
                    <a:pt x="1312" y="3459"/>
                    <a:pt x="1319" y="3459"/>
                    <a:pt x="1326" y="3459"/>
                  </a:cubicBezTo>
                  <a:cubicBezTo>
                    <a:pt x="1333" y="3459"/>
                    <a:pt x="1341" y="3459"/>
                    <a:pt x="1341" y="3451"/>
                  </a:cubicBezTo>
                  <a:cubicBezTo>
                    <a:pt x="1356" y="3437"/>
                    <a:pt x="1356" y="3385"/>
                    <a:pt x="1341" y="3334"/>
                  </a:cubicBezTo>
                  <a:cubicBezTo>
                    <a:pt x="1333" y="3305"/>
                    <a:pt x="1319" y="3276"/>
                    <a:pt x="1297" y="3246"/>
                  </a:cubicBezTo>
                  <a:cubicBezTo>
                    <a:pt x="1290" y="3231"/>
                    <a:pt x="1282" y="3217"/>
                    <a:pt x="1275" y="3202"/>
                  </a:cubicBezTo>
                  <a:cubicBezTo>
                    <a:pt x="1268" y="3195"/>
                    <a:pt x="1268" y="3188"/>
                    <a:pt x="1268" y="3180"/>
                  </a:cubicBezTo>
                  <a:cubicBezTo>
                    <a:pt x="1253" y="3158"/>
                    <a:pt x="1246" y="3136"/>
                    <a:pt x="1231" y="3136"/>
                  </a:cubicBezTo>
                  <a:cubicBezTo>
                    <a:pt x="1231" y="3136"/>
                    <a:pt x="1224" y="3136"/>
                    <a:pt x="1209" y="3151"/>
                  </a:cubicBezTo>
                  <a:cubicBezTo>
                    <a:pt x="1180" y="3173"/>
                    <a:pt x="1158" y="3180"/>
                    <a:pt x="1128" y="3180"/>
                  </a:cubicBezTo>
                  <a:cubicBezTo>
                    <a:pt x="1099" y="3180"/>
                    <a:pt x="1077" y="3166"/>
                    <a:pt x="1062" y="3136"/>
                  </a:cubicBezTo>
                  <a:cubicBezTo>
                    <a:pt x="1048" y="3114"/>
                    <a:pt x="1048" y="3100"/>
                    <a:pt x="1048" y="3085"/>
                  </a:cubicBezTo>
                  <a:cubicBezTo>
                    <a:pt x="1048" y="3078"/>
                    <a:pt x="1040" y="3070"/>
                    <a:pt x="1026" y="3048"/>
                  </a:cubicBezTo>
                  <a:cubicBezTo>
                    <a:pt x="989" y="2997"/>
                    <a:pt x="989" y="2968"/>
                    <a:pt x="1026" y="2894"/>
                  </a:cubicBezTo>
                  <a:cubicBezTo>
                    <a:pt x="1033" y="2872"/>
                    <a:pt x="1048" y="2858"/>
                    <a:pt x="1055" y="2850"/>
                  </a:cubicBezTo>
                  <a:cubicBezTo>
                    <a:pt x="1070" y="2829"/>
                    <a:pt x="1070" y="2814"/>
                    <a:pt x="1077" y="2748"/>
                  </a:cubicBezTo>
                  <a:cubicBezTo>
                    <a:pt x="1092" y="2675"/>
                    <a:pt x="1070" y="2638"/>
                    <a:pt x="1062" y="2631"/>
                  </a:cubicBezTo>
                  <a:cubicBezTo>
                    <a:pt x="1048" y="2623"/>
                    <a:pt x="997" y="2616"/>
                    <a:pt x="945" y="2616"/>
                  </a:cubicBezTo>
                  <a:cubicBezTo>
                    <a:pt x="916" y="2616"/>
                    <a:pt x="887" y="2623"/>
                    <a:pt x="865" y="2631"/>
                  </a:cubicBezTo>
                  <a:cubicBezTo>
                    <a:pt x="828" y="2645"/>
                    <a:pt x="799" y="2667"/>
                    <a:pt x="784" y="2689"/>
                  </a:cubicBezTo>
                  <a:cubicBezTo>
                    <a:pt x="769" y="2697"/>
                    <a:pt x="762" y="2711"/>
                    <a:pt x="755" y="2711"/>
                  </a:cubicBezTo>
                  <a:cubicBezTo>
                    <a:pt x="747" y="2711"/>
                    <a:pt x="733" y="2704"/>
                    <a:pt x="733" y="2689"/>
                  </a:cubicBezTo>
                  <a:cubicBezTo>
                    <a:pt x="718" y="2667"/>
                    <a:pt x="711" y="2653"/>
                    <a:pt x="659" y="2623"/>
                  </a:cubicBezTo>
                  <a:cubicBezTo>
                    <a:pt x="645" y="2616"/>
                    <a:pt x="645" y="2616"/>
                    <a:pt x="645" y="2616"/>
                  </a:cubicBezTo>
                  <a:cubicBezTo>
                    <a:pt x="630" y="2609"/>
                    <a:pt x="535" y="2513"/>
                    <a:pt x="571" y="2462"/>
                  </a:cubicBezTo>
                  <a:cubicBezTo>
                    <a:pt x="593" y="2433"/>
                    <a:pt x="615" y="2433"/>
                    <a:pt x="630" y="2433"/>
                  </a:cubicBezTo>
                  <a:cubicBezTo>
                    <a:pt x="652" y="2425"/>
                    <a:pt x="674" y="2425"/>
                    <a:pt x="711" y="2403"/>
                  </a:cubicBezTo>
                  <a:cubicBezTo>
                    <a:pt x="740" y="2381"/>
                    <a:pt x="755" y="2367"/>
                    <a:pt x="762" y="2360"/>
                  </a:cubicBezTo>
                  <a:cubicBezTo>
                    <a:pt x="762" y="2360"/>
                    <a:pt x="762" y="2360"/>
                    <a:pt x="755" y="2360"/>
                  </a:cubicBezTo>
                  <a:cubicBezTo>
                    <a:pt x="711" y="2360"/>
                    <a:pt x="630" y="2323"/>
                    <a:pt x="623" y="2323"/>
                  </a:cubicBezTo>
                  <a:cubicBezTo>
                    <a:pt x="601" y="2316"/>
                    <a:pt x="601" y="2316"/>
                    <a:pt x="601" y="2316"/>
                  </a:cubicBezTo>
                  <a:cubicBezTo>
                    <a:pt x="703" y="2242"/>
                    <a:pt x="703" y="2242"/>
                    <a:pt x="703" y="2242"/>
                  </a:cubicBezTo>
                  <a:cubicBezTo>
                    <a:pt x="762" y="2198"/>
                    <a:pt x="835" y="2198"/>
                    <a:pt x="901" y="2198"/>
                  </a:cubicBezTo>
                  <a:cubicBezTo>
                    <a:pt x="923" y="2198"/>
                    <a:pt x="952" y="2198"/>
                    <a:pt x="967" y="2191"/>
                  </a:cubicBezTo>
                  <a:cubicBezTo>
                    <a:pt x="989" y="2191"/>
                    <a:pt x="1019" y="2191"/>
                    <a:pt x="1048" y="2191"/>
                  </a:cubicBezTo>
                  <a:cubicBezTo>
                    <a:pt x="1084" y="2191"/>
                    <a:pt x="1121" y="2191"/>
                    <a:pt x="1150" y="2191"/>
                  </a:cubicBezTo>
                  <a:cubicBezTo>
                    <a:pt x="1165" y="2191"/>
                    <a:pt x="1180" y="2191"/>
                    <a:pt x="1187" y="2191"/>
                  </a:cubicBezTo>
                  <a:cubicBezTo>
                    <a:pt x="1194" y="2191"/>
                    <a:pt x="1194" y="2191"/>
                    <a:pt x="1202" y="2191"/>
                  </a:cubicBezTo>
                  <a:cubicBezTo>
                    <a:pt x="1209" y="2191"/>
                    <a:pt x="1209" y="2191"/>
                    <a:pt x="1209" y="2191"/>
                  </a:cubicBezTo>
                  <a:cubicBezTo>
                    <a:pt x="1216" y="2191"/>
                    <a:pt x="1216" y="2191"/>
                    <a:pt x="1238" y="2154"/>
                  </a:cubicBezTo>
                  <a:cubicBezTo>
                    <a:pt x="1246" y="2147"/>
                    <a:pt x="1246" y="2147"/>
                    <a:pt x="1246" y="2147"/>
                  </a:cubicBezTo>
                  <a:cubicBezTo>
                    <a:pt x="1275" y="2096"/>
                    <a:pt x="1290" y="2074"/>
                    <a:pt x="1348" y="2037"/>
                  </a:cubicBezTo>
                  <a:cubicBezTo>
                    <a:pt x="1400" y="2008"/>
                    <a:pt x="1421" y="1964"/>
                    <a:pt x="1400" y="1920"/>
                  </a:cubicBezTo>
                  <a:cubicBezTo>
                    <a:pt x="1378" y="1861"/>
                    <a:pt x="1363" y="1854"/>
                    <a:pt x="1363" y="1847"/>
                  </a:cubicBezTo>
                  <a:cubicBezTo>
                    <a:pt x="1363" y="1847"/>
                    <a:pt x="1363" y="1854"/>
                    <a:pt x="1356" y="1854"/>
                  </a:cubicBezTo>
                  <a:cubicBezTo>
                    <a:pt x="1333" y="1883"/>
                    <a:pt x="1312" y="1942"/>
                    <a:pt x="1290" y="2022"/>
                  </a:cubicBezTo>
                  <a:cubicBezTo>
                    <a:pt x="1282" y="2059"/>
                    <a:pt x="1260" y="2074"/>
                    <a:pt x="1224" y="2074"/>
                  </a:cubicBezTo>
                  <a:cubicBezTo>
                    <a:pt x="1209" y="2074"/>
                    <a:pt x="1187" y="2074"/>
                    <a:pt x="1172" y="2067"/>
                  </a:cubicBezTo>
                  <a:cubicBezTo>
                    <a:pt x="1158" y="2067"/>
                    <a:pt x="1136" y="2067"/>
                    <a:pt x="1121" y="2067"/>
                  </a:cubicBezTo>
                  <a:cubicBezTo>
                    <a:pt x="1114" y="2067"/>
                    <a:pt x="1106" y="2067"/>
                    <a:pt x="1099" y="2067"/>
                  </a:cubicBezTo>
                  <a:cubicBezTo>
                    <a:pt x="1092" y="2067"/>
                    <a:pt x="1084" y="2067"/>
                    <a:pt x="1077" y="2067"/>
                  </a:cubicBezTo>
                  <a:cubicBezTo>
                    <a:pt x="1048" y="2067"/>
                    <a:pt x="1033" y="2052"/>
                    <a:pt x="1026" y="2044"/>
                  </a:cubicBezTo>
                  <a:cubicBezTo>
                    <a:pt x="1004" y="2008"/>
                    <a:pt x="1011" y="1957"/>
                    <a:pt x="1026" y="1920"/>
                  </a:cubicBezTo>
                  <a:cubicBezTo>
                    <a:pt x="1040" y="1876"/>
                    <a:pt x="1062" y="1861"/>
                    <a:pt x="1084" y="1854"/>
                  </a:cubicBezTo>
                  <a:cubicBezTo>
                    <a:pt x="1099" y="1847"/>
                    <a:pt x="1114" y="1832"/>
                    <a:pt x="1128" y="1817"/>
                  </a:cubicBezTo>
                  <a:cubicBezTo>
                    <a:pt x="1150" y="1788"/>
                    <a:pt x="1143" y="1766"/>
                    <a:pt x="1143" y="1744"/>
                  </a:cubicBezTo>
                  <a:cubicBezTo>
                    <a:pt x="1136" y="1722"/>
                    <a:pt x="1128" y="1693"/>
                    <a:pt x="1150" y="1663"/>
                  </a:cubicBezTo>
                  <a:cubicBezTo>
                    <a:pt x="1165" y="1641"/>
                    <a:pt x="1172" y="1634"/>
                    <a:pt x="1172" y="1634"/>
                  </a:cubicBezTo>
                  <a:lnTo>
                    <a:pt x="1165" y="1634"/>
                  </a:lnTo>
                  <a:cubicBezTo>
                    <a:pt x="1158" y="1634"/>
                    <a:pt x="1150" y="1634"/>
                    <a:pt x="1143" y="1634"/>
                  </a:cubicBezTo>
                  <a:cubicBezTo>
                    <a:pt x="1136" y="1634"/>
                    <a:pt x="1128" y="1634"/>
                    <a:pt x="1121" y="1634"/>
                  </a:cubicBezTo>
                  <a:cubicBezTo>
                    <a:pt x="1084" y="1634"/>
                    <a:pt x="1055" y="1619"/>
                    <a:pt x="1048" y="1598"/>
                  </a:cubicBezTo>
                  <a:cubicBezTo>
                    <a:pt x="1040" y="1590"/>
                    <a:pt x="1033" y="1561"/>
                    <a:pt x="1062" y="1531"/>
                  </a:cubicBezTo>
                  <a:cubicBezTo>
                    <a:pt x="1092" y="1495"/>
                    <a:pt x="1084" y="1488"/>
                    <a:pt x="1062" y="1466"/>
                  </a:cubicBezTo>
                  <a:cubicBezTo>
                    <a:pt x="1062" y="1458"/>
                    <a:pt x="1055" y="1451"/>
                    <a:pt x="1048" y="1443"/>
                  </a:cubicBezTo>
                  <a:cubicBezTo>
                    <a:pt x="1040" y="1436"/>
                    <a:pt x="1019" y="1414"/>
                    <a:pt x="997" y="1400"/>
                  </a:cubicBezTo>
                  <a:cubicBezTo>
                    <a:pt x="960" y="1370"/>
                    <a:pt x="923" y="1341"/>
                    <a:pt x="923" y="1312"/>
                  </a:cubicBezTo>
                  <a:cubicBezTo>
                    <a:pt x="923" y="1275"/>
                    <a:pt x="909" y="1224"/>
                    <a:pt x="879" y="1217"/>
                  </a:cubicBezTo>
                  <a:cubicBezTo>
                    <a:pt x="821" y="1202"/>
                    <a:pt x="799" y="1129"/>
                    <a:pt x="806" y="1041"/>
                  </a:cubicBezTo>
                  <a:cubicBezTo>
                    <a:pt x="813" y="989"/>
                    <a:pt x="813" y="982"/>
                    <a:pt x="784" y="967"/>
                  </a:cubicBezTo>
                  <a:cubicBezTo>
                    <a:pt x="769" y="960"/>
                    <a:pt x="762" y="953"/>
                    <a:pt x="747" y="938"/>
                  </a:cubicBezTo>
                  <a:cubicBezTo>
                    <a:pt x="681" y="887"/>
                    <a:pt x="645" y="799"/>
                    <a:pt x="630" y="740"/>
                  </a:cubicBezTo>
                  <a:cubicBezTo>
                    <a:pt x="623" y="718"/>
                    <a:pt x="623" y="696"/>
                    <a:pt x="630" y="674"/>
                  </a:cubicBezTo>
                  <a:cubicBezTo>
                    <a:pt x="623" y="674"/>
                    <a:pt x="615" y="674"/>
                    <a:pt x="608" y="674"/>
                  </a:cubicBezTo>
                  <a:cubicBezTo>
                    <a:pt x="593" y="674"/>
                    <a:pt x="579" y="667"/>
                    <a:pt x="564" y="667"/>
                  </a:cubicBezTo>
                  <a:cubicBezTo>
                    <a:pt x="550" y="667"/>
                    <a:pt x="535" y="667"/>
                    <a:pt x="513" y="667"/>
                  </a:cubicBezTo>
                  <a:cubicBezTo>
                    <a:pt x="483" y="667"/>
                    <a:pt x="461" y="667"/>
                    <a:pt x="447" y="681"/>
                  </a:cubicBezTo>
                  <a:cubicBezTo>
                    <a:pt x="432" y="689"/>
                    <a:pt x="425" y="696"/>
                    <a:pt x="418" y="696"/>
                  </a:cubicBezTo>
                  <a:cubicBezTo>
                    <a:pt x="388" y="718"/>
                    <a:pt x="381" y="725"/>
                    <a:pt x="308" y="748"/>
                  </a:cubicBezTo>
                  <a:cubicBezTo>
                    <a:pt x="286" y="755"/>
                    <a:pt x="271" y="762"/>
                    <a:pt x="257" y="762"/>
                  </a:cubicBezTo>
                  <a:cubicBezTo>
                    <a:pt x="205" y="762"/>
                    <a:pt x="198" y="718"/>
                    <a:pt x="183" y="689"/>
                  </a:cubicBezTo>
                  <a:cubicBezTo>
                    <a:pt x="183" y="681"/>
                    <a:pt x="176" y="667"/>
                    <a:pt x="176" y="660"/>
                  </a:cubicBezTo>
                  <a:cubicBezTo>
                    <a:pt x="169" y="652"/>
                    <a:pt x="169" y="645"/>
                    <a:pt x="169" y="645"/>
                  </a:cubicBezTo>
                  <a:cubicBezTo>
                    <a:pt x="161" y="652"/>
                    <a:pt x="139" y="696"/>
                    <a:pt x="124" y="733"/>
                  </a:cubicBezTo>
                  <a:cubicBezTo>
                    <a:pt x="117" y="755"/>
                    <a:pt x="117" y="755"/>
                    <a:pt x="117" y="755"/>
                  </a:cubicBezTo>
                  <a:cubicBezTo>
                    <a:pt x="95" y="813"/>
                    <a:pt x="95" y="813"/>
                    <a:pt x="110" y="909"/>
                  </a:cubicBezTo>
                  <a:cubicBezTo>
                    <a:pt x="110" y="923"/>
                    <a:pt x="110" y="923"/>
                    <a:pt x="110" y="923"/>
                  </a:cubicBezTo>
                  <a:cubicBezTo>
                    <a:pt x="124" y="997"/>
                    <a:pt x="124" y="1033"/>
                    <a:pt x="110" y="1055"/>
                  </a:cubicBezTo>
                  <a:cubicBezTo>
                    <a:pt x="102" y="1062"/>
                    <a:pt x="88" y="1070"/>
                    <a:pt x="73" y="1070"/>
                  </a:cubicBezTo>
                  <a:cubicBezTo>
                    <a:pt x="66" y="1070"/>
                    <a:pt x="59" y="1070"/>
                    <a:pt x="51" y="1070"/>
                  </a:cubicBezTo>
                  <a:cubicBezTo>
                    <a:pt x="0" y="1055"/>
                    <a:pt x="7" y="997"/>
                    <a:pt x="15" y="931"/>
                  </a:cubicBezTo>
                  <a:cubicBezTo>
                    <a:pt x="15" y="909"/>
                    <a:pt x="15" y="894"/>
                    <a:pt x="15" y="872"/>
                  </a:cubicBezTo>
                  <a:cubicBezTo>
                    <a:pt x="15" y="850"/>
                    <a:pt x="15" y="835"/>
                    <a:pt x="15" y="813"/>
                  </a:cubicBezTo>
                  <a:cubicBezTo>
                    <a:pt x="15" y="748"/>
                    <a:pt x="7" y="660"/>
                    <a:pt x="29" y="564"/>
                  </a:cubicBezTo>
                  <a:cubicBezTo>
                    <a:pt x="51" y="432"/>
                    <a:pt x="88" y="352"/>
                    <a:pt x="139" y="249"/>
                  </a:cubicBezTo>
                  <a:cubicBezTo>
                    <a:pt x="161" y="176"/>
                    <a:pt x="161" y="176"/>
                    <a:pt x="161" y="176"/>
                  </a:cubicBezTo>
                  <a:lnTo>
                    <a:pt x="161" y="176"/>
                  </a:lnTo>
                  <a:cubicBezTo>
                    <a:pt x="161" y="176"/>
                    <a:pt x="161" y="103"/>
                    <a:pt x="212" y="37"/>
                  </a:cubicBezTo>
                  <a:cubicBezTo>
                    <a:pt x="227" y="7"/>
                    <a:pt x="242" y="0"/>
                    <a:pt x="264" y="0"/>
                  </a:cubicBezTo>
                  <a:cubicBezTo>
                    <a:pt x="293" y="0"/>
                    <a:pt x="315" y="15"/>
                    <a:pt x="337" y="37"/>
                  </a:cubicBezTo>
                  <a:cubicBezTo>
                    <a:pt x="352" y="44"/>
                    <a:pt x="374" y="51"/>
                    <a:pt x="388" y="66"/>
                  </a:cubicBezTo>
                  <a:cubicBezTo>
                    <a:pt x="396" y="66"/>
                    <a:pt x="418" y="81"/>
                    <a:pt x="418" y="95"/>
                  </a:cubicBezTo>
                  <a:cubicBezTo>
                    <a:pt x="425" y="125"/>
                    <a:pt x="403" y="139"/>
                    <a:pt x="374" y="161"/>
                  </a:cubicBezTo>
                  <a:cubicBezTo>
                    <a:pt x="359" y="176"/>
                    <a:pt x="337" y="191"/>
                    <a:pt x="330" y="212"/>
                  </a:cubicBezTo>
                  <a:cubicBezTo>
                    <a:pt x="308" y="249"/>
                    <a:pt x="278" y="249"/>
                    <a:pt x="257" y="249"/>
                  </a:cubicBezTo>
                  <a:cubicBezTo>
                    <a:pt x="249" y="249"/>
                    <a:pt x="242" y="249"/>
                    <a:pt x="234" y="249"/>
                  </a:cubicBezTo>
                  <a:cubicBezTo>
                    <a:pt x="227" y="249"/>
                    <a:pt x="227" y="249"/>
                    <a:pt x="220" y="249"/>
                  </a:cubicBezTo>
                  <a:cubicBezTo>
                    <a:pt x="212" y="249"/>
                    <a:pt x="205" y="249"/>
                    <a:pt x="205" y="249"/>
                  </a:cubicBezTo>
                  <a:cubicBezTo>
                    <a:pt x="183" y="257"/>
                    <a:pt x="183" y="308"/>
                    <a:pt x="205" y="403"/>
                  </a:cubicBezTo>
                  <a:cubicBezTo>
                    <a:pt x="212" y="454"/>
                    <a:pt x="212" y="491"/>
                    <a:pt x="212" y="513"/>
                  </a:cubicBezTo>
                  <a:cubicBezTo>
                    <a:pt x="212" y="535"/>
                    <a:pt x="212" y="550"/>
                    <a:pt x="227" y="572"/>
                  </a:cubicBezTo>
                  <a:cubicBezTo>
                    <a:pt x="242" y="601"/>
                    <a:pt x="293" y="608"/>
                    <a:pt x="315" y="608"/>
                  </a:cubicBezTo>
                  <a:cubicBezTo>
                    <a:pt x="652" y="616"/>
                    <a:pt x="652" y="616"/>
                    <a:pt x="652" y="616"/>
                  </a:cubicBezTo>
                  <a:cubicBezTo>
                    <a:pt x="667" y="579"/>
                    <a:pt x="689" y="557"/>
                    <a:pt x="689" y="557"/>
                  </a:cubicBezTo>
                  <a:cubicBezTo>
                    <a:pt x="689" y="550"/>
                    <a:pt x="718" y="535"/>
                    <a:pt x="755" y="535"/>
                  </a:cubicBezTo>
                  <a:cubicBezTo>
                    <a:pt x="784" y="535"/>
                    <a:pt x="806" y="542"/>
                    <a:pt x="821" y="564"/>
                  </a:cubicBezTo>
                  <a:cubicBezTo>
                    <a:pt x="835" y="579"/>
                    <a:pt x="857" y="586"/>
                    <a:pt x="894" y="586"/>
                  </a:cubicBezTo>
                  <a:cubicBezTo>
                    <a:pt x="916" y="586"/>
                    <a:pt x="952" y="586"/>
                    <a:pt x="974" y="579"/>
                  </a:cubicBezTo>
                  <a:cubicBezTo>
                    <a:pt x="997" y="579"/>
                    <a:pt x="1011" y="572"/>
                    <a:pt x="1026" y="572"/>
                  </a:cubicBezTo>
                  <a:cubicBezTo>
                    <a:pt x="1312" y="572"/>
                    <a:pt x="1312" y="572"/>
                    <a:pt x="1312" y="572"/>
                  </a:cubicBezTo>
                  <a:cubicBezTo>
                    <a:pt x="1370" y="572"/>
                    <a:pt x="1400" y="593"/>
                    <a:pt x="1443" y="616"/>
                  </a:cubicBezTo>
                  <a:cubicBezTo>
                    <a:pt x="1465" y="630"/>
                    <a:pt x="1465" y="630"/>
                    <a:pt x="1465" y="630"/>
                  </a:cubicBezTo>
                  <a:cubicBezTo>
                    <a:pt x="1517" y="660"/>
                    <a:pt x="1627" y="660"/>
                    <a:pt x="1700" y="660"/>
                  </a:cubicBezTo>
                  <a:cubicBezTo>
                    <a:pt x="1773" y="660"/>
                    <a:pt x="1839" y="703"/>
                    <a:pt x="1876" y="733"/>
                  </a:cubicBezTo>
                  <a:cubicBezTo>
                    <a:pt x="1898" y="755"/>
                    <a:pt x="1898" y="777"/>
                    <a:pt x="1898" y="799"/>
                  </a:cubicBezTo>
                  <a:cubicBezTo>
                    <a:pt x="1890" y="828"/>
                    <a:pt x="1890" y="850"/>
                    <a:pt x="1912" y="887"/>
                  </a:cubicBezTo>
                  <a:cubicBezTo>
                    <a:pt x="1927" y="909"/>
                    <a:pt x="1942" y="916"/>
                    <a:pt x="1964" y="916"/>
                  </a:cubicBezTo>
                  <a:cubicBezTo>
                    <a:pt x="1993" y="916"/>
                    <a:pt x="2037" y="894"/>
                    <a:pt x="2074" y="850"/>
                  </a:cubicBezTo>
                  <a:cubicBezTo>
                    <a:pt x="2132" y="777"/>
                    <a:pt x="2205" y="777"/>
                    <a:pt x="2205" y="777"/>
                  </a:cubicBezTo>
                  <a:cubicBezTo>
                    <a:pt x="2220" y="777"/>
                    <a:pt x="2220" y="777"/>
                    <a:pt x="2220" y="777"/>
                  </a:cubicBezTo>
                  <a:cubicBezTo>
                    <a:pt x="2220" y="791"/>
                    <a:pt x="2220" y="791"/>
                    <a:pt x="2220" y="791"/>
                  </a:cubicBezTo>
                  <a:cubicBezTo>
                    <a:pt x="2228" y="813"/>
                    <a:pt x="2235" y="879"/>
                    <a:pt x="2257" y="909"/>
                  </a:cubicBezTo>
                  <a:cubicBezTo>
                    <a:pt x="2257" y="909"/>
                    <a:pt x="2264" y="894"/>
                    <a:pt x="2271" y="879"/>
                  </a:cubicBezTo>
                  <a:cubicBezTo>
                    <a:pt x="2286" y="857"/>
                    <a:pt x="2308" y="835"/>
                    <a:pt x="2330" y="813"/>
                  </a:cubicBezTo>
                  <a:cubicBezTo>
                    <a:pt x="2389" y="769"/>
                    <a:pt x="2521" y="689"/>
                    <a:pt x="2528" y="689"/>
                  </a:cubicBezTo>
                  <a:cubicBezTo>
                    <a:pt x="2550" y="674"/>
                    <a:pt x="2550" y="674"/>
                    <a:pt x="2550" y="674"/>
                  </a:cubicBezTo>
                  <a:cubicBezTo>
                    <a:pt x="2550" y="769"/>
                    <a:pt x="2550" y="769"/>
                    <a:pt x="2550" y="769"/>
                  </a:cubicBezTo>
                  <a:cubicBezTo>
                    <a:pt x="2579" y="791"/>
                    <a:pt x="2689" y="850"/>
                    <a:pt x="2755" y="865"/>
                  </a:cubicBezTo>
                  <a:cubicBezTo>
                    <a:pt x="2762" y="872"/>
                    <a:pt x="2762" y="872"/>
                    <a:pt x="2762" y="872"/>
                  </a:cubicBezTo>
                  <a:cubicBezTo>
                    <a:pt x="2843" y="894"/>
                    <a:pt x="2887" y="901"/>
                    <a:pt x="2931" y="953"/>
                  </a:cubicBezTo>
                  <a:cubicBezTo>
                    <a:pt x="2975" y="997"/>
                    <a:pt x="3026" y="1011"/>
                    <a:pt x="3092" y="1011"/>
                  </a:cubicBezTo>
                  <a:cubicBezTo>
                    <a:pt x="3143" y="1011"/>
                    <a:pt x="3143" y="916"/>
                    <a:pt x="3143" y="916"/>
                  </a:cubicBezTo>
                  <a:cubicBezTo>
                    <a:pt x="3143" y="887"/>
                    <a:pt x="3143" y="887"/>
                    <a:pt x="3143" y="887"/>
                  </a:cubicBezTo>
                  <a:cubicBezTo>
                    <a:pt x="3165" y="901"/>
                    <a:pt x="3165" y="901"/>
                    <a:pt x="3165" y="901"/>
                  </a:cubicBezTo>
                  <a:cubicBezTo>
                    <a:pt x="3173" y="909"/>
                    <a:pt x="3239" y="953"/>
                    <a:pt x="3275" y="1011"/>
                  </a:cubicBezTo>
                  <a:cubicBezTo>
                    <a:pt x="3312" y="1070"/>
                    <a:pt x="3319" y="1136"/>
                    <a:pt x="3312" y="1217"/>
                  </a:cubicBezTo>
                  <a:cubicBezTo>
                    <a:pt x="3305" y="1260"/>
                    <a:pt x="3283" y="1297"/>
                    <a:pt x="3261" y="1312"/>
                  </a:cubicBezTo>
                  <a:cubicBezTo>
                    <a:pt x="3283" y="1319"/>
                    <a:pt x="3312" y="1326"/>
                    <a:pt x="3334" y="1334"/>
                  </a:cubicBezTo>
                  <a:cubicBezTo>
                    <a:pt x="3341" y="1334"/>
                    <a:pt x="3349" y="1334"/>
                    <a:pt x="3356" y="1334"/>
                  </a:cubicBezTo>
                  <a:cubicBezTo>
                    <a:pt x="3371" y="1334"/>
                    <a:pt x="3393" y="1341"/>
                    <a:pt x="3400" y="1356"/>
                  </a:cubicBezTo>
                  <a:cubicBezTo>
                    <a:pt x="3414" y="1370"/>
                    <a:pt x="3414" y="1385"/>
                    <a:pt x="3414" y="1414"/>
                  </a:cubicBezTo>
                  <a:cubicBezTo>
                    <a:pt x="3407" y="1436"/>
                    <a:pt x="3407" y="1458"/>
                    <a:pt x="3400" y="1473"/>
                  </a:cubicBezTo>
                  <a:cubicBezTo>
                    <a:pt x="3393" y="1517"/>
                    <a:pt x="3393" y="1553"/>
                    <a:pt x="3393" y="1605"/>
                  </a:cubicBezTo>
                  <a:cubicBezTo>
                    <a:pt x="3393" y="1715"/>
                    <a:pt x="3371" y="1795"/>
                    <a:pt x="3334" y="1861"/>
                  </a:cubicBezTo>
                  <a:cubicBezTo>
                    <a:pt x="3283" y="1942"/>
                    <a:pt x="3202" y="1964"/>
                    <a:pt x="3143" y="1971"/>
                  </a:cubicBezTo>
                  <a:cubicBezTo>
                    <a:pt x="3129" y="1971"/>
                    <a:pt x="3129" y="1971"/>
                    <a:pt x="3129" y="1971"/>
                  </a:cubicBezTo>
                  <a:cubicBezTo>
                    <a:pt x="3092" y="1979"/>
                    <a:pt x="3055" y="2008"/>
                    <a:pt x="3055" y="2030"/>
                  </a:cubicBezTo>
                  <a:cubicBezTo>
                    <a:pt x="3055" y="2037"/>
                    <a:pt x="3055" y="2044"/>
                    <a:pt x="3078" y="2059"/>
                  </a:cubicBezTo>
                  <a:cubicBezTo>
                    <a:pt x="3085" y="2067"/>
                    <a:pt x="3100" y="2067"/>
                    <a:pt x="3114" y="2067"/>
                  </a:cubicBezTo>
                  <a:cubicBezTo>
                    <a:pt x="3173" y="2067"/>
                    <a:pt x="3261" y="2015"/>
                    <a:pt x="3297" y="1986"/>
                  </a:cubicBezTo>
                  <a:cubicBezTo>
                    <a:pt x="3341" y="1934"/>
                    <a:pt x="3459" y="1934"/>
                    <a:pt x="3481" y="1934"/>
                  </a:cubicBezTo>
                  <a:cubicBezTo>
                    <a:pt x="3502" y="1920"/>
                    <a:pt x="3517" y="1920"/>
                    <a:pt x="3539" y="1920"/>
                  </a:cubicBezTo>
                  <a:cubicBezTo>
                    <a:pt x="3569" y="1920"/>
                    <a:pt x="3590" y="1927"/>
                    <a:pt x="3620" y="1942"/>
                  </a:cubicBezTo>
                  <a:cubicBezTo>
                    <a:pt x="3634" y="1949"/>
                    <a:pt x="3642" y="1949"/>
                    <a:pt x="3649" y="1957"/>
                  </a:cubicBezTo>
                  <a:cubicBezTo>
                    <a:pt x="3693" y="1971"/>
                    <a:pt x="3744" y="2015"/>
                    <a:pt x="3744" y="2044"/>
                  </a:cubicBezTo>
                  <a:cubicBezTo>
                    <a:pt x="3744" y="2059"/>
                    <a:pt x="3730" y="2074"/>
                    <a:pt x="3722" y="2074"/>
                  </a:cubicBezTo>
                  <a:cubicBezTo>
                    <a:pt x="3708" y="2081"/>
                    <a:pt x="3700" y="2081"/>
                    <a:pt x="3700" y="2088"/>
                  </a:cubicBezTo>
                  <a:cubicBezTo>
                    <a:pt x="3700" y="2103"/>
                    <a:pt x="3700" y="2125"/>
                    <a:pt x="3730" y="2169"/>
                  </a:cubicBezTo>
                  <a:cubicBezTo>
                    <a:pt x="3730" y="2176"/>
                    <a:pt x="3737" y="2184"/>
                    <a:pt x="3737" y="2191"/>
                  </a:cubicBezTo>
                  <a:cubicBezTo>
                    <a:pt x="3759" y="2176"/>
                    <a:pt x="3781" y="2162"/>
                    <a:pt x="3810" y="2154"/>
                  </a:cubicBezTo>
                  <a:cubicBezTo>
                    <a:pt x="3840" y="2140"/>
                    <a:pt x="3869" y="2125"/>
                    <a:pt x="3883" y="2110"/>
                  </a:cubicBezTo>
                  <a:cubicBezTo>
                    <a:pt x="3898" y="2096"/>
                    <a:pt x="3913" y="2088"/>
                    <a:pt x="3942" y="2088"/>
                  </a:cubicBezTo>
                  <a:cubicBezTo>
                    <a:pt x="3993" y="2088"/>
                    <a:pt x="4081" y="2125"/>
                    <a:pt x="4118" y="2147"/>
                  </a:cubicBezTo>
                  <a:cubicBezTo>
                    <a:pt x="4133" y="2162"/>
                    <a:pt x="4147" y="2169"/>
                    <a:pt x="4169" y="2184"/>
                  </a:cubicBezTo>
                  <a:cubicBezTo>
                    <a:pt x="4206" y="2213"/>
                    <a:pt x="4250" y="2242"/>
                    <a:pt x="4309" y="2250"/>
                  </a:cubicBezTo>
                  <a:cubicBezTo>
                    <a:pt x="4382" y="2264"/>
                    <a:pt x="4557" y="2330"/>
                    <a:pt x="4593" y="2367"/>
                  </a:cubicBezTo>
                  <a:cubicBezTo>
                    <a:pt x="4601" y="2374"/>
                    <a:pt x="4608" y="2381"/>
                    <a:pt x="4615" y="2389"/>
                  </a:cubicBezTo>
                  <a:cubicBezTo>
                    <a:pt x="4652" y="2433"/>
                    <a:pt x="4703" y="2491"/>
                    <a:pt x="4806" y="2499"/>
                  </a:cubicBezTo>
                  <a:lnTo>
                    <a:pt x="4813" y="2499"/>
                  </a:lnTo>
                  <a:cubicBezTo>
                    <a:pt x="4886" y="2499"/>
                    <a:pt x="4938" y="2440"/>
                    <a:pt x="4974" y="2381"/>
                  </a:cubicBezTo>
                  <a:cubicBezTo>
                    <a:pt x="4996" y="2360"/>
                    <a:pt x="5011" y="2338"/>
                    <a:pt x="5033" y="2323"/>
                  </a:cubicBezTo>
                  <a:cubicBezTo>
                    <a:pt x="5077" y="2279"/>
                    <a:pt x="5150" y="2257"/>
                    <a:pt x="5238" y="2242"/>
                  </a:cubicBezTo>
                  <a:cubicBezTo>
                    <a:pt x="5260" y="2235"/>
                    <a:pt x="5282" y="2235"/>
                    <a:pt x="5304" y="2235"/>
                  </a:cubicBezTo>
                  <a:cubicBezTo>
                    <a:pt x="5319" y="2235"/>
                    <a:pt x="5333" y="2235"/>
                    <a:pt x="5348" y="2235"/>
                  </a:cubicBezTo>
                  <a:cubicBezTo>
                    <a:pt x="5370" y="2235"/>
                    <a:pt x="5385" y="2235"/>
                    <a:pt x="5399" y="2235"/>
                  </a:cubicBezTo>
                  <a:cubicBezTo>
                    <a:pt x="5407" y="2235"/>
                    <a:pt x="5407" y="2242"/>
                    <a:pt x="5414" y="2242"/>
                  </a:cubicBezTo>
                  <a:cubicBezTo>
                    <a:pt x="5414" y="2228"/>
                    <a:pt x="5414" y="2213"/>
                    <a:pt x="5421" y="2198"/>
                  </a:cubicBezTo>
                  <a:cubicBezTo>
                    <a:pt x="5436" y="2184"/>
                    <a:pt x="5436" y="2184"/>
                    <a:pt x="5436" y="2184"/>
                  </a:cubicBezTo>
                  <a:cubicBezTo>
                    <a:pt x="5458" y="2154"/>
                    <a:pt x="5494" y="2103"/>
                    <a:pt x="5473" y="2074"/>
                  </a:cubicBezTo>
                  <a:cubicBezTo>
                    <a:pt x="5458" y="2059"/>
                    <a:pt x="5451" y="2044"/>
                    <a:pt x="5451" y="2037"/>
                  </a:cubicBezTo>
                  <a:cubicBezTo>
                    <a:pt x="5443" y="2030"/>
                    <a:pt x="5443" y="2022"/>
                    <a:pt x="5436" y="2022"/>
                  </a:cubicBezTo>
                  <a:cubicBezTo>
                    <a:pt x="5436" y="2022"/>
                    <a:pt x="5436" y="2022"/>
                    <a:pt x="5414" y="2037"/>
                  </a:cubicBezTo>
                  <a:cubicBezTo>
                    <a:pt x="5370" y="2074"/>
                    <a:pt x="5319" y="2081"/>
                    <a:pt x="5297" y="2081"/>
                  </a:cubicBezTo>
                  <a:cubicBezTo>
                    <a:pt x="5282" y="2081"/>
                    <a:pt x="5275" y="2074"/>
                    <a:pt x="5275" y="2074"/>
                  </a:cubicBezTo>
                  <a:cubicBezTo>
                    <a:pt x="5260" y="2074"/>
                    <a:pt x="5260" y="2074"/>
                    <a:pt x="5260" y="2074"/>
                  </a:cubicBezTo>
                  <a:cubicBezTo>
                    <a:pt x="5260" y="2059"/>
                    <a:pt x="5260" y="2059"/>
                    <a:pt x="5260" y="2059"/>
                  </a:cubicBezTo>
                  <a:cubicBezTo>
                    <a:pt x="5260" y="2044"/>
                    <a:pt x="5260" y="2030"/>
                    <a:pt x="5253" y="2022"/>
                  </a:cubicBezTo>
                  <a:cubicBezTo>
                    <a:pt x="5245" y="1993"/>
                    <a:pt x="5238" y="1979"/>
                    <a:pt x="5267" y="1927"/>
                  </a:cubicBezTo>
                  <a:cubicBezTo>
                    <a:pt x="5275" y="1905"/>
                    <a:pt x="5275" y="1891"/>
                    <a:pt x="5275" y="1883"/>
                  </a:cubicBezTo>
                  <a:cubicBezTo>
                    <a:pt x="5282" y="1854"/>
                    <a:pt x="5282" y="1839"/>
                    <a:pt x="5326" y="1788"/>
                  </a:cubicBezTo>
                  <a:cubicBezTo>
                    <a:pt x="5370" y="1737"/>
                    <a:pt x="5392" y="1707"/>
                    <a:pt x="5421" y="1707"/>
                  </a:cubicBezTo>
                  <a:cubicBezTo>
                    <a:pt x="5443" y="1707"/>
                    <a:pt x="5458" y="1722"/>
                    <a:pt x="5480" y="1729"/>
                  </a:cubicBezTo>
                  <a:cubicBezTo>
                    <a:pt x="5531" y="1766"/>
                    <a:pt x="5568" y="1773"/>
                    <a:pt x="5656" y="1795"/>
                  </a:cubicBezTo>
                  <a:cubicBezTo>
                    <a:pt x="5722" y="1817"/>
                    <a:pt x="5744" y="1861"/>
                    <a:pt x="5758" y="1898"/>
                  </a:cubicBezTo>
                  <a:cubicBezTo>
                    <a:pt x="5766" y="1912"/>
                    <a:pt x="5766" y="1927"/>
                    <a:pt x="5780" y="1942"/>
                  </a:cubicBezTo>
                  <a:cubicBezTo>
                    <a:pt x="5795" y="1957"/>
                    <a:pt x="5802" y="1979"/>
                    <a:pt x="5810" y="2000"/>
                  </a:cubicBezTo>
                  <a:cubicBezTo>
                    <a:pt x="5824" y="2037"/>
                    <a:pt x="5832" y="2067"/>
                    <a:pt x="5868" y="2096"/>
                  </a:cubicBezTo>
                  <a:cubicBezTo>
                    <a:pt x="5905" y="2125"/>
                    <a:pt x="5912" y="2169"/>
                    <a:pt x="5898" y="2198"/>
                  </a:cubicBezTo>
                  <a:cubicBezTo>
                    <a:pt x="5898" y="2213"/>
                    <a:pt x="5883" y="2228"/>
                    <a:pt x="5868" y="2228"/>
                  </a:cubicBezTo>
                  <a:lnTo>
                    <a:pt x="5868" y="2228"/>
                  </a:lnTo>
                  <a:cubicBezTo>
                    <a:pt x="5854" y="2228"/>
                    <a:pt x="5846" y="2220"/>
                    <a:pt x="5832" y="2206"/>
                  </a:cubicBezTo>
                  <a:cubicBezTo>
                    <a:pt x="5802" y="2176"/>
                    <a:pt x="5780" y="2176"/>
                    <a:pt x="5751" y="2176"/>
                  </a:cubicBezTo>
                  <a:cubicBezTo>
                    <a:pt x="5744" y="2169"/>
                    <a:pt x="5729" y="2169"/>
                    <a:pt x="5714" y="2169"/>
                  </a:cubicBezTo>
                  <a:cubicBezTo>
                    <a:pt x="5700" y="2162"/>
                    <a:pt x="5685" y="2147"/>
                    <a:pt x="5670" y="2140"/>
                  </a:cubicBezTo>
                  <a:cubicBezTo>
                    <a:pt x="5663" y="2132"/>
                    <a:pt x="5656" y="2125"/>
                    <a:pt x="5649" y="2125"/>
                  </a:cubicBezTo>
                  <a:cubicBezTo>
                    <a:pt x="5641" y="2125"/>
                    <a:pt x="5626" y="2132"/>
                    <a:pt x="5612" y="2140"/>
                  </a:cubicBezTo>
                  <a:cubicBezTo>
                    <a:pt x="5553" y="2184"/>
                    <a:pt x="5553" y="2191"/>
                    <a:pt x="5568" y="2242"/>
                  </a:cubicBezTo>
                  <a:cubicBezTo>
                    <a:pt x="5568" y="2264"/>
                    <a:pt x="5561" y="2293"/>
                    <a:pt x="5546" y="2316"/>
                  </a:cubicBezTo>
                  <a:cubicBezTo>
                    <a:pt x="5539" y="2330"/>
                    <a:pt x="5524" y="2338"/>
                    <a:pt x="5509" y="2338"/>
                  </a:cubicBezTo>
                  <a:cubicBezTo>
                    <a:pt x="5494" y="2338"/>
                    <a:pt x="5480" y="2330"/>
                    <a:pt x="5473" y="2323"/>
                  </a:cubicBezTo>
                  <a:cubicBezTo>
                    <a:pt x="5465" y="2316"/>
                    <a:pt x="5458" y="2308"/>
                    <a:pt x="5458" y="2308"/>
                  </a:cubicBezTo>
                  <a:cubicBezTo>
                    <a:pt x="5458" y="2323"/>
                    <a:pt x="5458" y="2345"/>
                    <a:pt x="5451" y="2360"/>
                  </a:cubicBezTo>
                  <a:cubicBezTo>
                    <a:pt x="5451" y="2374"/>
                    <a:pt x="5451" y="2389"/>
                    <a:pt x="5451" y="2403"/>
                  </a:cubicBezTo>
                  <a:cubicBezTo>
                    <a:pt x="5451" y="2455"/>
                    <a:pt x="5451" y="2601"/>
                    <a:pt x="5465" y="2645"/>
                  </a:cubicBezTo>
                  <a:cubicBezTo>
                    <a:pt x="5465" y="2653"/>
                    <a:pt x="5465" y="2667"/>
                    <a:pt x="5473" y="2675"/>
                  </a:cubicBezTo>
                  <a:cubicBezTo>
                    <a:pt x="5487" y="2726"/>
                    <a:pt x="5509" y="2807"/>
                    <a:pt x="5494" y="2865"/>
                  </a:cubicBezTo>
                  <a:cubicBezTo>
                    <a:pt x="5487" y="2931"/>
                    <a:pt x="5392" y="2990"/>
                    <a:pt x="5297" y="3034"/>
                  </a:cubicBezTo>
                  <a:cubicBezTo>
                    <a:pt x="5282" y="3041"/>
                    <a:pt x="5282" y="3041"/>
                    <a:pt x="5282" y="3041"/>
                  </a:cubicBezTo>
                  <a:cubicBezTo>
                    <a:pt x="5238" y="3063"/>
                    <a:pt x="5201" y="3078"/>
                    <a:pt x="5187" y="3129"/>
                  </a:cubicBezTo>
                  <a:cubicBezTo>
                    <a:pt x="5180" y="3195"/>
                    <a:pt x="5077" y="3246"/>
                    <a:pt x="5004" y="3246"/>
                  </a:cubicBezTo>
                  <a:cubicBezTo>
                    <a:pt x="4945" y="3246"/>
                    <a:pt x="4901" y="3268"/>
                    <a:pt x="4857" y="3341"/>
                  </a:cubicBezTo>
                  <a:cubicBezTo>
                    <a:pt x="4842" y="3363"/>
                    <a:pt x="4850" y="3400"/>
                    <a:pt x="4850" y="3422"/>
                  </a:cubicBezTo>
                  <a:cubicBezTo>
                    <a:pt x="4864" y="3466"/>
                    <a:pt x="4901" y="3510"/>
                    <a:pt x="4930" y="3517"/>
                  </a:cubicBezTo>
                  <a:cubicBezTo>
                    <a:pt x="4945" y="3525"/>
                    <a:pt x="4967" y="3532"/>
                    <a:pt x="4982" y="3539"/>
                  </a:cubicBezTo>
                  <a:cubicBezTo>
                    <a:pt x="5033" y="3547"/>
                    <a:pt x="5084" y="3561"/>
                    <a:pt x="5106" y="3605"/>
                  </a:cubicBezTo>
                  <a:cubicBezTo>
                    <a:pt x="5121" y="3627"/>
                    <a:pt x="5128" y="3642"/>
                    <a:pt x="5135" y="3642"/>
                  </a:cubicBezTo>
                  <a:cubicBezTo>
                    <a:pt x="5143" y="3649"/>
                    <a:pt x="5143" y="3649"/>
                    <a:pt x="5143" y="3649"/>
                  </a:cubicBezTo>
                  <a:cubicBezTo>
                    <a:pt x="5135" y="3657"/>
                    <a:pt x="5135" y="3657"/>
                    <a:pt x="5135" y="3657"/>
                  </a:cubicBezTo>
                  <a:cubicBezTo>
                    <a:pt x="5128" y="3715"/>
                    <a:pt x="5113" y="3767"/>
                    <a:pt x="5077" y="3796"/>
                  </a:cubicBezTo>
                  <a:cubicBezTo>
                    <a:pt x="5062" y="3818"/>
                    <a:pt x="5048" y="3825"/>
                    <a:pt x="5040" y="3840"/>
                  </a:cubicBezTo>
                  <a:cubicBezTo>
                    <a:pt x="5026" y="3862"/>
                    <a:pt x="5004" y="3884"/>
                    <a:pt x="4952" y="3920"/>
                  </a:cubicBezTo>
                  <a:cubicBezTo>
                    <a:pt x="4872" y="3979"/>
                    <a:pt x="4857" y="3986"/>
                    <a:pt x="4864" y="4052"/>
                  </a:cubicBezTo>
                  <a:cubicBezTo>
                    <a:pt x="4864" y="4074"/>
                    <a:pt x="4879" y="4096"/>
                    <a:pt x="4886" y="4118"/>
                  </a:cubicBezTo>
                  <a:cubicBezTo>
                    <a:pt x="4908" y="4155"/>
                    <a:pt x="4923" y="4191"/>
                    <a:pt x="4908" y="4235"/>
                  </a:cubicBezTo>
                  <a:cubicBezTo>
                    <a:pt x="4872" y="4316"/>
                    <a:pt x="4886" y="4338"/>
                    <a:pt x="4908" y="4353"/>
                  </a:cubicBezTo>
                  <a:cubicBezTo>
                    <a:pt x="4930" y="4367"/>
                    <a:pt x="4938" y="4389"/>
                    <a:pt x="4945" y="4419"/>
                  </a:cubicBezTo>
                  <a:cubicBezTo>
                    <a:pt x="4960" y="4448"/>
                    <a:pt x="4967" y="4477"/>
                    <a:pt x="4996" y="4485"/>
                  </a:cubicBezTo>
                  <a:cubicBezTo>
                    <a:pt x="5062" y="4507"/>
                    <a:pt x="5128" y="4529"/>
                    <a:pt x="5187" y="4536"/>
                  </a:cubicBezTo>
                  <a:cubicBezTo>
                    <a:pt x="5194" y="4536"/>
                    <a:pt x="5201" y="4536"/>
                    <a:pt x="5209" y="4543"/>
                  </a:cubicBezTo>
                  <a:cubicBezTo>
                    <a:pt x="5238" y="4543"/>
                    <a:pt x="5267" y="4550"/>
                    <a:pt x="5282" y="4572"/>
                  </a:cubicBezTo>
                  <a:cubicBezTo>
                    <a:pt x="5289" y="4587"/>
                    <a:pt x="5289" y="4609"/>
                    <a:pt x="5267" y="4646"/>
                  </a:cubicBezTo>
                  <a:cubicBezTo>
                    <a:pt x="5245" y="4697"/>
                    <a:pt x="5245" y="4734"/>
                    <a:pt x="5238" y="4770"/>
                  </a:cubicBezTo>
                  <a:cubicBezTo>
                    <a:pt x="5238" y="4792"/>
                    <a:pt x="5238" y="4822"/>
                    <a:pt x="5231" y="4843"/>
                  </a:cubicBezTo>
                  <a:cubicBezTo>
                    <a:pt x="5216" y="4888"/>
                    <a:pt x="5194" y="4976"/>
                    <a:pt x="5128" y="4976"/>
                  </a:cubicBezTo>
                  <a:lnTo>
                    <a:pt x="5128" y="4976"/>
                  </a:lnTo>
                  <a:cubicBezTo>
                    <a:pt x="5113" y="4976"/>
                    <a:pt x="5106" y="4976"/>
                    <a:pt x="5099" y="4976"/>
                  </a:cubicBezTo>
                  <a:cubicBezTo>
                    <a:pt x="5077" y="4968"/>
                    <a:pt x="5062" y="4961"/>
                    <a:pt x="5048" y="4953"/>
                  </a:cubicBezTo>
                  <a:cubicBezTo>
                    <a:pt x="5033" y="4946"/>
                    <a:pt x="5026" y="4946"/>
                    <a:pt x="5018" y="4946"/>
                  </a:cubicBezTo>
                  <a:cubicBezTo>
                    <a:pt x="5018" y="4946"/>
                    <a:pt x="5018" y="4946"/>
                    <a:pt x="5018" y="4968"/>
                  </a:cubicBezTo>
                  <a:cubicBezTo>
                    <a:pt x="5018" y="4990"/>
                    <a:pt x="5026" y="5012"/>
                    <a:pt x="5026" y="5034"/>
                  </a:cubicBezTo>
                  <a:cubicBezTo>
                    <a:pt x="5033" y="5071"/>
                    <a:pt x="5048" y="5107"/>
                    <a:pt x="5004" y="5151"/>
                  </a:cubicBezTo>
                  <a:cubicBezTo>
                    <a:pt x="4989" y="5166"/>
                    <a:pt x="4974" y="5181"/>
                    <a:pt x="4967" y="5195"/>
                  </a:cubicBezTo>
                  <a:cubicBezTo>
                    <a:pt x="4938" y="5232"/>
                    <a:pt x="4916" y="5269"/>
                    <a:pt x="4857" y="5276"/>
                  </a:cubicBezTo>
                  <a:cubicBezTo>
                    <a:pt x="4799" y="5283"/>
                    <a:pt x="4769" y="5291"/>
                    <a:pt x="4711" y="5327"/>
                  </a:cubicBezTo>
                  <a:cubicBezTo>
                    <a:pt x="4696" y="5342"/>
                    <a:pt x="4681" y="5349"/>
                    <a:pt x="4674" y="5357"/>
                  </a:cubicBezTo>
                  <a:cubicBezTo>
                    <a:pt x="4637" y="5371"/>
                    <a:pt x="4630" y="5379"/>
                    <a:pt x="4637" y="5422"/>
                  </a:cubicBezTo>
                  <a:cubicBezTo>
                    <a:pt x="4644" y="5488"/>
                    <a:pt x="4637" y="5569"/>
                    <a:pt x="4637" y="5598"/>
                  </a:cubicBezTo>
                  <a:lnTo>
                    <a:pt x="4674" y="5620"/>
                  </a:lnTo>
                  <a:cubicBezTo>
                    <a:pt x="4644" y="5635"/>
                    <a:pt x="4644" y="5635"/>
                    <a:pt x="4644" y="5635"/>
                  </a:cubicBezTo>
                  <a:cubicBezTo>
                    <a:pt x="4623" y="5642"/>
                    <a:pt x="4601" y="5650"/>
                    <a:pt x="4593" y="5657"/>
                  </a:cubicBezTo>
                  <a:cubicBezTo>
                    <a:pt x="4579" y="5664"/>
                    <a:pt x="4564" y="5664"/>
                    <a:pt x="4549" y="5664"/>
                  </a:cubicBezTo>
                  <a:close/>
                  <a:moveTo>
                    <a:pt x="3708" y="2257"/>
                  </a:moveTo>
                  <a:lnTo>
                    <a:pt x="3708" y="2257"/>
                  </a:lnTo>
                  <a:cubicBezTo>
                    <a:pt x="3700" y="2264"/>
                    <a:pt x="3686" y="2264"/>
                    <a:pt x="3678" y="2272"/>
                  </a:cubicBezTo>
                  <a:cubicBezTo>
                    <a:pt x="3671" y="2279"/>
                    <a:pt x="3649" y="2286"/>
                    <a:pt x="3649" y="2293"/>
                  </a:cubicBezTo>
                  <a:cubicBezTo>
                    <a:pt x="3642" y="2308"/>
                    <a:pt x="3634" y="2381"/>
                    <a:pt x="3634" y="2448"/>
                  </a:cubicBezTo>
                  <a:cubicBezTo>
                    <a:pt x="3656" y="2403"/>
                    <a:pt x="3656" y="2403"/>
                    <a:pt x="3656" y="2403"/>
                  </a:cubicBezTo>
                  <a:cubicBezTo>
                    <a:pt x="3656" y="2403"/>
                    <a:pt x="3686" y="2316"/>
                    <a:pt x="3708" y="2257"/>
                  </a:cubicBezTo>
                  <a:close/>
                  <a:moveTo>
                    <a:pt x="432" y="2206"/>
                  </a:moveTo>
                  <a:lnTo>
                    <a:pt x="432" y="2206"/>
                  </a:lnTo>
                  <a:cubicBezTo>
                    <a:pt x="418" y="2206"/>
                    <a:pt x="403" y="2206"/>
                    <a:pt x="374" y="2198"/>
                  </a:cubicBezTo>
                  <a:cubicBezTo>
                    <a:pt x="352" y="2191"/>
                    <a:pt x="352" y="2191"/>
                    <a:pt x="352" y="2191"/>
                  </a:cubicBezTo>
                  <a:cubicBezTo>
                    <a:pt x="286" y="2169"/>
                    <a:pt x="300" y="2125"/>
                    <a:pt x="308" y="2096"/>
                  </a:cubicBezTo>
                  <a:cubicBezTo>
                    <a:pt x="315" y="2074"/>
                    <a:pt x="322" y="2052"/>
                    <a:pt x="322" y="2030"/>
                  </a:cubicBezTo>
                  <a:cubicBezTo>
                    <a:pt x="322" y="2008"/>
                    <a:pt x="322" y="1971"/>
                    <a:pt x="344" y="1971"/>
                  </a:cubicBezTo>
                  <a:cubicBezTo>
                    <a:pt x="359" y="1971"/>
                    <a:pt x="374" y="1986"/>
                    <a:pt x="403" y="2022"/>
                  </a:cubicBezTo>
                  <a:cubicBezTo>
                    <a:pt x="418" y="2037"/>
                    <a:pt x="425" y="2044"/>
                    <a:pt x="432" y="2059"/>
                  </a:cubicBezTo>
                  <a:cubicBezTo>
                    <a:pt x="447" y="2059"/>
                    <a:pt x="469" y="2067"/>
                    <a:pt x="483" y="2081"/>
                  </a:cubicBezTo>
                  <a:cubicBezTo>
                    <a:pt x="491" y="2096"/>
                    <a:pt x="498" y="2118"/>
                    <a:pt x="483" y="2147"/>
                  </a:cubicBezTo>
                  <a:cubicBezTo>
                    <a:pt x="476" y="2176"/>
                    <a:pt x="461" y="2206"/>
                    <a:pt x="432" y="2206"/>
                  </a:cubicBezTo>
                  <a:close/>
                  <a:moveTo>
                    <a:pt x="667" y="1979"/>
                  </a:moveTo>
                  <a:lnTo>
                    <a:pt x="667" y="1979"/>
                  </a:lnTo>
                  <a:cubicBezTo>
                    <a:pt x="630" y="1979"/>
                    <a:pt x="615" y="1949"/>
                    <a:pt x="601" y="1912"/>
                  </a:cubicBezTo>
                  <a:cubicBezTo>
                    <a:pt x="593" y="1898"/>
                    <a:pt x="593" y="1891"/>
                    <a:pt x="586" y="1876"/>
                  </a:cubicBezTo>
                  <a:cubicBezTo>
                    <a:pt x="571" y="1847"/>
                    <a:pt x="564" y="1825"/>
                    <a:pt x="579" y="1810"/>
                  </a:cubicBezTo>
                  <a:cubicBezTo>
                    <a:pt x="593" y="1788"/>
                    <a:pt x="630" y="1788"/>
                    <a:pt x="667" y="1788"/>
                  </a:cubicBezTo>
                  <a:cubicBezTo>
                    <a:pt x="689" y="1766"/>
                    <a:pt x="755" y="1693"/>
                    <a:pt x="813" y="1693"/>
                  </a:cubicBezTo>
                  <a:cubicBezTo>
                    <a:pt x="828" y="1693"/>
                    <a:pt x="843" y="1700"/>
                    <a:pt x="850" y="1707"/>
                  </a:cubicBezTo>
                  <a:cubicBezTo>
                    <a:pt x="865" y="1729"/>
                    <a:pt x="857" y="1759"/>
                    <a:pt x="850" y="1810"/>
                  </a:cubicBezTo>
                  <a:cubicBezTo>
                    <a:pt x="850" y="1832"/>
                    <a:pt x="843" y="1861"/>
                    <a:pt x="835" y="1891"/>
                  </a:cubicBezTo>
                  <a:cubicBezTo>
                    <a:pt x="835" y="1934"/>
                    <a:pt x="828" y="1971"/>
                    <a:pt x="784" y="1971"/>
                  </a:cubicBezTo>
                  <a:cubicBezTo>
                    <a:pt x="777" y="1971"/>
                    <a:pt x="769" y="1971"/>
                    <a:pt x="762" y="1971"/>
                  </a:cubicBezTo>
                  <a:cubicBezTo>
                    <a:pt x="747" y="1971"/>
                    <a:pt x="740" y="1971"/>
                    <a:pt x="733" y="1971"/>
                  </a:cubicBezTo>
                  <a:cubicBezTo>
                    <a:pt x="718" y="1971"/>
                    <a:pt x="711" y="1971"/>
                    <a:pt x="703" y="1971"/>
                  </a:cubicBezTo>
                  <a:cubicBezTo>
                    <a:pt x="689" y="1979"/>
                    <a:pt x="681" y="1979"/>
                    <a:pt x="667" y="1979"/>
                  </a:cubicBezTo>
                  <a:close/>
                  <a:moveTo>
                    <a:pt x="506" y="1759"/>
                  </a:moveTo>
                  <a:lnTo>
                    <a:pt x="506" y="1759"/>
                  </a:lnTo>
                  <a:cubicBezTo>
                    <a:pt x="476" y="1759"/>
                    <a:pt x="469" y="1737"/>
                    <a:pt x="469" y="1715"/>
                  </a:cubicBezTo>
                  <a:cubicBezTo>
                    <a:pt x="461" y="1693"/>
                    <a:pt x="461" y="1678"/>
                    <a:pt x="447" y="1663"/>
                  </a:cubicBezTo>
                  <a:cubicBezTo>
                    <a:pt x="447" y="1656"/>
                    <a:pt x="432" y="1641"/>
                    <a:pt x="440" y="1627"/>
                  </a:cubicBezTo>
                  <a:cubicBezTo>
                    <a:pt x="440" y="1619"/>
                    <a:pt x="447" y="1612"/>
                    <a:pt x="461" y="1612"/>
                  </a:cubicBezTo>
                  <a:cubicBezTo>
                    <a:pt x="491" y="1612"/>
                    <a:pt x="528" y="1627"/>
                    <a:pt x="564" y="1649"/>
                  </a:cubicBezTo>
                  <a:cubicBezTo>
                    <a:pt x="564" y="1656"/>
                    <a:pt x="579" y="1663"/>
                    <a:pt x="579" y="1685"/>
                  </a:cubicBezTo>
                  <a:cubicBezTo>
                    <a:pt x="579" y="1700"/>
                    <a:pt x="564" y="1722"/>
                    <a:pt x="535" y="1744"/>
                  </a:cubicBezTo>
                  <a:cubicBezTo>
                    <a:pt x="520" y="1759"/>
                    <a:pt x="513" y="1759"/>
                    <a:pt x="506" y="1759"/>
                  </a:cubicBezTo>
                  <a:close/>
                  <a:moveTo>
                    <a:pt x="220" y="1575"/>
                  </a:moveTo>
                  <a:lnTo>
                    <a:pt x="220" y="1575"/>
                  </a:lnTo>
                  <a:cubicBezTo>
                    <a:pt x="190" y="1575"/>
                    <a:pt x="161" y="1561"/>
                    <a:pt x="124" y="1539"/>
                  </a:cubicBezTo>
                  <a:cubicBezTo>
                    <a:pt x="59" y="1510"/>
                    <a:pt x="59" y="1466"/>
                    <a:pt x="51" y="1392"/>
                  </a:cubicBezTo>
                  <a:cubicBezTo>
                    <a:pt x="51" y="1378"/>
                    <a:pt x="51" y="1356"/>
                    <a:pt x="51" y="1334"/>
                  </a:cubicBezTo>
                  <a:cubicBezTo>
                    <a:pt x="44" y="1253"/>
                    <a:pt x="66" y="1238"/>
                    <a:pt x="102" y="1217"/>
                  </a:cubicBezTo>
                  <a:cubicBezTo>
                    <a:pt x="117" y="1209"/>
                    <a:pt x="139" y="1202"/>
                    <a:pt x="154" y="1187"/>
                  </a:cubicBezTo>
                  <a:cubicBezTo>
                    <a:pt x="190" y="1158"/>
                    <a:pt x="190" y="1158"/>
                    <a:pt x="190" y="1158"/>
                  </a:cubicBezTo>
                  <a:cubicBezTo>
                    <a:pt x="183" y="1202"/>
                    <a:pt x="183" y="1202"/>
                    <a:pt x="183" y="1202"/>
                  </a:cubicBezTo>
                  <a:cubicBezTo>
                    <a:pt x="183" y="1202"/>
                    <a:pt x="161" y="1312"/>
                    <a:pt x="212" y="1385"/>
                  </a:cubicBezTo>
                  <a:cubicBezTo>
                    <a:pt x="227" y="1400"/>
                    <a:pt x="227" y="1400"/>
                    <a:pt x="227" y="1400"/>
                  </a:cubicBezTo>
                  <a:cubicBezTo>
                    <a:pt x="257" y="1451"/>
                    <a:pt x="264" y="1451"/>
                    <a:pt x="264" y="1488"/>
                  </a:cubicBezTo>
                  <a:cubicBezTo>
                    <a:pt x="264" y="1495"/>
                    <a:pt x="264" y="1502"/>
                    <a:pt x="264" y="1517"/>
                  </a:cubicBezTo>
                  <a:cubicBezTo>
                    <a:pt x="264" y="1539"/>
                    <a:pt x="257" y="1546"/>
                    <a:pt x="249" y="1561"/>
                  </a:cubicBezTo>
                  <a:cubicBezTo>
                    <a:pt x="249" y="1568"/>
                    <a:pt x="234" y="1575"/>
                    <a:pt x="220" y="1575"/>
                  </a:cubicBezTo>
                  <a:close/>
                  <a:moveTo>
                    <a:pt x="601" y="1539"/>
                  </a:moveTo>
                  <a:lnTo>
                    <a:pt x="601" y="1539"/>
                  </a:lnTo>
                  <a:cubicBezTo>
                    <a:pt x="579" y="1539"/>
                    <a:pt x="571" y="1539"/>
                    <a:pt x="557" y="1531"/>
                  </a:cubicBezTo>
                  <a:cubicBezTo>
                    <a:pt x="506" y="1510"/>
                    <a:pt x="491" y="1480"/>
                    <a:pt x="491" y="1480"/>
                  </a:cubicBezTo>
                  <a:cubicBezTo>
                    <a:pt x="483" y="1466"/>
                    <a:pt x="483" y="1466"/>
                    <a:pt x="483" y="1466"/>
                  </a:cubicBezTo>
                  <a:cubicBezTo>
                    <a:pt x="498" y="1458"/>
                    <a:pt x="498" y="1458"/>
                    <a:pt x="498" y="1458"/>
                  </a:cubicBezTo>
                  <a:cubicBezTo>
                    <a:pt x="528" y="1443"/>
                    <a:pt x="557" y="1443"/>
                    <a:pt x="586" y="1436"/>
                  </a:cubicBezTo>
                  <a:cubicBezTo>
                    <a:pt x="630" y="1436"/>
                    <a:pt x="667" y="1429"/>
                    <a:pt x="696" y="1392"/>
                  </a:cubicBezTo>
                  <a:cubicBezTo>
                    <a:pt x="718" y="1370"/>
                    <a:pt x="733" y="1356"/>
                    <a:pt x="740" y="1348"/>
                  </a:cubicBezTo>
                  <a:cubicBezTo>
                    <a:pt x="755" y="1334"/>
                    <a:pt x="762" y="1326"/>
                    <a:pt x="791" y="1282"/>
                  </a:cubicBezTo>
                  <a:cubicBezTo>
                    <a:pt x="813" y="1246"/>
                    <a:pt x="813" y="1246"/>
                    <a:pt x="813" y="1246"/>
                  </a:cubicBezTo>
                  <a:cubicBezTo>
                    <a:pt x="813" y="1290"/>
                    <a:pt x="813" y="1290"/>
                    <a:pt x="813" y="1290"/>
                  </a:cubicBezTo>
                  <a:cubicBezTo>
                    <a:pt x="821" y="1304"/>
                    <a:pt x="828" y="1473"/>
                    <a:pt x="747" y="1495"/>
                  </a:cubicBezTo>
                  <a:cubicBezTo>
                    <a:pt x="733" y="1502"/>
                    <a:pt x="725" y="1510"/>
                    <a:pt x="711" y="1510"/>
                  </a:cubicBezTo>
                  <a:cubicBezTo>
                    <a:pt x="674" y="1524"/>
                    <a:pt x="630" y="1539"/>
                    <a:pt x="601" y="1539"/>
                  </a:cubicBezTo>
                  <a:close/>
                  <a:moveTo>
                    <a:pt x="528" y="1356"/>
                  </a:moveTo>
                  <a:lnTo>
                    <a:pt x="528" y="1356"/>
                  </a:lnTo>
                  <a:cubicBezTo>
                    <a:pt x="520" y="1356"/>
                    <a:pt x="506" y="1356"/>
                    <a:pt x="491" y="1348"/>
                  </a:cubicBezTo>
                  <a:cubicBezTo>
                    <a:pt x="469" y="1341"/>
                    <a:pt x="440" y="1341"/>
                    <a:pt x="418" y="1334"/>
                  </a:cubicBezTo>
                  <a:cubicBezTo>
                    <a:pt x="344" y="1326"/>
                    <a:pt x="286" y="1319"/>
                    <a:pt x="257" y="1260"/>
                  </a:cubicBezTo>
                  <a:cubicBezTo>
                    <a:pt x="220" y="1187"/>
                    <a:pt x="242" y="1129"/>
                    <a:pt x="242" y="1129"/>
                  </a:cubicBezTo>
                  <a:cubicBezTo>
                    <a:pt x="264" y="1092"/>
                    <a:pt x="286" y="1077"/>
                    <a:pt x="308" y="1077"/>
                  </a:cubicBezTo>
                  <a:lnTo>
                    <a:pt x="315" y="1077"/>
                  </a:lnTo>
                  <a:cubicBezTo>
                    <a:pt x="322" y="1077"/>
                    <a:pt x="322" y="1077"/>
                    <a:pt x="330" y="1077"/>
                  </a:cubicBezTo>
                  <a:cubicBezTo>
                    <a:pt x="344" y="1077"/>
                    <a:pt x="352" y="1077"/>
                    <a:pt x="366" y="1070"/>
                  </a:cubicBezTo>
                  <a:cubicBezTo>
                    <a:pt x="432" y="1048"/>
                    <a:pt x="432" y="1048"/>
                    <a:pt x="491" y="1041"/>
                  </a:cubicBezTo>
                  <a:cubicBezTo>
                    <a:pt x="513" y="1033"/>
                    <a:pt x="520" y="1033"/>
                    <a:pt x="535" y="1033"/>
                  </a:cubicBezTo>
                  <a:cubicBezTo>
                    <a:pt x="564" y="1033"/>
                    <a:pt x="571" y="1048"/>
                    <a:pt x="601" y="1092"/>
                  </a:cubicBezTo>
                  <a:cubicBezTo>
                    <a:pt x="601" y="1099"/>
                    <a:pt x="608" y="1107"/>
                    <a:pt x="615" y="1114"/>
                  </a:cubicBezTo>
                  <a:cubicBezTo>
                    <a:pt x="638" y="1150"/>
                    <a:pt x="638" y="1158"/>
                    <a:pt x="608" y="1231"/>
                  </a:cubicBezTo>
                  <a:cubicBezTo>
                    <a:pt x="601" y="1246"/>
                    <a:pt x="593" y="1268"/>
                    <a:pt x="593" y="1282"/>
                  </a:cubicBezTo>
                  <a:cubicBezTo>
                    <a:pt x="586" y="1319"/>
                    <a:pt x="571" y="1356"/>
                    <a:pt x="528" y="1356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2" name="Freeform 31"/>
            <p:cNvSpPr>
              <a:spLocks noChangeArrowheads="1"/>
            </p:cNvSpPr>
            <p:nvPr/>
          </p:nvSpPr>
          <p:spPr bwMode="auto">
            <a:xfrm>
              <a:off x="7120243" y="2973820"/>
              <a:ext cx="2905482" cy="2062837"/>
            </a:xfrm>
            <a:custGeom>
              <a:avLst/>
              <a:gdLst>
                <a:gd name="T0" fmla="*/ 821 w 7563"/>
                <a:gd name="T1" fmla="*/ 4910 h 5431"/>
                <a:gd name="T2" fmla="*/ 132 w 7563"/>
                <a:gd name="T3" fmla="*/ 4653 h 5431"/>
                <a:gd name="T4" fmla="*/ 396 w 7563"/>
                <a:gd name="T5" fmla="*/ 4030 h 5431"/>
                <a:gd name="T6" fmla="*/ 579 w 7563"/>
                <a:gd name="T7" fmla="*/ 3554 h 5431"/>
                <a:gd name="T8" fmla="*/ 513 w 7563"/>
                <a:gd name="T9" fmla="*/ 2609 h 5431"/>
                <a:gd name="T10" fmla="*/ 1246 w 7563"/>
                <a:gd name="T11" fmla="*/ 2711 h 5431"/>
                <a:gd name="T12" fmla="*/ 1641 w 7563"/>
                <a:gd name="T13" fmla="*/ 2550 h 5431"/>
                <a:gd name="T14" fmla="*/ 1803 w 7563"/>
                <a:gd name="T15" fmla="*/ 2345 h 5431"/>
                <a:gd name="T16" fmla="*/ 2286 w 7563"/>
                <a:gd name="T17" fmla="*/ 1949 h 5431"/>
                <a:gd name="T18" fmla="*/ 3253 w 7563"/>
                <a:gd name="T19" fmla="*/ 1407 h 5431"/>
                <a:gd name="T20" fmla="*/ 4037 w 7563"/>
                <a:gd name="T21" fmla="*/ 887 h 5431"/>
                <a:gd name="T22" fmla="*/ 4037 w 7563"/>
                <a:gd name="T23" fmla="*/ 989 h 5431"/>
                <a:gd name="T24" fmla="*/ 3480 w 7563"/>
                <a:gd name="T25" fmla="*/ 1180 h 5431"/>
                <a:gd name="T26" fmla="*/ 3422 w 7563"/>
                <a:gd name="T27" fmla="*/ 1473 h 5431"/>
                <a:gd name="T28" fmla="*/ 4125 w 7563"/>
                <a:gd name="T29" fmla="*/ 1114 h 5431"/>
                <a:gd name="T30" fmla="*/ 4499 w 7563"/>
                <a:gd name="T31" fmla="*/ 887 h 5431"/>
                <a:gd name="T32" fmla="*/ 4961 w 7563"/>
                <a:gd name="T33" fmla="*/ 1473 h 5431"/>
                <a:gd name="T34" fmla="*/ 5591 w 7563"/>
                <a:gd name="T35" fmla="*/ 1979 h 5431"/>
                <a:gd name="T36" fmla="*/ 6140 w 7563"/>
                <a:gd name="T37" fmla="*/ 1642 h 5431"/>
                <a:gd name="T38" fmla="*/ 7042 w 7563"/>
                <a:gd name="T39" fmla="*/ 2411 h 5431"/>
                <a:gd name="T40" fmla="*/ 6485 w 7563"/>
                <a:gd name="T41" fmla="*/ 2763 h 5431"/>
                <a:gd name="T42" fmla="*/ 7034 w 7563"/>
                <a:gd name="T43" fmla="*/ 2990 h 5431"/>
                <a:gd name="T44" fmla="*/ 7430 w 7563"/>
                <a:gd name="T45" fmla="*/ 3950 h 5431"/>
                <a:gd name="T46" fmla="*/ 7196 w 7563"/>
                <a:gd name="T47" fmla="*/ 4668 h 5431"/>
                <a:gd name="T48" fmla="*/ 7100 w 7563"/>
                <a:gd name="T49" fmla="*/ 4104 h 5431"/>
                <a:gd name="T50" fmla="*/ 6653 w 7563"/>
                <a:gd name="T51" fmla="*/ 4148 h 5431"/>
                <a:gd name="T52" fmla="*/ 6265 w 7563"/>
                <a:gd name="T53" fmla="*/ 3869 h 5431"/>
                <a:gd name="T54" fmla="*/ 5825 w 7563"/>
                <a:gd name="T55" fmla="*/ 4419 h 5431"/>
                <a:gd name="T56" fmla="*/ 5539 w 7563"/>
                <a:gd name="T57" fmla="*/ 4815 h 5431"/>
                <a:gd name="T58" fmla="*/ 5093 w 7563"/>
                <a:gd name="T59" fmla="*/ 4807 h 5431"/>
                <a:gd name="T60" fmla="*/ 4689 w 7563"/>
                <a:gd name="T61" fmla="*/ 5027 h 5431"/>
                <a:gd name="T62" fmla="*/ 4162 w 7563"/>
                <a:gd name="T63" fmla="*/ 4968 h 5431"/>
                <a:gd name="T64" fmla="*/ 3715 w 7563"/>
                <a:gd name="T65" fmla="*/ 4888 h 5431"/>
                <a:gd name="T66" fmla="*/ 2997 w 7563"/>
                <a:gd name="T67" fmla="*/ 4631 h 5431"/>
                <a:gd name="T68" fmla="*/ 2623 w 7563"/>
                <a:gd name="T69" fmla="*/ 4836 h 5431"/>
                <a:gd name="T70" fmla="*/ 2066 w 7563"/>
                <a:gd name="T71" fmla="*/ 5012 h 5431"/>
                <a:gd name="T72" fmla="*/ 1619 w 7563"/>
                <a:gd name="T73" fmla="*/ 5379 h 5431"/>
                <a:gd name="T74" fmla="*/ 6434 w 7563"/>
                <a:gd name="T75" fmla="*/ 2477 h 5431"/>
                <a:gd name="T76" fmla="*/ 6441 w 7563"/>
                <a:gd name="T77" fmla="*/ 2411 h 5431"/>
                <a:gd name="T78" fmla="*/ 6580 w 7563"/>
                <a:gd name="T79" fmla="*/ 2330 h 5431"/>
                <a:gd name="T80" fmla="*/ 6448 w 7563"/>
                <a:gd name="T81" fmla="*/ 2037 h 5431"/>
                <a:gd name="T82" fmla="*/ 6309 w 7563"/>
                <a:gd name="T83" fmla="*/ 2133 h 5431"/>
                <a:gd name="T84" fmla="*/ 6104 w 7563"/>
                <a:gd name="T85" fmla="*/ 2169 h 5431"/>
                <a:gd name="T86" fmla="*/ 1890 w 7563"/>
                <a:gd name="T87" fmla="*/ 2191 h 5431"/>
                <a:gd name="T88" fmla="*/ 5364 w 7563"/>
                <a:gd name="T89" fmla="*/ 1392 h 5431"/>
                <a:gd name="T90" fmla="*/ 4975 w 7563"/>
                <a:gd name="T91" fmla="*/ 1348 h 5431"/>
                <a:gd name="T92" fmla="*/ 4851 w 7563"/>
                <a:gd name="T93" fmla="*/ 894 h 5431"/>
                <a:gd name="T94" fmla="*/ 4953 w 7563"/>
                <a:gd name="T95" fmla="*/ 462 h 5431"/>
                <a:gd name="T96" fmla="*/ 5144 w 7563"/>
                <a:gd name="T97" fmla="*/ 542 h 5431"/>
                <a:gd name="T98" fmla="*/ 5356 w 7563"/>
                <a:gd name="T99" fmla="*/ 586 h 5431"/>
                <a:gd name="T100" fmla="*/ 5723 w 7563"/>
                <a:gd name="T101" fmla="*/ 858 h 5431"/>
                <a:gd name="T102" fmla="*/ 5972 w 7563"/>
                <a:gd name="T103" fmla="*/ 1004 h 5431"/>
                <a:gd name="T104" fmla="*/ 5767 w 7563"/>
                <a:gd name="T105" fmla="*/ 1180 h 5431"/>
                <a:gd name="T106" fmla="*/ 5584 w 7563"/>
                <a:gd name="T107" fmla="*/ 1180 h 5431"/>
                <a:gd name="T108" fmla="*/ 5239 w 7563"/>
                <a:gd name="T109" fmla="*/ 1356 h 5431"/>
                <a:gd name="T110" fmla="*/ 4843 w 7563"/>
                <a:gd name="T111" fmla="*/ 865 h 5431"/>
                <a:gd name="T112" fmla="*/ 4990 w 7563"/>
                <a:gd name="T113" fmla="*/ 616 h 5431"/>
                <a:gd name="T114" fmla="*/ 5503 w 7563"/>
                <a:gd name="T115" fmla="*/ 469 h 5431"/>
                <a:gd name="T116" fmla="*/ 5642 w 7563"/>
                <a:gd name="T117" fmla="*/ 674 h 5431"/>
                <a:gd name="T118" fmla="*/ 5093 w 7563"/>
                <a:gd name="T119" fmla="*/ 59 h 5431"/>
                <a:gd name="T120" fmla="*/ 5144 w 7563"/>
                <a:gd name="T121" fmla="*/ 359 h 5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563" h="5431">
                  <a:moveTo>
                    <a:pt x="1363" y="5430"/>
                  </a:moveTo>
                  <a:lnTo>
                    <a:pt x="1363" y="5430"/>
                  </a:lnTo>
                  <a:cubicBezTo>
                    <a:pt x="1326" y="5401"/>
                    <a:pt x="1267" y="5379"/>
                    <a:pt x="1224" y="5379"/>
                  </a:cubicBezTo>
                  <a:cubicBezTo>
                    <a:pt x="1209" y="5379"/>
                    <a:pt x="1202" y="5379"/>
                    <a:pt x="1187" y="5379"/>
                  </a:cubicBezTo>
                  <a:cubicBezTo>
                    <a:pt x="1180" y="5386"/>
                    <a:pt x="1172" y="5386"/>
                    <a:pt x="1165" y="5386"/>
                  </a:cubicBezTo>
                  <a:cubicBezTo>
                    <a:pt x="1136" y="5386"/>
                    <a:pt x="1121" y="5371"/>
                    <a:pt x="1114" y="5349"/>
                  </a:cubicBezTo>
                  <a:cubicBezTo>
                    <a:pt x="1106" y="5320"/>
                    <a:pt x="1121" y="5283"/>
                    <a:pt x="1150" y="5261"/>
                  </a:cubicBezTo>
                  <a:cubicBezTo>
                    <a:pt x="1158" y="5261"/>
                    <a:pt x="1158" y="5254"/>
                    <a:pt x="1158" y="5254"/>
                  </a:cubicBezTo>
                  <a:cubicBezTo>
                    <a:pt x="1158" y="5239"/>
                    <a:pt x="1099" y="5203"/>
                    <a:pt x="1048" y="5188"/>
                  </a:cubicBezTo>
                  <a:cubicBezTo>
                    <a:pt x="989" y="5166"/>
                    <a:pt x="894" y="5042"/>
                    <a:pt x="872" y="4998"/>
                  </a:cubicBezTo>
                  <a:cubicBezTo>
                    <a:pt x="865" y="4976"/>
                    <a:pt x="843" y="4946"/>
                    <a:pt x="821" y="4910"/>
                  </a:cubicBezTo>
                  <a:cubicBezTo>
                    <a:pt x="799" y="4873"/>
                    <a:pt x="777" y="4836"/>
                    <a:pt x="755" y="4807"/>
                  </a:cubicBezTo>
                  <a:cubicBezTo>
                    <a:pt x="718" y="4734"/>
                    <a:pt x="696" y="4719"/>
                    <a:pt x="630" y="4712"/>
                  </a:cubicBezTo>
                  <a:cubicBezTo>
                    <a:pt x="630" y="4712"/>
                    <a:pt x="623" y="4712"/>
                    <a:pt x="615" y="4712"/>
                  </a:cubicBezTo>
                  <a:cubicBezTo>
                    <a:pt x="586" y="4712"/>
                    <a:pt x="572" y="4727"/>
                    <a:pt x="550" y="4756"/>
                  </a:cubicBezTo>
                  <a:cubicBezTo>
                    <a:pt x="542" y="4763"/>
                    <a:pt x="535" y="4778"/>
                    <a:pt x="527" y="4793"/>
                  </a:cubicBezTo>
                  <a:cubicBezTo>
                    <a:pt x="498" y="4822"/>
                    <a:pt x="469" y="4836"/>
                    <a:pt x="425" y="4836"/>
                  </a:cubicBezTo>
                  <a:cubicBezTo>
                    <a:pt x="410" y="4836"/>
                    <a:pt x="388" y="4836"/>
                    <a:pt x="374" y="4829"/>
                  </a:cubicBezTo>
                  <a:cubicBezTo>
                    <a:pt x="322" y="4807"/>
                    <a:pt x="256" y="4719"/>
                    <a:pt x="227" y="4675"/>
                  </a:cubicBezTo>
                  <a:cubicBezTo>
                    <a:pt x="212" y="4646"/>
                    <a:pt x="198" y="4646"/>
                    <a:pt x="183" y="4646"/>
                  </a:cubicBezTo>
                  <a:cubicBezTo>
                    <a:pt x="176" y="4646"/>
                    <a:pt x="168" y="4646"/>
                    <a:pt x="154" y="4653"/>
                  </a:cubicBezTo>
                  <a:cubicBezTo>
                    <a:pt x="146" y="4653"/>
                    <a:pt x="139" y="4653"/>
                    <a:pt x="132" y="4653"/>
                  </a:cubicBezTo>
                  <a:cubicBezTo>
                    <a:pt x="103" y="4653"/>
                    <a:pt x="59" y="4631"/>
                    <a:pt x="29" y="4617"/>
                  </a:cubicBezTo>
                  <a:cubicBezTo>
                    <a:pt x="22" y="4609"/>
                    <a:pt x="15" y="4602"/>
                    <a:pt x="15" y="4602"/>
                  </a:cubicBezTo>
                  <a:cubicBezTo>
                    <a:pt x="7" y="4602"/>
                    <a:pt x="7" y="4602"/>
                    <a:pt x="7" y="4602"/>
                  </a:cubicBezTo>
                  <a:cubicBezTo>
                    <a:pt x="7" y="4595"/>
                    <a:pt x="7" y="4595"/>
                    <a:pt x="7" y="4595"/>
                  </a:cubicBezTo>
                  <a:cubicBezTo>
                    <a:pt x="7" y="4587"/>
                    <a:pt x="15" y="4492"/>
                    <a:pt x="7" y="4419"/>
                  </a:cubicBezTo>
                  <a:cubicBezTo>
                    <a:pt x="0" y="4353"/>
                    <a:pt x="22" y="4338"/>
                    <a:pt x="59" y="4316"/>
                  </a:cubicBezTo>
                  <a:cubicBezTo>
                    <a:pt x="73" y="4309"/>
                    <a:pt x="81" y="4302"/>
                    <a:pt x="95" y="4294"/>
                  </a:cubicBezTo>
                  <a:cubicBezTo>
                    <a:pt x="161" y="4250"/>
                    <a:pt x="191" y="4236"/>
                    <a:pt x="256" y="4228"/>
                  </a:cubicBezTo>
                  <a:cubicBezTo>
                    <a:pt x="300" y="4221"/>
                    <a:pt x="315" y="4199"/>
                    <a:pt x="344" y="4162"/>
                  </a:cubicBezTo>
                  <a:cubicBezTo>
                    <a:pt x="352" y="4148"/>
                    <a:pt x="366" y="4133"/>
                    <a:pt x="388" y="4111"/>
                  </a:cubicBezTo>
                  <a:cubicBezTo>
                    <a:pt x="410" y="4089"/>
                    <a:pt x="410" y="4067"/>
                    <a:pt x="396" y="4030"/>
                  </a:cubicBezTo>
                  <a:cubicBezTo>
                    <a:pt x="396" y="4008"/>
                    <a:pt x="388" y="3986"/>
                    <a:pt x="388" y="3957"/>
                  </a:cubicBezTo>
                  <a:cubicBezTo>
                    <a:pt x="388" y="3935"/>
                    <a:pt x="388" y="3898"/>
                    <a:pt x="418" y="3898"/>
                  </a:cubicBezTo>
                  <a:cubicBezTo>
                    <a:pt x="432" y="3898"/>
                    <a:pt x="447" y="3906"/>
                    <a:pt x="462" y="3913"/>
                  </a:cubicBezTo>
                  <a:cubicBezTo>
                    <a:pt x="476" y="3920"/>
                    <a:pt x="491" y="3928"/>
                    <a:pt x="513" y="3935"/>
                  </a:cubicBezTo>
                  <a:cubicBezTo>
                    <a:pt x="513" y="3935"/>
                    <a:pt x="520" y="3935"/>
                    <a:pt x="527" y="3935"/>
                  </a:cubicBezTo>
                  <a:cubicBezTo>
                    <a:pt x="557" y="3935"/>
                    <a:pt x="579" y="3906"/>
                    <a:pt x="601" y="3825"/>
                  </a:cubicBezTo>
                  <a:cubicBezTo>
                    <a:pt x="608" y="3803"/>
                    <a:pt x="608" y="3781"/>
                    <a:pt x="608" y="3759"/>
                  </a:cubicBezTo>
                  <a:cubicBezTo>
                    <a:pt x="615" y="3715"/>
                    <a:pt x="615" y="3671"/>
                    <a:pt x="645" y="3620"/>
                  </a:cubicBezTo>
                  <a:cubicBezTo>
                    <a:pt x="659" y="3591"/>
                    <a:pt x="659" y="3576"/>
                    <a:pt x="659" y="3569"/>
                  </a:cubicBezTo>
                  <a:cubicBezTo>
                    <a:pt x="652" y="3561"/>
                    <a:pt x="630" y="3561"/>
                    <a:pt x="608" y="3554"/>
                  </a:cubicBezTo>
                  <a:cubicBezTo>
                    <a:pt x="593" y="3554"/>
                    <a:pt x="586" y="3554"/>
                    <a:pt x="579" y="3554"/>
                  </a:cubicBezTo>
                  <a:cubicBezTo>
                    <a:pt x="520" y="3547"/>
                    <a:pt x="454" y="3525"/>
                    <a:pt x="388" y="3503"/>
                  </a:cubicBezTo>
                  <a:cubicBezTo>
                    <a:pt x="344" y="3488"/>
                    <a:pt x="330" y="3444"/>
                    <a:pt x="322" y="3415"/>
                  </a:cubicBezTo>
                  <a:cubicBezTo>
                    <a:pt x="315" y="3393"/>
                    <a:pt x="308" y="3371"/>
                    <a:pt x="293" y="3364"/>
                  </a:cubicBezTo>
                  <a:cubicBezTo>
                    <a:pt x="227" y="3327"/>
                    <a:pt x="264" y="3239"/>
                    <a:pt x="278" y="3210"/>
                  </a:cubicBezTo>
                  <a:cubicBezTo>
                    <a:pt x="293" y="3180"/>
                    <a:pt x="278" y="3151"/>
                    <a:pt x="264" y="3122"/>
                  </a:cubicBezTo>
                  <a:cubicBezTo>
                    <a:pt x="249" y="3093"/>
                    <a:pt x="242" y="3070"/>
                    <a:pt x="234" y="3041"/>
                  </a:cubicBezTo>
                  <a:cubicBezTo>
                    <a:pt x="227" y="2960"/>
                    <a:pt x="249" y="2939"/>
                    <a:pt x="337" y="2880"/>
                  </a:cubicBezTo>
                  <a:cubicBezTo>
                    <a:pt x="388" y="2843"/>
                    <a:pt x="403" y="2829"/>
                    <a:pt x="418" y="2807"/>
                  </a:cubicBezTo>
                  <a:cubicBezTo>
                    <a:pt x="432" y="2792"/>
                    <a:pt x="440" y="2777"/>
                    <a:pt x="462" y="2763"/>
                  </a:cubicBezTo>
                  <a:cubicBezTo>
                    <a:pt x="491" y="2734"/>
                    <a:pt x="505" y="2675"/>
                    <a:pt x="513" y="2638"/>
                  </a:cubicBezTo>
                  <a:cubicBezTo>
                    <a:pt x="513" y="2609"/>
                    <a:pt x="513" y="2609"/>
                    <a:pt x="513" y="2609"/>
                  </a:cubicBezTo>
                  <a:cubicBezTo>
                    <a:pt x="535" y="2631"/>
                    <a:pt x="535" y="2631"/>
                    <a:pt x="535" y="2631"/>
                  </a:cubicBezTo>
                  <a:cubicBezTo>
                    <a:pt x="542" y="2631"/>
                    <a:pt x="542" y="2631"/>
                    <a:pt x="542" y="2631"/>
                  </a:cubicBezTo>
                  <a:cubicBezTo>
                    <a:pt x="550" y="2631"/>
                    <a:pt x="564" y="2631"/>
                    <a:pt x="586" y="2624"/>
                  </a:cubicBezTo>
                  <a:cubicBezTo>
                    <a:pt x="637" y="2601"/>
                    <a:pt x="791" y="2484"/>
                    <a:pt x="835" y="2440"/>
                  </a:cubicBezTo>
                  <a:cubicBezTo>
                    <a:pt x="865" y="2418"/>
                    <a:pt x="916" y="2411"/>
                    <a:pt x="938" y="2411"/>
                  </a:cubicBezTo>
                  <a:cubicBezTo>
                    <a:pt x="989" y="2411"/>
                    <a:pt x="1077" y="2426"/>
                    <a:pt x="1092" y="2470"/>
                  </a:cubicBezTo>
                  <a:cubicBezTo>
                    <a:pt x="1099" y="2499"/>
                    <a:pt x="1165" y="2521"/>
                    <a:pt x="1216" y="2528"/>
                  </a:cubicBezTo>
                  <a:cubicBezTo>
                    <a:pt x="1246" y="2536"/>
                    <a:pt x="1246" y="2536"/>
                    <a:pt x="1246" y="2536"/>
                  </a:cubicBezTo>
                  <a:cubicBezTo>
                    <a:pt x="1224" y="2558"/>
                    <a:pt x="1224" y="2558"/>
                    <a:pt x="1224" y="2558"/>
                  </a:cubicBezTo>
                  <a:cubicBezTo>
                    <a:pt x="1224" y="2558"/>
                    <a:pt x="1172" y="2601"/>
                    <a:pt x="1216" y="2682"/>
                  </a:cubicBezTo>
                  <a:cubicBezTo>
                    <a:pt x="1224" y="2711"/>
                    <a:pt x="1238" y="2711"/>
                    <a:pt x="1246" y="2711"/>
                  </a:cubicBezTo>
                  <a:cubicBezTo>
                    <a:pt x="1275" y="2711"/>
                    <a:pt x="1312" y="2667"/>
                    <a:pt x="1326" y="2646"/>
                  </a:cubicBezTo>
                  <a:cubicBezTo>
                    <a:pt x="1334" y="2638"/>
                    <a:pt x="1334" y="2638"/>
                    <a:pt x="1334" y="2638"/>
                  </a:cubicBezTo>
                  <a:cubicBezTo>
                    <a:pt x="1399" y="2667"/>
                    <a:pt x="1399" y="2667"/>
                    <a:pt x="1399" y="2667"/>
                  </a:cubicBezTo>
                  <a:cubicBezTo>
                    <a:pt x="1429" y="2675"/>
                    <a:pt x="1451" y="2689"/>
                    <a:pt x="1480" y="2711"/>
                  </a:cubicBezTo>
                  <a:cubicBezTo>
                    <a:pt x="1509" y="2726"/>
                    <a:pt x="1539" y="2748"/>
                    <a:pt x="1583" y="2770"/>
                  </a:cubicBezTo>
                  <a:cubicBezTo>
                    <a:pt x="1597" y="2777"/>
                    <a:pt x="1605" y="2777"/>
                    <a:pt x="1612" y="2777"/>
                  </a:cubicBezTo>
                  <a:cubicBezTo>
                    <a:pt x="1619" y="2777"/>
                    <a:pt x="1627" y="2777"/>
                    <a:pt x="1627" y="2777"/>
                  </a:cubicBezTo>
                  <a:cubicBezTo>
                    <a:pt x="1641" y="2763"/>
                    <a:pt x="1641" y="2719"/>
                    <a:pt x="1641" y="2675"/>
                  </a:cubicBezTo>
                  <a:cubicBezTo>
                    <a:pt x="1641" y="2646"/>
                    <a:pt x="1641" y="2646"/>
                    <a:pt x="1641" y="2646"/>
                  </a:cubicBezTo>
                  <a:cubicBezTo>
                    <a:pt x="1641" y="2616"/>
                    <a:pt x="1641" y="2594"/>
                    <a:pt x="1641" y="2579"/>
                  </a:cubicBezTo>
                  <a:cubicBezTo>
                    <a:pt x="1641" y="2565"/>
                    <a:pt x="1649" y="2558"/>
                    <a:pt x="1641" y="2550"/>
                  </a:cubicBezTo>
                  <a:cubicBezTo>
                    <a:pt x="1649" y="2558"/>
                    <a:pt x="1641" y="2558"/>
                    <a:pt x="1634" y="2558"/>
                  </a:cubicBezTo>
                  <a:cubicBezTo>
                    <a:pt x="1612" y="2565"/>
                    <a:pt x="1612" y="2565"/>
                    <a:pt x="1612" y="2565"/>
                  </a:cubicBezTo>
                  <a:cubicBezTo>
                    <a:pt x="1605" y="2572"/>
                    <a:pt x="1590" y="2572"/>
                    <a:pt x="1546" y="2594"/>
                  </a:cubicBezTo>
                  <a:cubicBezTo>
                    <a:pt x="1531" y="2601"/>
                    <a:pt x="1517" y="2601"/>
                    <a:pt x="1502" y="2601"/>
                  </a:cubicBezTo>
                  <a:cubicBezTo>
                    <a:pt x="1480" y="2601"/>
                    <a:pt x="1465" y="2587"/>
                    <a:pt x="1465" y="2579"/>
                  </a:cubicBezTo>
                  <a:cubicBezTo>
                    <a:pt x="1451" y="2543"/>
                    <a:pt x="1480" y="2492"/>
                    <a:pt x="1509" y="2455"/>
                  </a:cubicBezTo>
                  <a:cubicBezTo>
                    <a:pt x="1568" y="2382"/>
                    <a:pt x="1634" y="2382"/>
                    <a:pt x="1707" y="2382"/>
                  </a:cubicBezTo>
                  <a:cubicBezTo>
                    <a:pt x="1722" y="2382"/>
                    <a:pt x="1736" y="2382"/>
                    <a:pt x="1744" y="2382"/>
                  </a:cubicBezTo>
                  <a:cubicBezTo>
                    <a:pt x="1758" y="2382"/>
                    <a:pt x="1758" y="2382"/>
                    <a:pt x="1758" y="2382"/>
                  </a:cubicBezTo>
                  <a:cubicBezTo>
                    <a:pt x="1773" y="2382"/>
                    <a:pt x="1773" y="2382"/>
                    <a:pt x="1795" y="2352"/>
                  </a:cubicBezTo>
                  <a:cubicBezTo>
                    <a:pt x="1803" y="2345"/>
                    <a:pt x="1803" y="2345"/>
                    <a:pt x="1803" y="2345"/>
                  </a:cubicBezTo>
                  <a:cubicBezTo>
                    <a:pt x="1817" y="2316"/>
                    <a:pt x="1832" y="2301"/>
                    <a:pt x="1854" y="2286"/>
                  </a:cubicBezTo>
                  <a:cubicBezTo>
                    <a:pt x="1876" y="2265"/>
                    <a:pt x="1898" y="2243"/>
                    <a:pt x="1912" y="2198"/>
                  </a:cubicBezTo>
                  <a:cubicBezTo>
                    <a:pt x="1927" y="2155"/>
                    <a:pt x="1912" y="2110"/>
                    <a:pt x="1905" y="2089"/>
                  </a:cubicBezTo>
                  <a:cubicBezTo>
                    <a:pt x="1898" y="2081"/>
                    <a:pt x="1898" y="2081"/>
                    <a:pt x="1898" y="2081"/>
                  </a:cubicBezTo>
                  <a:cubicBezTo>
                    <a:pt x="1898" y="2074"/>
                    <a:pt x="1898" y="2074"/>
                    <a:pt x="1898" y="2074"/>
                  </a:cubicBezTo>
                  <a:cubicBezTo>
                    <a:pt x="1905" y="2052"/>
                    <a:pt x="1927" y="2037"/>
                    <a:pt x="1942" y="2023"/>
                  </a:cubicBezTo>
                  <a:cubicBezTo>
                    <a:pt x="1964" y="2008"/>
                    <a:pt x="1978" y="1993"/>
                    <a:pt x="1993" y="1971"/>
                  </a:cubicBezTo>
                  <a:cubicBezTo>
                    <a:pt x="2015" y="1927"/>
                    <a:pt x="2037" y="1927"/>
                    <a:pt x="2066" y="1927"/>
                  </a:cubicBezTo>
                  <a:cubicBezTo>
                    <a:pt x="2088" y="1927"/>
                    <a:pt x="2110" y="1927"/>
                    <a:pt x="2147" y="1920"/>
                  </a:cubicBezTo>
                  <a:cubicBezTo>
                    <a:pt x="2162" y="1913"/>
                    <a:pt x="2176" y="1913"/>
                    <a:pt x="2191" y="1913"/>
                  </a:cubicBezTo>
                  <a:cubicBezTo>
                    <a:pt x="2235" y="1913"/>
                    <a:pt x="2264" y="1935"/>
                    <a:pt x="2286" y="1949"/>
                  </a:cubicBezTo>
                  <a:cubicBezTo>
                    <a:pt x="2301" y="1964"/>
                    <a:pt x="2315" y="1979"/>
                    <a:pt x="2337" y="1986"/>
                  </a:cubicBezTo>
                  <a:cubicBezTo>
                    <a:pt x="2345" y="1986"/>
                    <a:pt x="2352" y="1986"/>
                    <a:pt x="2367" y="1986"/>
                  </a:cubicBezTo>
                  <a:cubicBezTo>
                    <a:pt x="2396" y="1986"/>
                    <a:pt x="2418" y="1964"/>
                    <a:pt x="2462" y="1927"/>
                  </a:cubicBezTo>
                  <a:cubicBezTo>
                    <a:pt x="2469" y="1913"/>
                    <a:pt x="2491" y="1898"/>
                    <a:pt x="2506" y="1884"/>
                  </a:cubicBezTo>
                  <a:cubicBezTo>
                    <a:pt x="2565" y="1832"/>
                    <a:pt x="2645" y="1832"/>
                    <a:pt x="2718" y="1832"/>
                  </a:cubicBezTo>
                  <a:cubicBezTo>
                    <a:pt x="2748" y="1832"/>
                    <a:pt x="2770" y="1832"/>
                    <a:pt x="2799" y="1825"/>
                  </a:cubicBezTo>
                  <a:cubicBezTo>
                    <a:pt x="2872" y="1817"/>
                    <a:pt x="2880" y="1810"/>
                    <a:pt x="2887" y="1781"/>
                  </a:cubicBezTo>
                  <a:cubicBezTo>
                    <a:pt x="2902" y="1737"/>
                    <a:pt x="2946" y="1649"/>
                    <a:pt x="3004" y="1605"/>
                  </a:cubicBezTo>
                  <a:cubicBezTo>
                    <a:pt x="3063" y="1554"/>
                    <a:pt x="3063" y="1554"/>
                    <a:pt x="3063" y="1554"/>
                  </a:cubicBezTo>
                  <a:cubicBezTo>
                    <a:pt x="3122" y="1510"/>
                    <a:pt x="3202" y="1444"/>
                    <a:pt x="3231" y="1422"/>
                  </a:cubicBezTo>
                  <a:cubicBezTo>
                    <a:pt x="3253" y="1407"/>
                    <a:pt x="3253" y="1407"/>
                    <a:pt x="3253" y="1407"/>
                  </a:cubicBezTo>
                  <a:cubicBezTo>
                    <a:pt x="3290" y="1378"/>
                    <a:pt x="3319" y="1363"/>
                    <a:pt x="3319" y="1319"/>
                  </a:cubicBezTo>
                  <a:cubicBezTo>
                    <a:pt x="3319" y="1260"/>
                    <a:pt x="3363" y="1195"/>
                    <a:pt x="3407" y="1121"/>
                  </a:cubicBezTo>
                  <a:cubicBezTo>
                    <a:pt x="3429" y="1085"/>
                    <a:pt x="3429" y="1085"/>
                    <a:pt x="3429" y="1085"/>
                  </a:cubicBezTo>
                  <a:cubicBezTo>
                    <a:pt x="3466" y="1041"/>
                    <a:pt x="3480" y="1019"/>
                    <a:pt x="3495" y="953"/>
                  </a:cubicBezTo>
                  <a:cubicBezTo>
                    <a:pt x="3524" y="865"/>
                    <a:pt x="3561" y="806"/>
                    <a:pt x="3605" y="784"/>
                  </a:cubicBezTo>
                  <a:cubicBezTo>
                    <a:pt x="3612" y="784"/>
                    <a:pt x="3620" y="777"/>
                    <a:pt x="3627" y="777"/>
                  </a:cubicBezTo>
                  <a:cubicBezTo>
                    <a:pt x="3656" y="777"/>
                    <a:pt x="3678" y="806"/>
                    <a:pt x="3693" y="836"/>
                  </a:cubicBezTo>
                  <a:cubicBezTo>
                    <a:pt x="3708" y="858"/>
                    <a:pt x="3722" y="879"/>
                    <a:pt x="3737" y="887"/>
                  </a:cubicBezTo>
                  <a:cubicBezTo>
                    <a:pt x="3744" y="887"/>
                    <a:pt x="3766" y="894"/>
                    <a:pt x="3810" y="894"/>
                  </a:cubicBezTo>
                  <a:cubicBezTo>
                    <a:pt x="3854" y="894"/>
                    <a:pt x="3905" y="894"/>
                    <a:pt x="3949" y="887"/>
                  </a:cubicBezTo>
                  <a:cubicBezTo>
                    <a:pt x="3986" y="887"/>
                    <a:pt x="4015" y="887"/>
                    <a:pt x="4037" y="887"/>
                  </a:cubicBezTo>
                  <a:cubicBezTo>
                    <a:pt x="4103" y="887"/>
                    <a:pt x="4272" y="872"/>
                    <a:pt x="4353" y="865"/>
                  </a:cubicBezTo>
                  <a:cubicBezTo>
                    <a:pt x="4360" y="858"/>
                    <a:pt x="4374" y="858"/>
                    <a:pt x="4382" y="858"/>
                  </a:cubicBezTo>
                  <a:cubicBezTo>
                    <a:pt x="4411" y="858"/>
                    <a:pt x="4433" y="865"/>
                    <a:pt x="4462" y="872"/>
                  </a:cubicBezTo>
                  <a:cubicBezTo>
                    <a:pt x="4477" y="879"/>
                    <a:pt x="4477" y="879"/>
                    <a:pt x="4477" y="879"/>
                  </a:cubicBezTo>
                  <a:cubicBezTo>
                    <a:pt x="4462" y="901"/>
                    <a:pt x="4462" y="901"/>
                    <a:pt x="4462" y="901"/>
                  </a:cubicBezTo>
                  <a:cubicBezTo>
                    <a:pt x="4455" y="916"/>
                    <a:pt x="4440" y="931"/>
                    <a:pt x="4426" y="938"/>
                  </a:cubicBezTo>
                  <a:cubicBezTo>
                    <a:pt x="4396" y="960"/>
                    <a:pt x="4367" y="967"/>
                    <a:pt x="4323" y="967"/>
                  </a:cubicBezTo>
                  <a:cubicBezTo>
                    <a:pt x="4308" y="975"/>
                    <a:pt x="4286" y="975"/>
                    <a:pt x="4257" y="982"/>
                  </a:cubicBezTo>
                  <a:cubicBezTo>
                    <a:pt x="4221" y="989"/>
                    <a:pt x="4184" y="997"/>
                    <a:pt x="4147" y="997"/>
                  </a:cubicBezTo>
                  <a:cubicBezTo>
                    <a:pt x="4118" y="997"/>
                    <a:pt x="4089" y="989"/>
                    <a:pt x="4059" y="989"/>
                  </a:cubicBezTo>
                  <a:cubicBezTo>
                    <a:pt x="4037" y="989"/>
                    <a:pt x="4037" y="989"/>
                    <a:pt x="4037" y="989"/>
                  </a:cubicBezTo>
                  <a:cubicBezTo>
                    <a:pt x="4015" y="989"/>
                    <a:pt x="4001" y="982"/>
                    <a:pt x="3986" y="982"/>
                  </a:cubicBezTo>
                  <a:cubicBezTo>
                    <a:pt x="3964" y="982"/>
                    <a:pt x="3957" y="982"/>
                    <a:pt x="3942" y="982"/>
                  </a:cubicBezTo>
                  <a:cubicBezTo>
                    <a:pt x="3920" y="982"/>
                    <a:pt x="3905" y="982"/>
                    <a:pt x="3884" y="989"/>
                  </a:cubicBezTo>
                  <a:cubicBezTo>
                    <a:pt x="3832" y="1004"/>
                    <a:pt x="3810" y="1026"/>
                    <a:pt x="3759" y="1077"/>
                  </a:cubicBezTo>
                  <a:cubicBezTo>
                    <a:pt x="3737" y="1099"/>
                    <a:pt x="3737" y="1099"/>
                    <a:pt x="3737" y="1099"/>
                  </a:cubicBezTo>
                  <a:cubicBezTo>
                    <a:pt x="3708" y="1129"/>
                    <a:pt x="3686" y="1143"/>
                    <a:pt x="3664" y="1143"/>
                  </a:cubicBezTo>
                  <a:cubicBezTo>
                    <a:pt x="3656" y="1143"/>
                    <a:pt x="3642" y="1143"/>
                    <a:pt x="3627" y="1136"/>
                  </a:cubicBezTo>
                  <a:cubicBezTo>
                    <a:pt x="3620" y="1136"/>
                    <a:pt x="3605" y="1129"/>
                    <a:pt x="3590" y="1121"/>
                  </a:cubicBezTo>
                  <a:cubicBezTo>
                    <a:pt x="3576" y="1121"/>
                    <a:pt x="3568" y="1121"/>
                    <a:pt x="3554" y="1121"/>
                  </a:cubicBezTo>
                  <a:cubicBezTo>
                    <a:pt x="3532" y="1121"/>
                    <a:pt x="3524" y="1129"/>
                    <a:pt x="3510" y="1151"/>
                  </a:cubicBezTo>
                  <a:cubicBezTo>
                    <a:pt x="3503" y="1158"/>
                    <a:pt x="3488" y="1173"/>
                    <a:pt x="3480" y="1180"/>
                  </a:cubicBezTo>
                  <a:cubicBezTo>
                    <a:pt x="3451" y="1217"/>
                    <a:pt x="3444" y="1239"/>
                    <a:pt x="3444" y="1268"/>
                  </a:cubicBezTo>
                  <a:cubicBezTo>
                    <a:pt x="3436" y="1283"/>
                    <a:pt x="3436" y="1297"/>
                    <a:pt x="3429" y="1319"/>
                  </a:cubicBezTo>
                  <a:cubicBezTo>
                    <a:pt x="3422" y="1348"/>
                    <a:pt x="3400" y="1370"/>
                    <a:pt x="3385" y="1392"/>
                  </a:cubicBezTo>
                  <a:cubicBezTo>
                    <a:pt x="3371" y="1400"/>
                    <a:pt x="3363" y="1407"/>
                    <a:pt x="3356" y="1422"/>
                  </a:cubicBezTo>
                  <a:cubicBezTo>
                    <a:pt x="3356" y="1429"/>
                    <a:pt x="3356" y="1451"/>
                    <a:pt x="3348" y="1495"/>
                  </a:cubicBezTo>
                  <a:cubicBezTo>
                    <a:pt x="3341" y="1510"/>
                    <a:pt x="3341" y="1510"/>
                    <a:pt x="3363" y="1517"/>
                  </a:cubicBezTo>
                  <a:cubicBezTo>
                    <a:pt x="3378" y="1517"/>
                    <a:pt x="3393" y="1524"/>
                    <a:pt x="3407" y="1539"/>
                  </a:cubicBezTo>
                  <a:cubicBezTo>
                    <a:pt x="3415" y="1546"/>
                    <a:pt x="3436" y="1561"/>
                    <a:pt x="3488" y="1561"/>
                  </a:cubicBezTo>
                  <a:cubicBezTo>
                    <a:pt x="3495" y="1561"/>
                    <a:pt x="3503" y="1561"/>
                    <a:pt x="3510" y="1554"/>
                  </a:cubicBezTo>
                  <a:cubicBezTo>
                    <a:pt x="3495" y="1546"/>
                    <a:pt x="3473" y="1524"/>
                    <a:pt x="3444" y="1510"/>
                  </a:cubicBezTo>
                  <a:cubicBezTo>
                    <a:pt x="3436" y="1502"/>
                    <a:pt x="3422" y="1488"/>
                    <a:pt x="3422" y="1473"/>
                  </a:cubicBezTo>
                  <a:cubicBezTo>
                    <a:pt x="3422" y="1458"/>
                    <a:pt x="3436" y="1451"/>
                    <a:pt x="3444" y="1444"/>
                  </a:cubicBezTo>
                  <a:cubicBezTo>
                    <a:pt x="3458" y="1429"/>
                    <a:pt x="3473" y="1415"/>
                    <a:pt x="3488" y="1385"/>
                  </a:cubicBezTo>
                  <a:cubicBezTo>
                    <a:pt x="3510" y="1341"/>
                    <a:pt x="3532" y="1327"/>
                    <a:pt x="3554" y="1312"/>
                  </a:cubicBezTo>
                  <a:cubicBezTo>
                    <a:pt x="3576" y="1305"/>
                    <a:pt x="3598" y="1297"/>
                    <a:pt x="3627" y="1268"/>
                  </a:cubicBezTo>
                  <a:cubicBezTo>
                    <a:pt x="3708" y="1202"/>
                    <a:pt x="3766" y="1165"/>
                    <a:pt x="3862" y="1107"/>
                  </a:cubicBezTo>
                  <a:cubicBezTo>
                    <a:pt x="3884" y="1099"/>
                    <a:pt x="3891" y="1092"/>
                    <a:pt x="3905" y="1085"/>
                  </a:cubicBezTo>
                  <a:cubicBezTo>
                    <a:pt x="3920" y="1070"/>
                    <a:pt x="3927" y="1070"/>
                    <a:pt x="3935" y="1070"/>
                  </a:cubicBezTo>
                  <a:cubicBezTo>
                    <a:pt x="3949" y="1070"/>
                    <a:pt x="3949" y="1077"/>
                    <a:pt x="3957" y="1077"/>
                  </a:cubicBezTo>
                  <a:cubicBezTo>
                    <a:pt x="3957" y="1085"/>
                    <a:pt x="3957" y="1085"/>
                    <a:pt x="3971" y="1092"/>
                  </a:cubicBezTo>
                  <a:cubicBezTo>
                    <a:pt x="4008" y="1114"/>
                    <a:pt x="4030" y="1121"/>
                    <a:pt x="4089" y="1121"/>
                  </a:cubicBezTo>
                  <a:cubicBezTo>
                    <a:pt x="4103" y="1121"/>
                    <a:pt x="4118" y="1121"/>
                    <a:pt x="4125" y="1114"/>
                  </a:cubicBezTo>
                  <a:cubicBezTo>
                    <a:pt x="4133" y="1114"/>
                    <a:pt x="4140" y="1114"/>
                    <a:pt x="4147" y="1114"/>
                  </a:cubicBezTo>
                  <a:cubicBezTo>
                    <a:pt x="4162" y="1114"/>
                    <a:pt x="4177" y="1121"/>
                    <a:pt x="4198" y="1143"/>
                  </a:cubicBezTo>
                  <a:cubicBezTo>
                    <a:pt x="4228" y="1173"/>
                    <a:pt x="4235" y="1173"/>
                    <a:pt x="4243" y="1173"/>
                  </a:cubicBezTo>
                  <a:cubicBezTo>
                    <a:pt x="4243" y="1173"/>
                    <a:pt x="4250" y="1173"/>
                    <a:pt x="4257" y="1173"/>
                  </a:cubicBezTo>
                  <a:cubicBezTo>
                    <a:pt x="4265" y="1173"/>
                    <a:pt x="4279" y="1173"/>
                    <a:pt x="4286" y="1165"/>
                  </a:cubicBezTo>
                  <a:cubicBezTo>
                    <a:pt x="4323" y="1165"/>
                    <a:pt x="4323" y="1158"/>
                    <a:pt x="4338" y="1114"/>
                  </a:cubicBezTo>
                  <a:cubicBezTo>
                    <a:pt x="4338" y="1092"/>
                    <a:pt x="4345" y="1070"/>
                    <a:pt x="4353" y="1041"/>
                  </a:cubicBezTo>
                  <a:cubicBezTo>
                    <a:pt x="4360" y="1034"/>
                    <a:pt x="4360" y="1034"/>
                    <a:pt x="4360" y="1034"/>
                  </a:cubicBezTo>
                  <a:cubicBezTo>
                    <a:pt x="4374" y="975"/>
                    <a:pt x="4382" y="967"/>
                    <a:pt x="4396" y="967"/>
                  </a:cubicBezTo>
                  <a:cubicBezTo>
                    <a:pt x="4404" y="967"/>
                    <a:pt x="4411" y="967"/>
                    <a:pt x="4426" y="953"/>
                  </a:cubicBezTo>
                  <a:cubicBezTo>
                    <a:pt x="4470" y="924"/>
                    <a:pt x="4484" y="916"/>
                    <a:pt x="4499" y="887"/>
                  </a:cubicBezTo>
                  <a:cubicBezTo>
                    <a:pt x="4506" y="879"/>
                    <a:pt x="4506" y="879"/>
                    <a:pt x="4506" y="879"/>
                  </a:cubicBezTo>
                  <a:cubicBezTo>
                    <a:pt x="4514" y="879"/>
                    <a:pt x="4514" y="879"/>
                    <a:pt x="4514" y="879"/>
                  </a:cubicBezTo>
                  <a:cubicBezTo>
                    <a:pt x="4550" y="879"/>
                    <a:pt x="4572" y="894"/>
                    <a:pt x="4587" y="909"/>
                  </a:cubicBezTo>
                  <a:cubicBezTo>
                    <a:pt x="4594" y="924"/>
                    <a:pt x="4602" y="938"/>
                    <a:pt x="4594" y="960"/>
                  </a:cubicBezTo>
                  <a:cubicBezTo>
                    <a:pt x="4587" y="997"/>
                    <a:pt x="4624" y="1011"/>
                    <a:pt x="4675" y="1026"/>
                  </a:cubicBezTo>
                  <a:cubicBezTo>
                    <a:pt x="4704" y="1034"/>
                    <a:pt x="4734" y="1048"/>
                    <a:pt x="4741" y="1063"/>
                  </a:cubicBezTo>
                  <a:cubicBezTo>
                    <a:pt x="4748" y="1070"/>
                    <a:pt x="4748" y="1070"/>
                    <a:pt x="4748" y="1070"/>
                  </a:cubicBezTo>
                  <a:cubicBezTo>
                    <a:pt x="4748" y="1085"/>
                    <a:pt x="4748" y="1085"/>
                    <a:pt x="4748" y="1085"/>
                  </a:cubicBezTo>
                  <a:cubicBezTo>
                    <a:pt x="4719" y="1165"/>
                    <a:pt x="4719" y="1217"/>
                    <a:pt x="4726" y="1224"/>
                  </a:cubicBezTo>
                  <a:cubicBezTo>
                    <a:pt x="4763" y="1268"/>
                    <a:pt x="4799" y="1356"/>
                    <a:pt x="4814" y="1378"/>
                  </a:cubicBezTo>
                  <a:cubicBezTo>
                    <a:pt x="4829" y="1415"/>
                    <a:pt x="4880" y="1451"/>
                    <a:pt x="4961" y="1473"/>
                  </a:cubicBezTo>
                  <a:cubicBezTo>
                    <a:pt x="4983" y="1480"/>
                    <a:pt x="5012" y="1488"/>
                    <a:pt x="5056" y="1488"/>
                  </a:cubicBezTo>
                  <a:cubicBezTo>
                    <a:pt x="5056" y="1495"/>
                    <a:pt x="5056" y="1495"/>
                    <a:pt x="5056" y="1495"/>
                  </a:cubicBezTo>
                  <a:cubicBezTo>
                    <a:pt x="5107" y="1495"/>
                    <a:pt x="5158" y="1502"/>
                    <a:pt x="5180" y="1554"/>
                  </a:cubicBezTo>
                  <a:cubicBezTo>
                    <a:pt x="5188" y="1561"/>
                    <a:pt x="5195" y="1576"/>
                    <a:pt x="5195" y="1583"/>
                  </a:cubicBezTo>
                  <a:cubicBezTo>
                    <a:pt x="5217" y="1620"/>
                    <a:pt x="5246" y="1686"/>
                    <a:pt x="5261" y="1693"/>
                  </a:cubicBezTo>
                  <a:cubicBezTo>
                    <a:pt x="5268" y="1693"/>
                    <a:pt x="5268" y="1693"/>
                    <a:pt x="5276" y="1693"/>
                  </a:cubicBezTo>
                  <a:cubicBezTo>
                    <a:pt x="5290" y="1693"/>
                    <a:pt x="5298" y="1693"/>
                    <a:pt x="5305" y="1693"/>
                  </a:cubicBezTo>
                  <a:cubicBezTo>
                    <a:pt x="5320" y="1693"/>
                    <a:pt x="5327" y="1686"/>
                    <a:pt x="5334" y="1686"/>
                  </a:cubicBezTo>
                  <a:cubicBezTo>
                    <a:pt x="5378" y="1686"/>
                    <a:pt x="5386" y="1715"/>
                    <a:pt x="5386" y="1729"/>
                  </a:cubicBezTo>
                  <a:cubicBezTo>
                    <a:pt x="5386" y="1774"/>
                    <a:pt x="5400" y="1825"/>
                    <a:pt x="5488" y="1913"/>
                  </a:cubicBezTo>
                  <a:cubicBezTo>
                    <a:pt x="5539" y="1964"/>
                    <a:pt x="5576" y="1979"/>
                    <a:pt x="5591" y="1979"/>
                  </a:cubicBezTo>
                  <a:cubicBezTo>
                    <a:pt x="5591" y="1979"/>
                    <a:pt x="5591" y="1979"/>
                    <a:pt x="5584" y="1971"/>
                  </a:cubicBezTo>
                  <a:cubicBezTo>
                    <a:pt x="5576" y="1957"/>
                    <a:pt x="5576" y="1957"/>
                    <a:pt x="5576" y="1957"/>
                  </a:cubicBezTo>
                  <a:cubicBezTo>
                    <a:pt x="5561" y="1920"/>
                    <a:pt x="5539" y="1884"/>
                    <a:pt x="5554" y="1861"/>
                  </a:cubicBezTo>
                  <a:cubicBezTo>
                    <a:pt x="5561" y="1854"/>
                    <a:pt x="5569" y="1847"/>
                    <a:pt x="5591" y="1847"/>
                  </a:cubicBezTo>
                  <a:cubicBezTo>
                    <a:pt x="5642" y="1847"/>
                    <a:pt x="5745" y="1832"/>
                    <a:pt x="5803" y="1781"/>
                  </a:cubicBezTo>
                  <a:cubicBezTo>
                    <a:pt x="5847" y="1744"/>
                    <a:pt x="5884" y="1729"/>
                    <a:pt x="5920" y="1729"/>
                  </a:cubicBezTo>
                  <a:cubicBezTo>
                    <a:pt x="5943" y="1729"/>
                    <a:pt x="5972" y="1737"/>
                    <a:pt x="6001" y="1759"/>
                  </a:cubicBezTo>
                  <a:cubicBezTo>
                    <a:pt x="6038" y="1781"/>
                    <a:pt x="6052" y="1788"/>
                    <a:pt x="6067" y="1788"/>
                  </a:cubicBezTo>
                  <a:lnTo>
                    <a:pt x="6074" y="1788"/>
                  </a:lnTo>
                  <a:cubicBezTo>
                    <a:pt x="6082" y="1744"/>
                    <a:pt x="6104" y="1656"/>
                    <a:pt x="6140" y="1649"/>
                  </a:cubicBezTo>
                  <a:cubicBezTo>
                    <a:pt x="6140" y="1642"/>
                    <a:pt x="6140" y="1642"/>
                    <a:pt x="6140" y="1642"/>
                  </a:cubicBezTo>
                  <a:cubicBezTo>
                    <a:pt x="6148" y="1642"/>
                    <a:pt x="6148" y="1642"/>
                    <a:pt x="6148" y="1642"/>
                  </a:cubicBezTo>
                  <a:cubicBezTo>
                    <a:pt x="6177" y="1642"/>
                    <a:pt x="6192" y="1678"/>
                    <a:pt x="6214" y="1729"/>
                  </a:cubicBezTo>
                  <a:cubicBezTo>
                    <a:pt x="6236" y="1759"/>
                    <a:pt x="6250" y="1803"/>
                    <a:pt x="6279" y="1847"/>
                  </a:cubicBezTo>
                  <a:cubicBezTo>
                    <a:pt x="6331" y="1920"/>
                    <a:pt x="6338" y="1920"/>
                    <a:pt x="6397" y="1927"/>
                  </a:cubicBezTo>
                  <a:cubicBezTo>
                    <a:pt x="6411" y="1935"/>
                    <a:pt x="6426" y="1935"/>
                    <a:pt x="6455" y="1942"/>
                  </a:cubicBezTo>
                  <a:cubicBezTo>
                    <a:pt x="6543" y="1957"/>
                    <a:pt x="6587" y="1993"/>
                    <a:pt x="6631" y="2023"/>
                  </a:cubicBezTo>
                  <a:cubicBezTo>
                    <a:pt x="6646" y="2037"/>
                    <a:pt x="6660" y="2045"/>
                    <a:pt x="6675" y="2052"/>
                  </a:cubicBezTo>
                  <a:cubicBezTo>
                    <a:pt x="6712" y="2081"/>
                    <a:pt x="6756" y="2125"/>
                    <a:pt x="6793" y="2162"/>
                  </a:cubicBezTo>
                  <a:cubicBezTo>
                    <a:pt x="6815" y="2191"/>
                    <a:pt x="6836" y="2213"/>
                    <a:pt x="6858" y="2228"/>
                  </a:cubicBezTo>
                  <a:cubicBezTo>
                    <a:pt x="6902" y="2257"/>
                    <a:pt x="7034" y="2404"/>
                    <a:pt x="7042" y="2411"/>
                  </a:cubicBezTo>
                  <a:lnTo>
                    <a:pt x="7042" y="2411"/>
                  </a:lnTo>
                  <a:cubicBezTo>
                    <a:pt x="7056" y="2638"/>
                    <a:pt x="7056" y="2638"/>
                    <a:pt x="7056" y="2638"/>
                  </a:cubicBezTo>
                  <a:cubicBezTo>
                    <a:pt x="7042" y="2638"/>
                    <a:pt x="7042" y="2638"/>
                    <a:pt x="7042" y="2638"/>
                  </a:cubicBezTo>
                  <a:cubicBezTo>
                    <a:pt x="7020" y="2638"/>
                    <a:pt x="6998" y="2638"/>
                    <a:pt x="6976" y="2638"/>
                  </a:cubicBezTo>
                  <a:cubicBezTo>
                    <a:pt x="6946" y="2638"/>
                    <a:pt x="6910" y="2638"/>
                    <a:pt x="6888" y="2638"/>
                  </a:cubicBezTo>
                  <a:cubicBezTo>
                    <a:pt x="6844" y="2638"/>
                    <a:pt x="6815" y="2638"/>
                    <a:pt x="6785" y="2638"/>
                  </a:cubicBezTo>
                  <a:lnTo>
                    <a:pt x="6785" y="2638"/>
                  </a:lnTo>
                  <a:cubicBezTo>
                    <a:pt x="6756" y="2638"/>
                    <a:pt x="6727" y="2638"/>
                    <a:pt x="6697" y="2646"/>
                  </a:cubicBezTo>
                  <a:cubicBezTo>
                    <a:pt x="6668" y="2646"/>
                    <a:pt x="6660" y="2660"/>
                    <a:pt x="6653" y="2682"/>
                  </a:cubicBezTo>
                  <a:cubicBezTo>
                    <a:pt x="6646" y="2689"/>
                    <a:pt x="6631" y="2711"/>
                    <a:pt x="6617" y="2726"/>
                  </a:cubicBezTo>
                  <a:cubicBezTo>
                    <a:pt x="6580" y="2763"/>
                    <a:pt x="6565" y="2763"/>
                    <a:pt x="6521" y="2763"/>
                  </a:cubicBezTo>
                  <a:cubicBezTo>
                    <a:pt x="6485" y="2763"/>
                    <a:pt x="6485" y="2763"/>
                    <a:pt x="6485" y="2763"/>
                  </a:cubicBezTo>
                  <a:cubicBezTo>
                    <a:pt x="6434" y="2763"/>
                    <a:pt x="6426" y="2763"/>
                    <a:pt x="6411" y="2785"/>
                  </a:cubicBezTo>
                  <a:cubicBezTo>
                    <a:pt x="6404" y="2792"/>
                    <a:pt x="6404" y="2792"/>
                    <a:pt x="6404" y="2792"/>
                  </a:cubicBezTo>
                  <a:cubicBezTo>
                    <a:pt x="6397" y="2799"/>
                    <a:pt x="6404" y="2836"/>
                    <a:pt x="6441" y="2865"/>
                  </a:cubicBezTo>
                  <a:cubicBezTo>
                    <a:pt x="6470" y="2887"/>
                    <a:pt x="6492" y="2902"/>
                    <a:pt x="6521" y="2909"/>
                  </a:cubicBezTo>
                  <a:cubicBezTo>
                    <a:pt x="6543" y="2924"/>
                    <a:pt x="6573" y="2939"/>
                    <a:pt x="6595" y="2960"/>
                  </a:cubicBezTo>
                  <a:cubicBezTo>
                    <a:pt x="6624" y="2983"/>
                    <a:pt x="6675" y="2997"/>
                    <a:pt x="6727" y="3012"/>
                  </a:cubicBezTo>
                  <a:cubicBezTo>
                    <a:pt x="6741" y="3019"/>
                    <a:pt x="6756" y="3019"/>
                    <a:pt x="6778" y="3027"/>
                  </a:cubicBezTo>
                  <a:cubicBezTo>
                    <a:pt x="6822" y="3041"/>
                    <a:pt x="6866" y="3048"/>
                    <a:pt x="6902" y="3048"/>
                  </a:cubicBezTo>
                  <a:cubicBezTo>
                    <a:pt x="6917" y="3048"/>
                    <a:pt x="6939" y="3048"/>
                    <a:pt x="6954" y="3041"/>
                  </a:cubicBezTo>
                  <a:cubicBezTo>
                    <a:pt x="6998" y="3034"/>
                    <a:pt x="7005" y="3027"/>
                    <a:pt x="7027" y="2997"/>
                  </a:cubicBezTo>
                  <a:cubicBezTo>
                    <a:pt x="7034" y="2990"/>
                    <a:pt x="7034" y="2990"/>
                    <a:pt x="7034" y="2990"/>
                  </a:cubicBezTo>
                  <a:cubicBezTo>
                    <a:pt x="7049" y="2960"/>
                    <a:pt x="7071" y="2953"/>
                    <a:pt x="7100" y="2953"/>
                  </a:cubicBezTo>
                  <a:cubicBezTo>
                    <a:pt x="7115" y="2953"/>
                    <a:pt x="7122" y="2953"/>
                    <a:pt x="7129" y="2953"/>
                  </a:cubicBezTo>
                  <a:cubicBezTo>
                    <a:pt x="7144" y="2953"/>
                    <a:pt x="7144" y="2953"/>
                    <a:pt x="7144" y="2953"/>
                  </a:cubicBezTo>
                  <a:cubicBezTo>
                    <a:pt x="7144" y="2960"/>
                    <a:pt x="7144" y="2960"/>
                    <a:pt x="7144" y="2960"/>
                  </a:cubicBezTo>
                  <a:cubicBezTo>
                    <a:pt x="7159" y="2983"/>
                    <a:pt x="7181" y="3019"/>
                    <a:pt x="7181" y="3063"/>
                  </a:cubicBezTo>
                  <a:cubicBezTo>
                    <a:pt x="7188" y="3144"/>
                    <a:pt x="7232" y="3239"/>
                    <a:pt x="7232" y="3239"/>
                  </a:cubicBezTo>
                  <a:cubicBezTo>
                    <a:pt x="7239" y="3254"/>
                    <a:pt x="7247" y="3268"/>
                    <a:pt x="7254" y="3290"/>
                  </a:cubicBezTo>
                  <a:cubicBezTo>
                    <a:pt x="7276" y="3364"/>
                    <a:pt x="7320" y="3481"/>
                    <a:pt x="7305" y="3554"/>
                  </a:cubicBezTo>
                  <a:cubicBezTo>
                    <a:pt x="7284" y="3620"/>
                    <a:pt x="7320" y="3701"/>
                    <a:pt x="7357" y="3767"/>
                  </a:cubicBezTo>
                  <a:cubicBezTo>
                    <a:pt x="7364" y="3781"/>
                    <a:pt x="7371" y="3803"/>
                    <a:pt x="7379" y="3818"/>
                  </a:cubicBezTo>
                  <a:cubicBezTo>
                    <a:pt x="7401" y="3855"/>
                    <a:pt x="7415" y="3906"/>
                    <a:pt x="7430" y="3950"/>
                  </a:cubicBezTo>
                  <a:cubicBezTo>
                    <a:pt x="7445" y="4001"/>
                    <a:pt x="7459" y="4052"/>
                    <a:pt x="7474" y="4067"/>
                  </a:cubicBezTo>
                  <a:cubicBezTo>
                    <a:pt x="7496" y="4104"/>
                    <a:pt x="7562" y="4331"/>
                    <a:pt x="7562" y="4382"/>
                  </a:cubicBezTo>
                  <a:cubicBezTo>
                    <a:pt x="7562" y="4397"/>
                    <a:pt x="7562" y="4397"/>
                    <a:pt x="7562" y="4397"/>
                  </a:cubicBezTo>
                  <a:cubicBezTo>
                    <a:pt x="7547" y="4397"/>
                    <a:pt x="7547" y="4397"/>
                    <a:pt x="7547" y="4397"/>
                  </a:cubicBezTo>
                  <a:cubicBezTo>
                    <a:pt x="7503" y="4397"/>
                    <a:pt x="7496" y="4404"/>
                    <a:pt x="7481" y="4426"/>
                  </a:cubicBezTo>
                  <a:cubicBezTo>
                    <a:pt x="7474" y="4448"/>
                    <a:pt x="7459" y="4470"/>
                    <a:pt x="7430" y="4492"/>
                  </a:cubicBezTo>
                  <a:cubicBezTo>
                    <a:pt x="7349" y="4551"/>
                    <a:pt x="7349" y="4551"/>
                    <a:pt x="7305" y="4609"/>
                  </a:cubicBezTo>
                  <a:cubicBezTo>
                    <a:pt x="7291" y="4624"/>
                    <a:pt x="7284" y="4639"/>
                    <a:pt x="7276" y="4646"/>
                  </a:cubicBezTo>
                  <a:cubicBezTo>
                    <a:pt x="7261" y="4661"/>
                    <a:pt x="7254" y="4675"/>
                    <a:pt x="7232" y="4675"/>
                  </a:cubicBezTo>
                  <a:lnTo>
                    <a:pt x="7232" y="4675"/>
                  </a:lnTo>
                  <a:cubicBezTo>
                    <a:pt x="7225" y="4675"/>
                    <a:pt x="7210" y="4675"/>
                    <a:pt x="7196" y="4668"/>
                  </a:cubicBezTo>
                  <a:cubicBezTo>
                    <a:pt x="7159" y="4661"/>
                    <a:pt x="7137" y="4653"/>
                    <a:pt x="7100" y="4653"/>
                  </a:cubicBezTo>
                  <a:cubicBezTo>
                    <a:pt x="7086" y="4653"/>
                    <a:pt x="7056" y="4653"/>
                    <a:pt x="7027" y="4653"/>
                  </a:cubicBezTo>
                  <a:cubicBezTo>
                    <a:pt x="6990" y="4646"/>
                    <a:pt x="6968" y="4639"/>
                    <a:pt x="6961" y="4617"/>
                  </a:cubicBezTo>
                  <a:cubicBezTo>
                    <a:pt x="6946" y="4587"/>
                    <a:pt x="6961" y="4558"/>
                    <a:pt x="6983" y="4529"/>
                  </a:cubicBezTo>
                  <a:cubicBezTo>
                    <a:pt x="7005" y="4485"/>
                    <a:pt x="7071" y="4397"/>
                    <a:pt x="7166" y="4331"/>
                  </a:cubicBezTo>
                  <a:cubicBezTo>
                    <a:pt x="7210" y="4302"/>
                    <a:pt x="7203" y="4265"/>
                    <a:pt x="7188" y="4221"/>
                  </a:cubicBezTo>
                  <a:cubicBezTo>
                    <a:pt x="7188" y="4199"/>
                    <a:pt x="7181" y="4177"/>
                    <a:pt x="7181" y="4155"/>
                  </a:cubicBezTo>
                  <a:cubicBezTo>
                    <a:pt x="7188" y="4126"/>
                    <a:pt x="7181" y="4104"/>
                    <a:pt x="7174" y="4096"/>
                  </a:cubicBezTo>
                  <a:cubicBezTo>
                    <a:pt x="7166" y="4082"/>
                    <a:pt x="7166" y="4082"/>
                    <a:pt x="7166" y="4082"/>
                  </a:cubicBezTo>
                  <a:cubicBezTo>
                    <a:pt x="7166" y="4096"/>
                    <a:pt x="7166" y="4096"/>
                    <a:pt x="7166" y="4096"/>
                  </a:cubicBezTo>
                  <a:cubicBezTo>
                    <a:pt x="7151" y="4104"/>
                    <a:pt x="7129" y="4104"/>
                    <a:pt x="7100" y="4104"/>
                  </a:cubicBezTo>
                  <a:cubicBezTo>
                    <a:pt x="7071" y="4104"/>
                    <a:pt x="7034" y="4104"/>
                    <a:pt x="7012" y="4089"/>
                  </a:cubicBezTo>
                  <a:cubicBezTo>
                    <a:pt x="6998" y="4082"/>
                    <a:pt x="6990" y="4074"/>
                    <a:pt x="6983" y="4074"/>
                  </a:cubicBezTo>
                  <a:cubicBezTo>
                    <a:pt x="6976" y="4074"/>
                    <a:pt x="6968" y="4082"/>
                    <a:pt x="6961" y="4089"/>
                  </a:cubicBezTo>
                  <a:cubicBezTo>
                    <a:pt x="6946" y="4104"/>
                    <a:pt x="6946" y="4104"/>
                    <a:pt x="6946" y="4104"/>
                  </a:cubicBezTo>
                  <a:cubicBezTo>
                    <a:pt x="6902" y="4140"/>
                    <a:pt x="6895" y="4140"/>
                    <a:pt x="6844" y="4155"/>
                  </a:cubicBezTo>
                  <a:cubicBezTo>
                    <a:pt x="6836" y="4162"/>
                    <a:pt x="6829" y="4162"/>
                    <a:pt x="6822" y="4162"/>
                  </a:cubicBezTo>
                  <a:cubicBezTo>
                    <a:pt x="6793" y="4162"/>
                    <a:pt x="6778" y="4140"/>
                    <a:pt x="6770" y="4126"/>
                  </a:cubicBezTo>
                  <a:cubicBezTo>
                    <a:pt x="6763" y="4118"/>
                    <a:pt x="6756" y="4111"/>
                    <a:pt x="6748" y="4104"/>
                  </a:cubicBezTo>
                  <a:cubicBezTo>
                    <a:pt x="6741" y="4096"/>
                    <a:pt x="6734" y="4096"/>
                    <a:pt x="6734" y="4096"/>
                  </a:cubicBezTo>
                  <a:cubicBezTo>
                    <a:pt x="6727" y="4096"/>
                    <a:pt x="6712" y="4111"/>
                    <a:pt x="6697" y="4118"/>
                  </a:cubicBezTo>
                  <a:cubicBezTo>
                    <a:pt x="6683" y="4126"/>
                    <a:pt x="6668" y="4140"/>
                    <a:pt x="6653" y="4148"/>
                  </a:cubicBezTo>
                  <a:cubicBezTo>
                    <a:pt x="6639" y="4155"/>
                    <a:pt x="6624" y="4155"/>
                    <a:pt x="6609" y="4155"/>
                  </a:cubicBezTo>
                  <a:cubicBezTo>
                    <a:pt x="6573" y="4155"/>
                    <a:pt x="6551" y="4126"/>
                    <a:pt x="6536" y="4096"/>
                  </a:cubicBezTo>
                  <a:cubicBezTo>
                    <a:pt x="6529" y="4082"/>
                    <a:pt x="6521" y="4067"/>
                    <a:pt x="6514" y="4045"/>
                  </a:cubicBezTo>
                  <a:cubicBezTo>
                    <a:pt x="6507" y="4016"/>
                    <a:pt x="6492" y="3986"/>
                    <a:pt x="6477" y="3965"/>
                  </a:cubicBezTo>
                  <a:cubicBezTo>
                    <a:pt x="6470" y="3950"/>
                    <a:pt x="6463" y="3935"/>
                    <a:pt x="6455" y="3920"/>
                  </a:cubicBezTo>
                  <a:cubicBezTo>
                    <a:pt x="6448" y="3891"/>
                    <a:pt x="6441" y="3884"/>
                    <a:pt x="6419" y="3877"/>
                  </a:cubicBezTo>
                  <a:cubicBezTo>
                    <a:pt x="6367" y="3869"/>
                    <a:pt x="6353" y="3847"/>
                    <a:pt x="6324" y="3803"/>
                  </a:cubicBezTo>
                  <a:cubicBezTo>
                    <a:pt x="6316" y="3796"/>
                    <a:pt x="6316" y="3796"/>
                    <a:pt x="6316" y="3796"/>
                  </a:cubicBezTo>
                  <a:cubicBezTo>
                    <a:pt x="6287" y="3752"/>
                    <a:pt x="6272" y="3745"/>
                    <a:pt x="6265" y="3745"/>
                  </a:cubicBezTo>
                  <a:cubicBezTo>
                    <a:pt x="6265" y="3745"/>
                    <a:pt x="6258" y="3752"/>
                    <a:pt x="6250" y="3767"/>
                  </a:cubicBezTo>
                  <a:cubicBezTo>
                    <a:pt x="6228" y="3818"/>
                    <a:pt x="6236" y="3840"/>
                    <a:pt x="6265" y="3869"/>
                  </a:cubicBezTo>
                  <a:cubicBezTo>
                    <a:pt x="6272" y="3877"/>
                    <a:pt x="6279" y="3884"/>
                    <a:pt x="6294" y="3891"/>
                  </a:cubicBezTo>
                  <a:cubicBezTo>
                    <a:pt x="6309" y="3906"/>
                    <a:pt x="6324" y="3913"/>
                    <a:pt x="6324" y="3928"/>
                  </a:cubicBezTo>
                  <a:cubicBezTo>
                    <a:pt x="6324" y="3943"/>
                    <a:pt x="6316" y="3957"/>
                    <a:pt x="6309" y="3965"/>
                  </a:cubicBezTo>
                  <a:cubicBezTo>
                    <a:pt x="6272" y="4001"/>
                    <a:pt x="6236" y="4001"/>
                    <a:pt x="6192" y="4008"/>
                  </a:cubicBezTo>
                  <a:cubicBezTo>
                    <a:pt x="6148" y="4016"/>
                    <a:pt x="6148" y="4016"/>
                    <a:pt x="6148" y="4016"/>
                  </a:cubicBezTo>
                  <a:cubicBezTo>
                    <a:pt x="6104" y="4023"/>
                    <a:pt x="6104" y="4023"/>
                    <a:pt x="6045" y="4089"/>
                  </a:cubicBezTo>
                  <a:cubicBezTo>
                    <a:pt x="6016" y="4126"/>
                    <a:pt x="6001" y="4148"/>
                    <a:pt x="5994" y="4162"/>
                  </a:cubicBezTo>
                  <a:cubicBezTo>
                    <a:pt x="5972" y="4192"/>
                    <a:pt x="5965" y="4206"/>
                    <a:pt x="5935" y="4214"/>
                  </a:cubicBezTo>
                  <a:cubicBezTo>
                    <a:pt x="5906" y="4228"/>
                    <a:pt x="5898" y="4236"/>
                    <a:pt x="5877" y="4250"/>
                  </a:cubicBezTo>
                  <a:cubicBezTo>
                    <a:pt x="5869" y="4265"/>
                    <a:pt x="5862" y="4272"/>
                    <a:pt x="5847" y="4279"/>
                  </a:cubicBezTo>
                  <a:cubicBezTo>
                    <a:pt x="5811" y="4309"/>
                    <a:pt x="5818" y="4367"/>
                    <a:pt x="5825" y="4419"/>
                  </a:cubicBezTo>
                  <a:cubicBezTo>
                    <a:pt x="5833" y="4463"/>
                    <a:pt x="5811" y="4507"/>
                    <a:pt x="5789" y="4551"/>
                  </a:cubicBezTo>
                  <a:cubicBezTo>
                    <a:pt x="5781" y="4565"/>
                    <a:pt x="5774" y="4580"/>
                    <a:pt x="5767" y="4602"/>
                  </a:cubicBezTo>
                  <a:cubicBezTo>
                    <a:pt x="5752" y="4631"/>
                    <a:pt x="5745" y="4646"/>
                    <a:pt x="5715" y="4646"/>
                  </a:cubicBezTo>
                  <a:cubicBezTo>
                    <a:pt x="5708" y="4646"/>
                    <a:pt x="5701" y="4646"/>
                    <a:pt x="5693" y="4639"/>
                  </a:cubicBezTo>
                  <a:cubicBezTo>
                    <a:pt x="5686" y="4639"/>
                    <a:pt x="5679" y="4639"/>
                    <a:pt x="5664" y="4631"/>
                  </a:cubicBezTo>
                  <a:lnTo>
                    <a:pt x="5657" y="4631"/>
                  </a:lnTo>
                  <a:cubicBezTo>
                    <a:pt x="5649" y="4631"/>
                    <a:pt x="5649" y="4631"/>
                    <a:pt x="5642" y="4661"/>
                  </a:cubicBezTo>
                  <a:cubicBezTo>
                    <a:pt x="5642" y="4675"/>
                    <a:pt x="5635" y="4697"/>
                    <a:pt x="5620" y="4727"/>
                  </a:cubicBezTo>
                  <a:cubicBezTo>
                    <a:pt x="5613" y="4748"/>
                    <a:pt x="5605" y="4763"/>
                    <a:pt x="5598" y="4770"/>
                  </a:cubicBezTo>
                  <a:cubicBezTo>
                    <a:pt x="5591" y="4800"/>
                    <a:pt x="5584" y="4807"/>
                    <a:pt x="5554" y="4815"/>
                  </a:cubicBezTo>
                  <a:cubicBezTo>
                    <a:pt x="5547" y="4815"/>
                    <a:pt x="5547" y="4815"/>
                    <a:pt x="5539" y="4815"/>
                  </a:cubicBezTo>
                  <a:cubicBezTo>
                    <a:pt x="5510" y="4815"/>
                    <a:pt x="5495" y="4778"/>
                    <a:pt x="5481" y="4748"/>
                  </a:cubicBezTo>
                  <a:cubicBezTo>
                    <a:pt x="5474" y="4734"/>
                    <a:pt x="5459" y="4719"/>
                    <a:pt x="5452" y="4705"/>
                  </a:cubicBezTo>
                  <a:cubicBezTo>
                    <a:pt x="5444" y="4690"/>
                    <a:pt x="5437" y="4690"/>
                    <a:pt x="5429" y="4690"/>
                  </a:cubicBezTo>
                  <a:cubicBezTo>
                    <a:pt x="5422" y="4690"/>
                    <a:pt x="5400" y="4705"/>
                    <a:pt x="5386" y="4712"/>
                  </a:cubicBezTo>
                  <a:cubicBezTo>
                    <a:pt x="5371" y="4719"/>
                    <a:pt x="5356" y="4727"/>
                    <a:pt x="5342" y="4734"/>
                  </a:cubicBezTo>
                  <a:cubicBezTo>
                    <a:pt x="5290" y="4756"/>
                    <a:pt x="5283" y="4770"/>
                    <a:pt x="5276" y="4836"/>
                  </a:cubicBezTo>
                  <a:cubicBezTo>
                    <a:pt x="5268" y="4888"/>
                    <a:pt x="5254" y="4910"/>
                    <a:pt x="5210" y="4910"/>
                  </a:cubicBezTo>
                  <a:cubicBezTo>
                    <a:pt x="5188" y="4902"/>
                    <a:pt x="5188" y="4902"/>
                    <a:pt x="5188" y="4902"/>
                  </a:cubicBezTo>
                  <a:cubicBezTo>
                    <a:pt x="5158" y="4902"/>
                    <a:pt x="5144" y="4873"/>
                    <a:pt x="5129" y="4851"/>
                  </a:cubicBezTo>
                  <a:cubicBezTo>
                    <a:pt x="5122" y="4836"/>
                    <a:pt x="5114" y="4815"/>
                    <a:pt x="5107" y="4807"/>
                  </a:cubicBezTo>
                  <a:cubicBezTo>
                    <a:pt x="5100" y="4807"/>
                    <a:pt x="5100" y="4807"/>
                    <a:pt x="5093" y="4807"/>
                  </a:cubicBezTo>
                  <a:cubicBezTo>
                    <a:pt x="5078" y="4807"/>
                    <a:pt x="5041" y="4836"/>
                    <a:pt x="5019" y="4880"/>
                  </a:cubicBezTo>
                  <a:cubicBezTo>
                    <a:pt x="5012" y="4895"/>
                    <a:pt x="5005" y="4902"/>
                    <a:pt x="4997" y="4917"/>
                  </a:cubicBezTo>
                  <a:cubicBezTo>
                    <a:pt x="4990" y="4939"/>
                    <a:pt x="4983" y="4961"/>
                    <a:pt x="4946" y="4990"/>
                  </a:cubicBezTo>
                  <a:cubicBezTo>
                    <a:pt x="4924" y="4998"/>
                    <a:pt x="4909" y="5005"/>
                    <a:pt x="4902" y="5012"/>
                  </a:cubicBezTo>
                  <a:cubicBezTo>
                    <a:pt x="4880" y="5020"/>
                    <a:pt x="4873" y="5027"/>
                    <a:pt x="4843" y="5064"/>
                  </a:cubicBezTo>
                  <a:cubicBezTo>
                    <a:pt x="4836" y="5078"/>
                    <a:pt x="4836" y="5078"/>
                    <a:pt x="4836" y="5078"/>
                  </a:cubicBezTo>
                  <a:cubicBezTo>
                    <a:pt x="4799" y="5122"/>
                    <a:pt x="4799" y="5129"/>
                    <a:pt x="4741" y="5129"/>
                  </a:cubicBezTo>
                  <a:cubicBezTo>
                    <a:pt x="4726" y="5129"/>
                    <a:pt x="4712" y="5122"/>
                    <a:pt x="4704" y="5115"/>
                  </a:cubicBezTo>
                  <a:cubicBezTo>
                    <a:pt x="4689" y="5093"/>
                    <a:pt x="4697" y="5064"/>
                    <a:pt x="4704" y="5034"/>
                  </a:cubicBezTo>
                  <a:cubicBezTo>
                    <a:pt x="4704" y="5027"/>
                    <a:pt x="4704" y="5020"/>
                    <a:pt x="4712" y="5012"/>
                  </a:cubicBezTo>
                  <a:cubicBezTo>
                    <a:pt x="4704" y="5020"/>
                    <a:pt x="4697" y="5020"/>
                    <a:pt x="4689" y="5027"/>
                  </a:cubicBezTo>
                  <a:cubicBezTo>
                    <a:pt x="4675" y="5042"/>
                    <a:pt x="4653" y="5056"/>
                    <a:pt x="4624" y="5064"/>
                  </a:cubicBezTo>
                  <a:cubicBezTo>
                    <a:pt x="4609" y="5071"/>
                    <a:pt x="4594" y="5071"/>
                    <a:pt x="4579" y="5071"/>
                  </a:cubicBezTo>
                  <a:cubicBezTo>
                    <a:pt x="4550" y="5071"/>
                    <a:pt x="4536" y="5064"/>
                    <a:pt x="4514" y="5049"/>
                  </a:cubicBezTo>
                  <a:cubicBezTo>
                    <a:pt x="4484" y="5056"/>
                    <a:pt x="4426" y="5064"/>
                    <a:pt x="4396" y="5071"/>
                  </a:cubicBezTo>
                  <a:cubicBezTo>
                    <a:pt x="4389" y="5078"/>
                    <a:pt x="4374" y="5086"/>
                    <a:pt x="4367" y="5086"/>
                  </a:cubicBezTo>
                  <a:cubicBezTo>
                    <a:pt x="4345" y="5086"/>
                    <a:pt x="4330" y="5071"/>
                    <a:pt x="4308" y="5056"/>
                  </a:cubicBezTo>
                  <a:cubicBezTo>
                    <a:pt x="4294" y="5049"/>
                    <a:pt x="4294" y="5049"/>
                    <a:pt x="4294" y="5049"/>
                  </a:cubicBezTo>
                  <a:cubicBezTo>
                    <a:pt x="4272" y="5034"/>
                    <a:pt x="4257" y="5020"/>
                    <a:pt x="4250" y="4998"/>
                  </a:cubicBezTo>
                  <a:cubicBezTo>
                    <a:pt x="4235" y="4976"/>
                    <a:pt x="4228" y="4961"/>
                    <a:pt x="4213" y="4961"/>
                  </a:cubicBezTo>
                  <a:cubicBezTo>
                    <a:pt x="4206" y="4961"/>
                    <a:pt x="4206" y="4961"/>
                    <a:pt x="4198" y="4961"/>
                  </a:cubicBezTo>
                  <a:cubicBezTo>
                    <a:pt x="4184" y="4968"/>
                    <a:pt x="4177" y="4968"/>
                    <a:pt x="4162" y="4968"/>
                  </a:cubicBezTo>
                  <a:cubicBezTo>
                    <a:pt x="4133" y="4968"/>
                    <a:pt x="4118" y="4961"/>
                    <a:pt x="4111" y="4946"/>
                  </a:cubicBezTo>
                  <a:cubicBezTo>
                    <a:pt x="4096" y="4932"/>
                    <a:pt x="4089" y="4917"/>
                    <a:pt x="4096" y="4895"/>
                  </a:cubicBezTo>
                  <a:cubicBezTo>
                    <a:pt x="4096" y="4888"/>
                    <a:pt x="4096" y="4873"/>
                    <a:pt x="4089" y="4866"/>
                  </a:cubicBezTo>
                  <a:cubicBezTo>
                    <a:pt x="4081" y="4858"/>
                    <a:pt x="4074" y="4851"/>
                    <a:pt x="4059" y="4851"/>
                  </a:cubicBezTo>
                  <a:cubicBezTo>
                    <a:pt x="4045" y="4851"/>
                    <a:pt x="4037" y="4858"/>
                    <a:pt x="4023" y="4858"/>
                  </a:cubicBezTo>
                  <a:cubicBezTo>
                    <a:pt x="4001" y="4873"/>
                    <a:pt x="3986" y="4873"/>
                    <a:pt x="3964" y="4873"/>
                  </a:cubicBezTo>
                  <a:cubicBezTo>
                    <a:pt x="3942" y="4873"/>
                    <a:pt x="3927" y="4873"/>
                    <a:pt x="3905" y="4866"/>
                  </a:cubicBezTo>
                  <a:cubicBezTo>
                    <a:pt x="3898" y="4858"/>
                    <a:pt x="3891" y="4858"/>
                    <a:pt x="3876" y="4851"/>
                  </a:cubicBezTo>
                  <a:cubicBezTo>
                    <a:pt x="3869" y="4851"/>
                    <a:pt x="3854" y="4851"/>
                    <a:pt x="3847" y="4851"/>
                  </a:cubicBezTo>
                  <a:cubicBezTo>
                    <a:pt x="3825" y="4851"/>
                    <a:pt x="3803" y="4858"/>
                    <a:pt x="3781" y="4866"/>
                  </a:cubicBezTo>
                  <a:cubicBezTo>
                    <a:pt x="3759" y="4873"/>
                    <a:pt x="3744" y="4880"/>
                    <a:pt x="3715" y="4888"/>
                  </a:cubicBezTo>
                  <a:cubicBezTo>
                    <a:pt x="3708" y="4888"/>
                    <a:pt x="3693" y="4895"/>
                    <a:pt x="3686" y="4895"/>
                  </a:cubicBezTo>
                  <a:cubicBezTo>
                    <a:pt x="3634" y="4895"/>
                    <a:pt x="3612" y="4851"/>
                    <a:pt x="3598" y="4822"/>
                  </a:cubicBezTo>
                  <a:cubicBezTo>
                    <a:pt x="3590" y="4807"/>
                    <a:pt x="3583" y="4793"/>
                    <a:pt x="3576" y="4785"/>
                  </a:cubicBezTo>
                  <a:cubicBezTo>
                    <a:pt x="3532" y="4741"/>
                    <a:pt x="3436" y="4661"/>
                    <a:pt x="3385" y="4653"/>
                  </a:cubicBezTo>
                  <a:cubicBezTo>
                    <a:pt x="3363" y="4646"/>
                    <a:pt x="3348" y="4646"/>
                    <a:pt x="3327" y="4646"/>
                  </a:cubicBezTo>
                  <a:cubicBezTo>
                    <a:pt x="3305" y="4646"/>
                    <a:pt x="3275" y="4646"/>
                    <a:pt x="3253" y="4631"/>
                  </a:cubicBezTo>
                  <a:cubicBezTo>
                    <a:pt x="3239" y="4624"/>
                    <a:pt x="3224" y="4609"/>
                    <a:pt x="3217" y="4595"/>
                  </a:cubicBezTo>
                  <a:cubicBezTo>
                    <a:pt x="3209" y="4580"/>
                    <a:pt x="3202" y="4565"/>
                    <a:pt x="3180" y="4565"/>
                  </a:cubicBezTo>
                  <a:cubicBezTo>
                    <a:pt x="3180" y="4565"/>
                    <a:pt x="3173" y="4565"/>
                    <a:pt x="3165" y="4565"/>
                  </a:cubicBezTo>
                  <a:cubicBezTo>
                    <a:pt x="3136" y="4565"/>
                    <a:pt x="3099" y="4580"/>
                    <a:pt x="3063" y="4602"/>
                  </a:cubicBezTo>
                  <a:cubicBezTo>
                    <a:pt x="3048" y="4617"/>
                    <a:pt x="3026" y="4631"/>
                    <a:pt x="2997" y="4631"/>
                  </a:cubicBezTo>
                  <a:cubicBezTo>
                    <a:pt x="2975" y="4631"/>
                    <a:pt x="2953" y="4624"/>
                    <a:pt x="2938" y="4602"/>
                  </a:cubicBezTo>
                  <a:cubicBezTo>
                    <a:pt x="2924" y="4595"/>
                    <a:pt x="2916" y="4587"/>
                    <a:pt x="2909" y="4580"/>
                  </a:cubicBezTo>
                  <a:cubicBezTo>
                    <a:pt x="2909" y="4573"/>
                    <a:pt x="2909" y="4573"/>
                    <a:pt x="2902" y="4573"/>
                  </a:cubicBezTo>
                  <a:cubicBezTo>
                    <a:pt x="2902" y="4573"/>
                    <a:pt x="2902" y="4573"/>
                    <a:pt x="2902" y="4580"/>
                  </a:cubicBezTo>
                  <a:cubicBezTo>
                    <a:pt x="2894" y="4624"/>
                    <a:pt x="2858" y="4639"/>
                    <a:pt x="2836" y="4646"/>
                  </a:cubicBezTo>
                  <a:cubicBezTo>
                    <a:pt x="2836" y="4683"/>
                    <a:pt x="2828" y="4770"/>
                    <a:pt x="2770" y="4778"/>
                  </a:cubicBezTo>
                  <a:cubicBezTo>
                    <a:pt x="2740" y="4785"/>
                    <a:pt x="2733" y="4785"/>
                    <a:pt x="2733" y="4785"/>
                  </a:cubicBezTo>
                  <a:cubicBezTo>
                    <a:pt x="2733" y="4800"/>
                    <a:pt x="2733" y="4800"/>
                    <a:pt x="2733" y="4807"/>
                  </a:cubicBezTo>
                  <a:cubicBezTo>
                    <a:pt x="2726" y="4829"/>
                    <a:pt x="2704" y="4858"/>
                    <a:pt x="2674" y="4858"/>
                  </a:cubicBezTo>
                  <a:cubicBezTo>
                    <a:pt x="2667" y="4858"/>
                    <a:pt x="2653" y="4851"/>
                    <a:pt x="2638" y="4844"/>
                  </a:cubicBezTo>
                  <a:cubicBezTo>
                    <a:pt x="2631" y="4836"/>
                    <a:pt x="2631" y="4836"/>
                    <a:pt x="2623" y="4836"/>
                  </a:cubicBezTo>
                  <a:cubicBezTo>
                    <a:pt x="2616" y="4836"/>
                    <a:pt x="2594" y="4851"/>
                    <a:pt x="2572" y="4873"/>
                  </a:cubicBezTo>
                  <a:cubicBezTo>
                    <a:pt x="2565" y="4880"/>
                    <a:pt x="2557" y="4888"/>
                    <a:pt x="2550" y="4895"/>
                  </a:cubicBezTo>
                  <a:cubicBezTo>
                    <a:pt x="2528" y="4910"/>
                    <a:pt x="2521" y="4917"/>
                    <a:pt x="2506" y="4924"/>
                  </a:cubicBezTo>
                  <a:cubicBezTo>
                    <a:pt x="2484" y="4946"/>
                    <a:pt x="2469" y="4954"/>
                    <a:pt x="2462" y="4976"/>
                  </a:cubicBezTo>
                  <a:cubicBezTo>
                    <a:pt x="2447" y="4998"/>
                    <a:pt x="2418" y="5012"/>
                    <a:pt x="2389" y="5020"/>
                  </a:cubicBezTo>
                  <a:cubicBezTo>
                    <a:pt x="2374" y="5027"/>
                    <a:pt x="2359" y="5027"/>
                    <a:pt x="2345" y="5042"/>
                  </a:cubicBezTo>
                  <a:cubicBezTo>
                    <a:pt x="2330" y="5042"/>
                    <a:pt x="2323" y="5049"/>
                    <a:pt x="2308" y="5049"/>
                  </a:cubicBezTo>
                  <a:cubicBezTo>
                    <a:pt x="2279" y="5049"/>
                    <a:pt x="2235" y="5027"/>
                    <a:pt x="2198" y="5005"/>
                  </a:cubicBezTo>
                  <a:cubicBezTo>
                    <a:pt x="2184" y="4998"/>
                    <a:pt x="2169" y="4990"/>
                    <a:pt x="2147" y="4983"/>
                  </a:cubicBezTo>
                  <a:cubicBezTo>
                    <a:pt x="2140" y="4976"/>
                    <a:pt x="2132" y="4976"/>
                    <a:pt x="2125" y="4976"/>
                  </a:cubicBezTo>
                  <a:cubicBezTo>
                    <a:pt x="2103" y="4976"/>
                    <a:pt x="2088" y="4990"/>
                    <a:pt x="2066" y="5012"/>
                  </a:cubicBezTo>
                  <a:cubicBezTo>
                    <a:pt x="2052" y="5020"/>
                    <a:pt x="2037" y="5034"/>
                    <a:pt x="2030" y="5042"/>
                  </a:cubicBezTo>
                  <a:cubicBezTo>
                    <a:pt x="1986" y="5064"/>
                    <a:pt x="1949" y="5093"/>
                    <a:pt x="1912" y="5144"/>
                  </a:cubicBezTo>
                  <a:cubicBezTo>
                    <a:pt x="1890" y="5174"/>
                    <a:pt x="1898" y="5188"/>
                    <a:pt x="1912" y="5217"/>
                  </a:cubicBezTo>
                  <a:cubicBezTo>
                    <a:pt x="1920" y="5232"/>
                    <a:pt x="1927" y="5254"/>
                    <a:pt x="1927" y="5283"/>
                  </a:cubicBezTo>
                  <a:cubicBezTo>
                    <a:pt x="1920" y="5298"/>
                    <a:pt x="1920" y="5298"/>
                    <a:pt x="1920" y="5298"/>
                  </a:cubicBezTo>
                  <a:cubicBezTo>
                    <a:pt x="1912" y="5349"/>
                    <a:pt x="1912" y="5357"/>
                    <a:pt x="1898" y="5393"/>
                  </a:cubicBezTo>
                  <a:cubicBezTo>
                    <a:pt x="1890" y="5401"/>
                    <a:pt x="1883" y="5408"/>
                    <a:pt x="1868" y="5408"/>
                  </a:cubicBezTo>
                  <a:cubicBezTo>
                    <a:pt x="1854" y="5408"/>
                    <a:pt x="1839" y="5401"/>
                    <a:pt x="1810" y="5386"/>
                  </a:cubicBezTo>
                  <a:cubicBezTo>
                    <a:pt x="1788" y="5371"/>
                    <a:pt x="1751" y="5349"/>
                    <a:pt x="1722" y="5349"/>
                  </a:cubicBezTo>
                  <a:cubicBezTo>
                    <a:pt x="1707" y="5349"/>
                    <a:pt x="1700" y="5342"/>
                    <a:pt x="1685" y="5342"/>
                  </a:cubicBezTo>
                  <a:cubicBezTo>
                    <a:pt x="1627" y="5342"/>
                    <a:pt x="1619" y="5371"/>
                    <a:pt x="1619" y="5379"/>
                  </a:cubicBezTo>
                  <a:cubicBezTo>
                    <a:pt x="1605" y="5423"/>
                    <a:pt x="1583" y="5430"/>
                    <a:pt x="1546" y="5430"/>
                  </a:cubicBezTo>
                  <a:cubicBezTo>
                    <a:pt x="1370" y="5430"/>
                    <a:pt x="1370" y="5430"/>
                    <a:pt x="1370" y="5430"/>
                  </a:cubicBezTo>
                  <a:lnTo>
                    <a:pt x="1370" y="5430"/>
                  </a:lnTo>
                  <a:lnTo>
                    <a:pt x="1363" y="5430"/>
                  </a:lnTo>
                  <a:close/>
                  <a:moveTo>
                    <a:pt x="6133" y="2191"/>
                  </a:moveTo>
                  <a:lnTo>
                    <a:pt x="6133" y="2191"/>
                  </a:lnTo>
                  <a:cubicBezTo>
                    <a:pt x="6148" y="2198"/>
                    <a:pt x="6162" y="2206"/>
                    <a:pt x="6184" y="2213"/>
                  </a:cubicBezTo>
                  <a:cubicBezTo>
                    <a:pt x="6221" y="2228"/>
                    <a:pt x="6243" y="2250"/>
                    <a:pt x="6272" y="2279"/>
                  </a:cubicBezTo>
                  <a:cubicBezTo>
                    <a:pt x="6279" y="2286"/>
                    <a:pt x="6287" y="2301"/>
                    <a:pt x="6302" y="2316"/>
                  </a:cubicBezTo>
                  <a:cubicBezTo>
                    <a:pt x="6346" y="2360"/>
                    <a:pt x="6367" y="2382"/>
                    <a:pt x="6411" y="2404"/>
                  </a:cubicBezTo>
                  <a:cubicBezTo>
                    <a:pt x="6455" y="2433"/>
                    <a:pt x="6448" y="2448"/>
                    <a:pt x="6434" y="2477"/>
                  </a:cubicBezTo>
                  <a:cubicBezTo>
                    <a:pt x="6434" y="2484"/>
                    <a:pt x="6426" y="2492"/>
                    <a:pt x="6426" y="2499"/>
                  </a:cubicBezTo>
                  <a:cubicBezTo>
                    <a:pt x="6411" y="2528"/>
                    <a:pt x="6404" y="2536"/>
                    <a:pt x="6382" y="2543"/>
                  </a:cubicBezTo>
                  <a:cubicBezTo>
                    <a:pt x="6375" y="2558"/>
                    <a:pt x="6360" y="2565"/>
                    <a:pt x="6338" y="2587"/>
                  </a:cubicBezTo>
                  <a:cubicBezTo>
                    <a:pt x="6309" y="2616"/>
                    <a:pt x="6294" y="2638"/>
                    <a:pt x="6294" y="2646"/>
                  </a:cubicBezTo>
                  <a:cubicBezTo>
                    <a:pt x="6316" y="2646"/>
                    <a:pt x="6353" y="2631"/>
                    <a:pt x="6404" y="2609"/>
                  </a:cubicBezTo>
                  <a:cubicBezTo>
                    <a:pt x="6411" y="2609"/>
                    <a:pt x="6411" y="2609"/>
                    <a:pt x="6411" y="2609"/>
                  </a:cubicBezTo>
                  <a:cubicBezTo>
                    <a:pt x="6463" y="2587"/>
                    <a:pt x="6463" y="2572"/>
                    <a:pt x="6470" y="2536"/>
                  </a:cubicBezTo>
                  <a:cubicBezTo>
                    <a:pt x="6470" y="2528"/>
                    <a:pt x="6470" y="2521"/>
                    <a:pt x="6477" y="2514"/>
                  </a:cubicBezTo>
                  <a:cubicBezTo>
                    <a:pt x="6477" y="2484"/>
                    <a:pt x="6477" y="2484"/>
                    <a:pt x="6470" y="2470"/>
                  </a:cubicBezTo>
                  <a:cubicBezTo>
                    <a:pt x="6463" y="2462"/>
                    <a:pt x="6463" y="2455"/>
                    <a:pt x="6455" y="2440"/>
                  </a:cubicBezTo>
                  <a:cubicBezTo>
                    <a:pt x="6448" y="2426"/>
                    <a:pt x="6441" y="2418"/>
                    <a:pt x="6441" y="2411"/>
                  </a:cubicBezTo>
                  <a:cubicBezTo>
                    <a:pt x="6434" y="2389"/>
                    <a:pt x="6434" y="2389"/>
                    <a:pt x="6404" y="2374"/>
                  </a:cubicBezTo>
                  <a:cubicBezTo>
                    <a:pt x="6360" y="2352"/>
                    <a:pt x="6360" y="2338"/>
                    <a:pt x="6360" y="2301"/>
                  </a:cubicBezTo>
                  <a:cubicBezTo>
                    <a:pt x="6360" y="2301"/>
                    <a:pt x="6360" y="2294"/>
                    <a:pt x="6360" y="2286"/>
                  </a:cubicBezTo>
                  <a:cubicBezTo>
                    <a:pt x="6360" y="2228"/>
                    <a:pt x="6411" y="2228"/>
                    <a:pt x="6441" y="2228"/>
                  </a:cubicBezTo>
                  <a:cubicBezTo>
                    <a:pt x="6477" y="2228"/>
                    <a:pt x="6477" y="2228"/>
                    <a:pt x="6477" y="2228"/>
                  </a:cubicBezTo>
                  <a:cubicBezTo>
                    <a:pt x="6499" y="2228"/>
                    <a:pt x="6514" y="2235"/>
                    <a:pt x="6529" y="2243"/>
                  </a:cubicBezTo>
                  <a:cubicBezTo>
                    <a:pt x="6543" y="2265"/>
                    <a:pt x="6529" y="2294"/>
                    <a:pt x="6521" y="2330"/>
                  </a:cubicBezTo>
                  <a:cubicBezTo>
                    <a:pt x="6521" y="2345"/>
                    <a:pt x="6514" y="2352"/>
                    <a:pt x="6514" y="2360"/>
                  </a:cubicBezTo>
                  <a:cubicBezTo>
                    <a:pt x="6514" y="2374"/>
                    <a:pt x="6514" y="2382"/>
                    <a:pt x="6514" y="2382"/>
                  </a:cubicBezTo>
                  <a:cubicBezTo>
                    <a:pt x="6514" y="2382"/>
                    <a:pt x="6529" y="2374"/>
                    <a:pt x="6536" y="2360"/>
                  </a:cubicBezTo>
                  <a:cubicBezTo>
                    <a:pt x="6558" y="2338"/>
                    <a:pt x="6565" y="2330"/>
                    <a:pt x="6580" y="2330"/>
                  </a:cubicBezTo>
                  <a:cubicBezTo>
                    <a:pt x="6595" y="2330"/>
                    <a:pt x="6609" y="2338"/>
                    <a:pt x="6624" y="2352"/>
                  </a:cubicBezTo>
                  <a:cubicBezTo>
                    <a:pt x="6639" y="2360"/>
                    <a:pt x="6639" y="2360"/>
                    <a:pt x="6639" y="2360"/>
                  </a:cubicBezTo>
                  <a:cubicBezTo>
                    <a:pt x="6646" y="2367"/>
                    <a:pt x="6653" y="2367"/>
                    <a:pt x="6653" y="2374"/>
                  </a:cubicBezTo>
                  <a:cubicBezTo>
                    <a:pt x="6653" y="2367"/>
                    <a:pt x="6653" y="2367"/>
                    <a:pt x="6653" y="2360"/>
                  </a:cubicBezTo>
                  <a:cubicBezTo>
                    <a:pt x="6660" y="2352"/>
                    <a:pt x="6668" y="2330"/>
                    <a:pt x="6675" y="2308"/>
                  </a:cubicBezTo>
                  <a:cubicBezTo>
                    <a:pt x="6690" y="2272"/>
                    <a:pt x="6675" y="2250"/>
                    <a:pt x="6653" y="2220"/>
                  </a:cubicBezTo>
                  <a:cubicBezTo>
                    <a:pt x="6639" y="2206"/>
                    <a:pt x="6624" y="2191"/>
                    <a:pt x="6617" y="2169"/>
                  </a:cubicBezTo>
                  <a:cubicBezTo>
                    <a:pt x="6602" y="2140"/>
                    <a:pt x="6587" y="2133"/>
                    <a:pt x="6573" y="2125"/>
                  </a:cubicBezTo>
                  <a:cubicBezTo>
                    <a:pt x="6565" y="2118"/>
                    <a:pt x="6551" y="2110"/>
                    <a:pt x="6536" y="2096"/>
                  </a:cubicBezTo>
                  <a:cubicBezTo>
                    <a:pt x="6507" y="2052"/>
                    <a:pt x="6492" y="2037"/>
                    <a:pt x="6463" y="2037"/>
                  </a:cubicBezTo>
                  <a:cubicBezTo>
                    <a:pt x="6455" y="2037"/>
                    <a:pt x="6448" y="2037"/>
                    <a:pt x="6448" y="2037"/>
                  </a:cubicBezTo>
                  <a:cubicBezTo>
                    <a:pt x="6448" y="2037"/>
                    <a:pt x="6448" y="2045"/>
                    <a:pt x="6448" y="2067"/>
                  </a:cubicBezTo>
                  <a:cubicBezTo>
                    <a:pt x="6448" y="2081"/>
                    <a:pt x="6455" y="2089"/>
                    <a:pt x="6463" y="2096"/>
                  </a:cubicBezTo>
                  <a:cubicBezTo>
                    <a:pt x="6470" y="2103"/>
                    <a:pt x="6477" y="2110"/>
                    <a:pt x="6477" y="2133"/>
                  </a:cubicBezTo>
                  <a:cubicBezTo>
                    <a:pt x="6477" y="2162"/>
                    <a:pt x="6448" y="2177"/>
                    <a:pt x="6419" y="2184"/>
                  </a:cubicBezTo>
                  <a:cubicBezTo>
                    <a:pt x="6397" y="2191"/>
                    <a:pt x="6367" y="2198"/>
                    <a:pt x="6346" y="2213"/>
                  </a:cubicBezTo>
                  <a:cubicBezTo>
                    <a:pt x="6316" y="2243"/>
                    <a:pt x="6302" y="2250"/>
                    <a:pt x="6294" y="2250"/>
                  </a:cubicBezTo>
                  <a:cubicBezTo>
                    <a:pt x="6279" y="2250"/>
                    <a:pt x="6272" y="2243"/>
                    <a:pt x="6272" y="2235"/>
                  </a:cubicBezTo>
                  <a:lnTo>
                    <a:pt x="6265" y="2228"/>
                  </a:lnTo>
                  <a:cubicBezTo>
                    <a:pt x="6258" y="2220"/>
                    <a:pt x="6250" y="2213"/>
                    <a:pt x="6250" y="2206"/>
                  </a:cubicBezTo>
                  <a:cubicBezTo>
                    <a:pt x="6250" y="2191"/>
                    <a:pt x="6265" y="2177"/>
                    <a:pt x="6279" y="2155"/>
                  </a:cubicBezTo>
                  <a:cubicBezTo>
                    <a:pt x="6294" y="2147"/>
                    <a:pt x="6302" y="2140"/>
                    <a:pt x="6309" y="2133"/>
                  </a:cubicBezTo>
                  <a:cubicBezTo>
                    <a:pt x="6316" y="2118"/>
                    <a:pt x="6324" y="2103"/>
                    <a:pt x="6316" y="2096"/>
                  </a:cubicBezTo>
                  <a:cubicBezTo>
                    <a:pt x="6316" y="2096"/>
                    <a:pt x="6309" y="2096"/>
                    <a:pt x="6302" y="2096"/>
                  </a:cubicBezTo>
                  <a:cubicBezTo>
                    <a:pt x="6302" y="2096"/>
                    <a:pt x="6302" y="2096"/>
                    <a:pt x="6294" y="2096"/>
                  </a:cubicBezTo>
                  <a:cubicBezTo>
                    <a:pt x="6250" y="2103"/>
                    <a:pt x="6250" y="2110"/>
                    <a:pt x="6236" y="2140"/>
                  </a:cubicBezTo>
                  <a:cubicBezTo>
                    <a:pt x="6214" y="2191"/>
                    <a:pt x="6177" y="2191"/>
                    <a:pt x="6140" y="2191"/>
                  </a:cubicBezTo>
                  <a:cubicBezTo>
                    <a:pt x="6133" y="2191"/>
                    <a:pt x="6133" y="2191"/>
                    <a:pt x="6133" y="2191"/>
                  </a:cubicBezTo>
                  <a:close/>
                  <a:moveTo>
                    <a:pt x="6104" y="2133"/>
                  </a:moveTo>
                  <a:lnTo>
                    <a:pt x="6104" y="2133"/>
                  </a:lnTo>
                  <a:cubicBezTo>
                    <a:pt x="6096" y="2140"/>
                    <a:pt x="6096" y="2140"/>
                    <a:pt x="6096" y="2140"/>
                  </a:cubicBezTo>
                  <a:cubicBezTo>
                    <a:pt x="6089" y="2147"/>
                    <a:pt x="6089" y="2155"/>
                    <a:pt x="6089" y="2155"/>
                  </a:cubicBezTo>
                  <a:cubicBezTo>
                    <a:pt x="6096" y="2162"/>
                    <a:pt x="6096" y="2169"/>
                    <a:pt x="6104" y="2169"/>
                  </a:cubicBezTo>
                  <a:lnTo>
                    <a:pt x="6104" y="2169"/>
                  </a:lnTo>
                  <a:cubicBezTo>
                    <a:pt x="6096" y="2162"/>
                    <a:pt x="6096" y="2147"/>
                    <a:pt x="6104" y="2133"/>
                  </a:cubicBezTo>
                  <a:close/>
                  <a:moveTo>
                    <a:pt x="1729" y="2286"/>
                  </a:moveTo>
                  <a:lnTo>
                    <a:pt x="1729" y="2286"/>
                  </a:lnTo>
                  <a:lnTo>
                    <a:pt x="1729" y="2286"/>
                  </a:lnTo>
                  <a:cubicBezTo>
                    <a:pt x="1729" y="2272"/>
                    <a:pt x="1729" y="2265"/>
                    <a:pt x="1729" y="2257"/>
                  </a:cubicBezTo>
                  <a:cubicBezTo>
                    <a:pt x="1729" y="2235"/>
                    <a:pt x="1722" y="2206"/>
                    <a:pt x="1758" y="2177"/>
                  </a:cubicBezTo>
                  <a:cubicBezTo>
                    <a:pt x="1766" y="2169"/>
                    <a:pt x="1773" y="2162"/>
                    <a:pt x="1781" y="2155"/>
                  </a:cubicBezTo>
                  <a:cubicBezTo>
                    <a:pt x="1788" y="2147"/>
                    <a:pt x="1795" y="2140"/>
                    <a:pt x="1817" y="2140"/>
                  </a:cubicBezTo>
                  <a:cubicBezTo>
                    <a:pt x="1824" y="2140"/>
                    <a:pt x="1832" y="2140"/>
                    <a:pt x="1839" y="2147"/>
                  </a:cubicBezTo>
                  <a:cubicBezTo>
                    <a:pt x="1861" y="2155"/>
                    <a:pt x="1883" y="2169"/>
                    <a:pt x="1890" y="2191"/>
                  </a:cubicBezTo>
                  <a:cubicBezTo>
                    <a:pt x="1890" y="2206"/>
                    <a:pt x="1883" y="2220"/>
                    <a:pt x="1868" y="2235"/>
                  </a:cubicBezTo>
                  <a:cubicBezTo>
                    <a:pt x="1839" y="2272"/>
                    <a:pt x="1773" y="2308"/>
                    <a:pt x="1766" y="2316"/>
                  </a:cubicBezTo>
                  <a:cubicBezTo>
                    <a:pt x="1758" y="2316"/>
                    <a:pt x="1758" y="2316"/>
                    <a:pt x="1758" y="2316"/>
                  </a:cubicBezTo>
                  <a:lnTo>
                    <a:pt x="1729" y="2286"/>
                  </a:lnTo>
                  <a:close/>
                  <a:moveTo>
                    <a:pt x="5312" y="1576"/>
                  </a:moveTo>
                  <a:lnTo>
                    <a:pt x="5312" y="1576"/>
                  </a:lnTo>
                  <a:cubicBezTo>
                    <a:pt x="5283" y="1576"/>
                    <a:pt x="5254" y="1561"/>
                    <a:pt x="5224" y="1546"/>
                  </a:cubicBezTo>
                  <a:cubicBezTo>
                    <a:pt x="5217" y="1539"/>
                    <a:pt x="5210" y="1532"/>
                    <a:pt x="5195" y="1524"/>
                  </a:cubicBezTo>
                  <a:cubicBezTo>
                    <a:pt x="5158" y="1510"/>
                    <a:pt x="5158" y="1510"/>
                    <a:pt x="5158" y="1510"/>
                  </a:cubicBezTo>
                  <a:cubicBezTo>
                    <a:pt x="5195" y="1495"/>
                    <a:pt x="5195" y="1495"/>
                    <a:pt x="5195" y="1495"/>
                  </a:cubicBezTo>
                  <a:cubicBezTo>
                    <a:pt x="5217" y="1495"/>
                    <a:pt x="5298" y="1458"/>
                    <a:pt x="5364" y="1392"/>
                  </a:cubicBezTo>
                  <a:cubicBezTo>
                    <a:pt x="5386" y="1370"/>
                    <a:pt x="5386" y="1370"/>
                    <a:pt x="5386" y="1370"/>
                  </a:cubicBezTo>
                  <a:cubicBezTo>
                    <a:pt x="5393" y="1385"/>
                    <a:pt x="5393" y="1385"/>
                    <a:pt x="5393" y="1385"/>
                  </a:cubicBezTo>
                  <a:cubicBezTo>
                    <a:pt x="5400" y="1392"/>
                    <a:pt x="5408" y="1400"/>
                    <a:pt x="5415" y="1415"/>
                  </a:cubicBezTo>
                  <a:cubicBezTo>
                    <a:pt x="5429" y="1422"/>
                    <a:pt x="5437" y="1444"/>
                    <a:pt x="5429" y="1458"/>
                  </a:cubicBezTo>
                  <a:cubicBezTo>
                    <a:pt x="5422" y="1502"/>
                    <a:pt x="5378" y="1554"/>
                    <a:pt x="5342" y="1568"/>
                  </a:cubicBezTo>
                  <a:cubicBezTo>
                    <a:pt x="5334" y="1576"/>
                    <a:pt x="5327" y="1576"/>
                    <a:pt x="5312" y="1576"/>
                  </a:cubicBezTo>
                  <a:close/>
                  <a:moveTo>
                    <a:pt x="5129" y="1458"/>
                  </a:moveTo>
                  <a:lnTo>
                    <a:pt x="5129" y="1458"/>
                  </a:lnTo>
                  <a:cubicBezTo>
                    <a:pt x="5114" y="1458"/>
                    <a:pt x="5100" y="1458"/>
                    <a:pt x="5085" y="1444"/>
                  </a:cubicBezTo>
                  <a:cubicBezTo>
                    <a:pt x="5070" y="1436"/>
                    <a:pt x="5056" y="1422"/>
                    <a:pt x="5048" y="1415"/>
                  </a:cubicBezTo>
                  <a:cubicBezTo>
                    <a:pt x="5019" y="1400"/>
                    <a:pt x="4997" y="1378"/>
                    <a:pt x="4975" y="1348"/>
                  </a:cubicBezTo>
                  <a:cubicBezTo>
                    <a:pt x="4953" y="1319"/>
                    <a:pt x="4924" y="1305"/>
                    <a:pt x="4895" y="1290"/>
                  </a:cubicBezTo>
                  <a:cubicBezTo>
                    <a:pt x="4865" y="1268"/>
                    <a:pt x="4865" y="1268"/>
                    <a:pt x="4865" y="1268"/>
                  </a:cubicBezTo>
                  <a:cubicBezTo>
                    <a:pt x="4829" y="1253"/>
                    <a:pt x="4785" y="1224"/>
                    <a:pt x="4785" y="1165"/>
                  </a:cubicBezTo>
                  <a:cubicBezTo>
                    <a:pt x="4785" y="1143"/>
                    <a:pt x="4785" y="1121"/>
                    <a:pt x="4785" y="1099"/>
                  </a:cubicBezTo>
                  <a:cubicBezTo>
                    <a:pt x="4792" y="1092"/>
                    <a:pt x="4792" y="1092"/>
                    <a:pt x="4792" y="1092"/>
                  </a:cubicBezTo>
                  <a:cubicBezTo>
                    <a:pt x="4799" y="1092"/>
                    <a:pt x="4799" y="1092"/>
                    <a:pt x="4799" y="1092"/>
                  </a:cubicBezTo>
                  <a:cubicBezTo>
                    <a:pt x="4807" y="1092"/>
                    <a:pt x="4865" y="1077"/>
                    <a:pt x="4990" y="1077"/>
                  </a:cubicBezTo>
                  <a:cubicBezTo>
                    <a:pt x="5019" y="1077"/>
                    <a:pt x="5034" y="1063"/>
                    <a:pt x="5034" y="1041"/>
                  </a:cubicBezTo>
                  <a:cubicBezTo>
                    <a:pt x="5034" y="997"/>
                    <a:pt x="4990" y="938"/>
                    <a:pt x="4953" y="938"/>
                  </a:cubicBezTo>
                  <a:cubicBezTo>
                    <a:pt x="4902" y="938"/>
                    <a:pt x="4880" y="916"/>
                    <a:pt x="4865" y="901"/>
                  </a:cubicBezTo>
                  <a:cubicBezTo>
                    <a:pt x="4858" y="894"/>
                    <a:pt x="4851" y="894"/>
                    <a:pt x="4851" y="894"/>
                  </a:cubicBezTo>
                  <a:cubicBezTo>
                    <a:pt x="4829" y="887"/>
                    <a:pt x="4829" y="887"/>
                    <a:pt x="4829" y="887"/>
                  </a:cubicBezTo>
                  <a:cubicBezTo>
                    <a:pt x="4829" y="894"/>
                    <a:pt x="4829" y="894"/>
                    <a:pt x="4829" y="894"/>
                  </a:cubicBezTo>
                  <a:cubicBezTo>
                    <a:pt x="4814" y="894"/>
                    <a:pt x="4814" y="894"/>
                    <a:pt x="4814" y="894"/>
                  </a:cubicBezTo>
                  <a:cubicBezTo>
                    <a:pt x="4777" y="887"/>
                    <a:pt x="4755" y="858"/>
                    <a:pt x="4755" y="821"/>
                  </a:cubicBezTo>
                  <a:cubicBezTo>
                    <a:pt x="4755" y="762"/>
                    <a:pt x="4785" y="726"/>
                    <a:pt x="4814" y="696"/>
                  </a:cubicBezTo>
                  <a:cubicBezTo>
                    <a:pt x="4829" y="682"/>
                    <a:pt x="4829" y="660"/>
                    <a:pt x="4836" y="630"/>
                  </a:cubicBezTo>
                  <a:cubicBezTo>
                    <a:pt x="4836" y="608"/>
                    <a:pt x="4836" y="608"/>
                    <a:pt x="4836" y="608"/>
                  </a:cubicBezTo>
                  <a:cubicBezTo>
                    <a:pt x="4836" y="579"/>
                    <a:pt x="4836" y="535"/>
                    <a:pt x="4851" y="498"/>
                  </a:cubicBezTo>
                  <a:cubicBezTo>
                    <a:pt x="4858" y="477"/>
                    <a:pt x="4865" y="447"/>
                    <a:pt x="4895" y="447"/>
                  </a:cubicBezTo>
                  <a:cubicBezTo>
                    <a:pt x="4902" y="447"/>
                    <a:pt x="4909" y="447"/>
                    <a:pt x="4924" y="455"/>
                  </a:cubicBezTo>
                  <a:cubicBezTo>
                    <a:pt x="4931" y="462"/>
                    <a:pt x="4939" y="462"/>
                    <a:pt x="4953" y="462"/>
                  </a:cubicBezTo>
                  <a:cubicBezTo>
                    <a:pt x="4961" y="462"/>
                    <a:pt x="4968" y="462"/>
                    <a:pt x="4968" y="455"/>
                  </a:cubicBezTo>
                  <a:cubicBezTo>
                    <a:pt x="4983" y="447"/>
                    <a:pt x="4983" y="447"/>
                    <a:pt x="4983" y="447"/>
                  </a:cubicBezTo>
                  <a:cubicBezTo>
                    <a:pt x="5005" y="469"/>
                    <a:pt x="5005" y="469"/>
                    <a:pt x="5005" y="469"/>
                  </a:cubicBezTo>
                  <a:cubicBezTo>
                    <a:pt x="5012" y="469"/>
                    <a:pt x="5019" y="469"/>
                    <a:pt x="5027" y="469"/>
                  </a:cubicBezTo>
                  <a:cubicBezTo>
                    <a:pt x="5056" y="469"/>
                    <a:pt x="5070" y="484"/>
                    <a:pt x="5078" y="506"/>
                  </a:cubicBezTo>
                  <a:cubicBezTo>
                    <a:pt x="5085" y="528"/>
                    <a:pt x="5085" y="528"/>
                    <a:pt x="5085" y="528"/>
                  </a:cubicBezTo>
                  <a:cubicBezTo>
                    <a:pt x="5093" y="550"/>
                    <a:pt x="5093" y="557"/>
                    <a:pt x="5107" y="565"/>
                  </a:cubicBezTo>
                  <a:cubicBezTo>
                    <a:pt x="5114" y="565"/>
                    <a:pt x="5114" y="572"/>
                    <a:pt x="5122" y="572"/>
                  </a:cubicBezTo>
                  <a:cubicBezTo>
                    <a:pt x="5129" y="572"/>
                    <a:pt x="5136" y="579"/>
                    <a:pt x="5144" y="579"/>
                  </a:cubicBezTo>
                  <a:lnTo>
                    <a:pt x="5144" y="579"/>
                  </a:lnTo>
                  <a:cubicBezTo>
                    <a:pt x="5144" y="565"/>
                    <a:pt x="5144" y="557"/>
                    <a:pt x="5144" y="542"/>
                  </a:cubicBezTo>
                  <a:cubicBezTo>
                    <a:pt x="5144" y="528"/>
                    <a:pt x="5144" y="520"/>
                    <a:pt x="5136" y="491"/>
                  </a:cubicBezTo>
                  <a:cubicBezTo>
                    <a:pt x="5136" y="484"/>
                    <a:pt x="5129" y="477"/>
                    <a:pt x="5129" y="469"/>
                  </a:cubicBezTo>
                  <a:cubicBezTo>
                    <a:pt x="5122" y="455"/>
                    <a:pt x="5114" y="440"/>
                    <a:pt x="5122" y="425"/>
                  </a:cubicBezTo>
                  <a:cubicBezTo>
                    <a:pt x="5122" y="410"/>
                    <a:pt x="5136" y="410"/>
                    <a:pt x="5158" y="403"/>
                  </a:cubicBezTo>
                  <a:cubicBezTo>
                    <a:pt x="5180" y="396"/>
                    <a:pt x="5180" y="396"/>
                    <a:pt x="5180" y="396"/>
                  </a:cubicBezTo>
                  <a:cubicBezTo>
                    <a:pt x="5188" y="396"/>
                    <a:pt x="5195" y="396"/>
                    <a:pt x="5203" y="396"/>
                  </a:cubicBezTo>
                  <a:cubicBezTo>
                    <a:pt x="5232" y="396"/>
                    <a:pt x="5239" y="425"/>
                    <a:pt x="5239" y="455"/>
                  </a:cubicBezTo>
                  <a:cubicBezTo>
                    <a:pt x="5246" y="498"/>
                    <a:pt x="5261" y="535"/>
                    <a:pt x="5290" y="535"/>
                  </a:cubicBezTo>
                  <a:cubicBezTo>
                    <a:pt x="5298" y="535"/>
                    <a:pt x="5298" y="535"/>
                    <a:pt x="5305" y="528"/>
                  </a:cubicBezTo>
                  <a:cubicBezTo>
                    <a:pt x="5312" y="528"/>
                    <a:pt x="5312" y="528"/>
                    <a:pt x="5320" y="528"/>
                  </a:cubicBezTo>
                  <a:cubicBezTo>
                    <a:pt x="5342" y="528"/>
                    <a:pt x="5349" y="550"/>
                    <a:pt x="5356" y="586"/>
                  </a:cubicBezTo>
                  <a:cubicBezTo>
                    <a:pt x="5371" y="645"/>
                    <a:pt x="5393" y="652"/>
                    <a:pt x="5422" y="667"/>
                  </a:cubicBezTo>
                  <a:cubicBezTo>
                    <a:pt x="5429" y="667"/>
                    <a:pt x="5437" y="667"/>
                    <a:pt x="5444" y="667"/>
                  </a:cubicBezTo>
                  <a:cubicBezTo>
                    <a:pt x="5466" y="674"/>
                    <a:pt x="5488" y="682"/>
                    <a:pt x="5481" y="740"/>
                  </a:cubicBezTo>
                  <a:cubicBezTo>
                    <a:pt x="5481" y="799"/>
                    <a:pt x="5474" y="828"/>
                    <a:pt x="5503" y="850"/>
                  </a:cubicBezTo>
                  <a:cubicBezTo>
                    <a:pt x="5517" y="858"/>
                    <a:pt x="5525" y="865"/>
                    <a:pt x="5532" y="872"/>
                  </a:cubicBezTo>
                  <a:cubicBezTo>
                    <a:pt x="5554" y="879"/>
                    <a:pt x="5561" y="887"/>
                    <a:pt x="5576" y="887"/>
                  </a:cubicBezTo>
                  <a:cubicBezTo>
                    <a:pt x="5584" y="887"/>
                    <a:pt x="5584" y="887"/>
                    <a:pt x="5591" y="887"/>
                  </a:cubicBezTo>
                  <a:cubicBezTo>
                    <a:pt x="5605" y="879"/>
                    <a:pt x="5620" y="872"/>
                    <a:pt x="5627" y="865"/>
                  </a:cubicBezTo>
                  <a:cubicBezTo>
                    <a:pt x="5649" y="858"/>
                    <a:pt x="5664" y="843"/>
                    <a:pt x="5686" y="843"/>
                  </a:cubicBezTo>
                  <a:cubicBezTo>
                    <a:pt x="5693" y="843"/>
                    <a:pt x="5701" y="850"/>
                    <a:pt x="5715" y="850"/>
                  </a:cubicBezTo>
                  <a:cubicBezTo>
                    <a:pt x="5715" y="858"/>
                    <a:pt x="5723" y="858"/>
                    <a:pt x="5723" y="858"/>
                  </a:cubicBezTo>
                  <a:cubicBezTo>
                    <a:pt x="5730" y="858"/>
                    <a:pt x="5730" y="858"/>
                    <a:pt x="5730" y="858"/>
                  </a:cubicBezTo>
                  <a:cubicBezTo>
                    <a:pt x="5730" y="865"/>
                    <a:pt x="5730" y="865"/>
                    <a:pt x="5730" y="865"/>
                  </a:cubicBezTo>
                  <a:cubicBezTo>
                    <a:pt x="5745" y="879"/>
                    <a:pt x="5759" y="894"/>
                    <a:pt x="5774" y="894"/>
                  </a:cubicBezTo>
                  <a:cubicBezTo>
                    <a:pt x="5781" y="901"/>
                    <a:pt x="5781" y="901"/>
                    <a:pt x="5781" y="901"/>
                  </a:cubicBezTo>
                  <a:lnTo>
                    <a:pt x="5781" y="901"/>
                  </a:lnTo>
                  <a:cubicBezTo>
                    <a:pt x="5796" y="924"/>
                    <a:pt x="5803" y="931"/>
                    <a:pt x="5811" y="931"/>
                  </a:cubicBezTo>
                  <a:cubicBezTo>
                    <a:pt x="5818" y="931"/>
                    <a:pt x="5833" y="931"/>
                    <a:pt x="5840" y="924"/>
                  </a:cubicBezTo>
                  <a:cubicBezTo>
                    <a:pt x="5847" y="924"/>
                    <a:pt x="5847" y="924"/>
                    <a:pt x="5847" y="924"/>
                  </a:cubicBezTo>
                  <a:cubicBezTo>
                    <a:pt x="5855" y="924"/>
                    <a:pt x="5855" y="924"/>
                    <a:pt x="5855" y="924"/>
                  </a:cubicBezTo>
                  <a:cubicBezTo>
                    <a:pt x="5884" y="938"/>
                    <a:pt x="5913" y="960"/>
                    <a:pt x="5935" y="982"/>
                  </a:cubicBezTo>
                  <a:cubicBezTo>
                    <a:pt x="5950" y="989"/>
                    <a:pt x="5957" y="997"/>
                    <a:pt x="5972" y="1004"/>
                  </a:cubicBezTo>
                  <a:cubicBezTo>
                    <a:pt x="6023" y="1041"/>
                    <a:pt x="6082" y="1085"/>
                    <a:pt x="6052" y="1136"/>
                  </a:cubicBezTo>
                  <a:cubicBezTo>
                    <a:pt x="6045" y="1158"/>
                    <a:pt x="6030" y="1165"/>
                    <a:pt x="6016" y="1173"/>
                  </a:cubicBezTo>
                  <a:cubicBezTo>
                    <a:pt x="6008" y="1180"/>
                    <a:pt x="6008" y="1180"/>
                    <a:pt x="6008" y="1187"/>
                  </a:cubicBezTo>
                  <a:cubicBezTo>
                    <a:pt x="6023" y="1224"/>
                    <a:pt x="6023" y="1290"/>
                    <a:pt x="6008" y="1334"/>
                  </a:cubicBezTo>
                  <a:cubicBezTo>
                    <a:pt x="6008" y="1341"/>
                    <a:pt x="6001" y="1363"/>
                    <a:pt x="5972" y="1363"/>
                  </a:cubicBezTo>
                  <a:cubicBezTo>
                    <a:pt x="5928" y="1363"/>
                    <a:pt x="5884" y="1334"/>
                    <a:pt x="5877" y="1334"/>
                  </a:cubicBezTo>
                  <a:cubicBezTo>
                    <a:pt x="5869" y="1327"/>
                    <a:pt x="5869" y="1327"/>
                    <a:pt x="5869" y="1327"/>
                  </a:cubicBezTo>
                  <a:lnTo>
                    <a:pt x="5869" y="1327"/>
                  </a:lnTo>
                  <a:cubicBezTo>
                    <a:pt x="5862" y="1312"/>
                    <a:pt x="5840" y="1231"/>
                    <a:pt x="5884" y="1202"/>
                  </a:cubicBezTo>
                  <a:cubicBezTo>
                    <a:pt x="5891" y="1187"/>
                    <a:pt x="5877" y="1151"/>
                    <a:pt x="5855" y="1129"/>
                  </a:cubicBezTo>
                  <a:cubicBezTo>
                    <a:pt x="5840" y="1143"/>
                    <a:pt x="5796" y="1180"/>
                    <a:pt x="5767" y="1180"/>
                  </a:cubicBezTo>
                  <a:cubicBezTo>
                    <a:pt x="5759" y="1180"/>
                    <a:pt x="5759" y="1180"/>
                    <a:pt x="5752" y="1173"/>
                  </a:cubicBezTo>
                  <a:cubicBezTo>
                    <a:pt x="5737" y="1173"/>
                    <a:pt x="5723" y="1158"/>
                    <a:pt x="5715" y="1143"/>
                  </a:cubicBezTo>
                  <a:cubicBezTo>
                    <a:pt x="5708" y="1136"/>
                    <a:pt x="5708" y="1129"/>
                    <a:pt x="5701" y="1129"/>
                  </a:cubicBezTo>
                  <a:cubicBezTo>
                    <a:pt x="5701" y="1129"/>
                    <a:pt x="5693" y="1129"/>
                    <a:pt x="5686" y="1136"/>
                  </a:cubicBezTo>
                  <a:cubicBezTo>
                    <a:pt x="5664" y="1151"/>
                    <a:pt x="5642" y="1187"/>
                    <a:pt x="5627" y="1209"/>
                  </a:cubicBezTo>
                  <a:cubicBezTo>
                    <a:pt x="5605" y="1239"/>
                    <a:pt x="5598" y="1246"/>
                    <a:pt x="5591" y="1246"/>
                  </a:cubicBezTo>
                  <a:cubicBezTo>
                    <a:pt x="5584" y="1246"/>
                    <a:pt x="5584" y="1246"/>
                    <a:pt x="5584" y="1246"/>
                  </a:cubicBezTo>
                  <a:cubicBezTo>
                    <a:pt x="5576" y="1239"/>
                    <a:pt x="5576" y="1239"/>
                    <a:pt x="5576" y="1239"/>
                  </a:cubicBezTo>
                  <a:cubicBezTo>
                    <a:pt x="5569" y="1231"/>
                    <a:pt x="5569" y="1224"/>
                    <a:pt x="5576" y="1217"/>
                  </a:cubicBezTo>
                  <a:cubicBezTo>
                    <a:pt x="5576" y="1202"/>
                    <a:pt x="5584" y="1187"/>
                    <a:pt x="5584" y="1180"/>
                  </a:cubicBezTo>
                  <a:lnTo>
                    <a:pt x="5584" y="1180"/>
                  </a:lnTo>
                  <a:cubicBezTo>
                    <a:pt x="5584" y="1173"/>
                    <a:pt x="5584" y="1173"/>
                    <a:pt x="5576" y="1173"/>
                  </a:cubicBezTo>
                  <a:cubicBezTo>
                    <a:pt x="5547" y="1173"/>
                    <a:pt x="5539" y="1180"/>
                    <a:pt x="5517" y="1195"/>
                  </a:cubicBezTo>
                  <a:cubicBezTo>
                    <a:pt x="5503" y="1202"/>
                    <a:pt x="5488" y="1209"/>
                    <a:pt x="5466" y="1217"/>
                  </a:cubicBezTo>
                  <a:cubicBezTo>
                    <a:pt x="5422" y="1246"/>
                    <a:pt x="5415" y="1253"/>
                    <a:pt x="5408" y="1283"/>
                  </a:cubicBezTo>
                  <a:cubicBezTo>
                    <a:pt x="5408" y="1290"/>
                    <a:pt x="5400" y="1305"/>
                    <a:pt x="5400" y="1312"/>
                  </a:cubicBezTo>
                  <a:cubicBezTo>
                    <a:pt x="5393" y="1319"/>
                    <a:pt x="5393" y="1319"/>
                    <a:pt x="5393" y="1319"/>
                  </a:cubicBezTo>
                  <a:cubicBezTo>
                    <a:pt x="5386" y="1334"/>
                    <a:pt x="5386" y="1334"/>
                    <a:pt x="5386" y="1334"/>
                  </a:cubicBezTo>
                  <a:cubicBezTo>
                    <a:pt x="5342" y="1348"/>
                    <a:pt x="5312" y="1363"/>
                    <a:pt x="5290" y="1363"/>
                  </a:cubicBezTo>
                  <a:cubicBezTo>
                    <a:pt x="5283" y="1363"/>
                    <a:pt x="5283" y="1363"/>
                    <a:pt x="5276" y="1363"/>
                  </a:cubicBezTo>
                  <a:cubicBezTo>
                    <a:pt x="5261" y="1363"/>
                    <a:pt x="5254" y="1356"/>
                    <a:pt x="5246" y="1356"/>
                  </a:cubicBezTo>
                  <a:lnTo>
                    <a:pt x="5239" y="1356"/>
                  </a:lnTo>
                  <a:cubicBezTo>
                    <a:pt x="5239" y="1356"/>
                    <a:pt x="5232" y="1356"/>
                    <a:pt x="5217" y="1378"/>
                  </a:cubicBezTo>
                  <a:cubicBezTo>
                    <a:pt x="5210" y="1385"/>
                    <a:pt x="5210" y="1392"/>
                    <a:pt x="5203" y="1400"/>
                  </a:cubicBezTo>
                  <a:cubicBezTo>
                    <a:pt x="5180" y="1429"/>
                    <a:pt x="5158" y="1458"/>
                    <a:pt x="5129" y="1458"/>
                  </a:cubicBezTo>
                  <a:close/>
                  <a:moveTo>
                    <a:pt x="4902" y="652"/>
                  </a:moveTo>
                  <a:lnTo>
                    <a:pt x="4902" y="652"/>
                  </a:lnTo>
                  <a:cubicBezTo>
                    <a:pt x="4946" y="674"/>
                    <a:pt x="4953" y="682"/>
                    <a:pt x="4946" y="696"/>
                  </a:cubicBezTo>
                  <a:cubicBezTo>
                    <a:pt x="4946" y="704"/>
                    <a:pt x="4946" y="704"/>
                    <a:pt x="4946" y="711"/>
                  </a:cubicBezTo>
                  <a:cubicBezTo>
                    <a:pt x="4953" y="748"/>
                    <a:pt x="4924" y="770"/>
                    <a:pt x="4887" y="799"/>
                  </a:cubicBezTo>
                  <a:cubicBezTo>
                    <a:pt x="4880" y="806"/>
                    <a:pt x="4873" y="806"/>
                    <a:pt x="4865" y="814"/>
                  </a:cubicBezTo>
                  <a:cubicBezTo>
                    <a:pt x="4851" y="828"/>
                    <a:pt x="4836" y="858"/>
                    <a:pt x="4836" y="872"/>
                  </a:cubicBezTo>
                  <a:cubicBezTo>
                    <a:pt x="4843" y="865"/>
                    <a:pt x="4843" y="865"/>
                    <a:pt x="4843" y="865"/>
                  </a:cubicBezTo>
                  <a:cubicBezTo>
                    <a:pt x="4865" y="850"/>
                    <a:pt x="4880" y="836"/>
                    <a:pt x="4895" y="821"/>
                  </a:cubicBezTo>
                  <a:cubicBezTo>
                    <a:pt x="4924" y="792"/>
                    <a:pt x="4968" y="777"/>
                    <a:pt x="5012" y="755"/>
                  </a:cubicBezTo>
                  <a:cubicBezTo>
                    <a:pt x="5027" y="748"/>
                    <a:pt x="5034" y="748"/>
                    <a:pt x="5048" y="740"/>
                  </a:cubicBezTo>
                  <a:cubicBezTo>
                    <a:pt x="5078" y="726"/>
                    <a:pt x="5078" y="718"/>
                    <a:pt x="5078" y="718"/>
                  </a:cubicBezTo>
                  <a:lnTo>
                    <a:pt x="5078" y="718"/>
                  </a:lnTo>
                  <a:cubicBezTo>
                    <a:pt x="5078" y="718"/>
                    <a:pt x="5070" y="718"/>
                    <a:pt x="5070" y="711"/>
                  </a:cubicBezTo>
                  <a:cubicBezTo>
                    <a:pt x="5063" y="711"/>
                    <a:pt x="5063" y="711"/>
                    <a:pt x="5063" y="704"/>
                  </a:cubicBezTo>
                  <a:cubicBezTo>
                    <a:pt x="5056" y="704"/>
                    <a:pt x="5048" y="696"/>
                    <a:pt x="5048" y="696"/>
                  </a:cubicBezTo>
                  <a:cubicBezTo>
                    <a:pt x="5034" y="682"/>
                    <a:pt x="5027" y="674"/>
                    <a:pt x="5012" y="652"/>
                  </a:cubicBezTo>
                  <a:cubicBezTo>
                    <a:pt x="4997" y="645"/>
                    <a:pt x="4997" y="630"/>
                    <a:pt x="4990" y="623"/>
                  </a:cubicBezTo>
                  <a:lnTo>
                    <a:pt x="4990" y="616"/>
                  </a:lnTo>
                  <a:lnTo>
                    <a:pt x="4983" y="616"/>
                  </a:lnTo>
                  <a:cubicBezTo>
                    <a:pt x="4983" y="616"/>
                    <a:pt x="4983" y="616"/>
                    <a:pt x="4975" y="616"/>
                  </a:cubicBezTo>
                  <a:cubicBezTo>
                    <a:pt x="4946" y="623"/>
                    <a:pt x="4939" y="623"/>
                    <a:pt x="4902" y="645"/>
                  </a:cubicBezTo>
                  <a:cubicBezTo>
                    <a:pt x="4902" y="645"/>
                    <a:pt x="4902" y="645"/>
                    <a:pt x="4895" y="645"/>
                  </a:cubicBezTo>
                  <a:cubicBezTo>
                    <a:pt x="4902" y="645"/>
                    <a:pt x="4902" y="645"/>
                    <a:pt x="4902" y="652"/>
                  </a:cubicBezTo>
                  <a:close/>
                  <a:moveTo>
                    <a:pt x="5561" y="696"/>
                  </a:moveTo>
                  <a:lnTo>
                    <a:pt x="5561" y="696"/>
                  </a:lnTo>
                  <a:cubicBezTo>
                    <a:pt x="5539" y="696"/>
                    <a:pt x="5525" y="689"/>
                    <a:pt x="5510" y="674"/>
                  </a:cubicBezTo>
                  <a:cubicBezTo>
                    <a:pt x="5510" y="674"/>
                    <a:pt x="5503" y="667"/>
                    <a:pt x="5495" y="667"/>
                  </a:cubicBezTo>
                  <a:cubicBezTo>
                    <a:pt x="5481" y="645"/>
                    <a:pt x="5474" y="638"/>
                    <a:pt x="5488" y="594"/>
                  </a:cubicBezTo>
                  <a:cubicBezTo>
                    <a:pt x="5503" y="528"/>
                    <a:pt x="5510" y="506"/>
                    <a:pt x="5503" y="469"/>
                  </a:cubicBezTo>
                  <a:cubicBezTo>
                    <a:pt x="5488" y="425"/>
                    <a:pt x="5488" y="389"/>
                    <a:pt x="5503" y="367"/>
                  </a:cubicBezTo>
                  <a:cubicBezTo>
                    <a:pt x="5525" y="330"/>
                    <a:pt x="5576" y="315"/>
                    <a:pt x="5627" y="301"/>
                  </a:cubicBezTo>
                  <a:cubicBezTo>
                    <a:pt x="5657" y="293"/>
                    <a:pt x="5693" y="286"/>
                    <a:pt x="5715" y="271"/>
                  </a:cubicBezTo>
                  <a:cubicBezTo>
                    <a:pt x="5723" y="271"/>
                    <a:pt x="5737" y="264"/>
                    <a:pt x="5745" y="264"/>
                  </a:cubicBezTo>
                  <a:cubicBezTo>
                    <a:pt x="5796" y="264"/>
                    <a:pt x="5825" y="345"/>
                    <a:pt x="5847" y="396"/>
                  </a:cubicBezTo>
                  <a:cubicBezTo>
                    <a:pt x="5855" y="410"/>
                    <a:pt x="5855" y="418"/>
                    <a:pt x="5862" y="425"/>
                  </a:cubicBezTo>
                  <a:cubicBezTo>
                    <a:pt x="5898" y="498"/>
                    <a:pt x="5796" y="557"/>
                    <a:pt x="5767" y="572"/>
                  </a:cubicBezTo>
                  <a:cubicBezTo>
                    <a:pt x="5723" y="601"/>
                    <a:pt x="5708" y="616"/>
                    <a:pt x="5671" y="660"/>
                  </a:cubicBezTo>
                  <a:cubicBezTo>
                    <a:pt x="5657" y="682"/>
                    <a:pt x="5657" y="682"/>
                    <a:pt x="5657" y="682"/>
                  </a:cubicBezTo>
                  <a:cubicBezTo>
                    <a:pt x="5649" y="682"/>
                    <a:pt x="5649" y="682"/>
                    <a:pt x="5649" y="682"/>
                  </a:cubicBezTo>
                  <a:cubicBezTo>
                    <a:pt x="5642" y="674"/>
                    <a:pt x="5642" y="674"/>
                    <a:pt x="5642" y="674"/>
                  </a:cubicBezTo>
                  <a:cubicBezTo>
                    <a:pt x="5635" y="682"/>
                    <a:pt x="5598" y="696"/>
                    <a:pt x="5561" y="696"/>
                  </a:cubicBezTo>
                  <a:close/>
                  <a:moveTo>
                    <a:pt x="4997" y="410"/>
                  </a:moveTo>
                  <a:lnTo>
                    <a:pt x="4997" y="410"/>
                  </a:lnTo>
                  <a:cubicBezTo>
                    <a:pt x="5012" y="418"/>
                    <a:pt x="5012" y="418"/>
                    <a:pt x="5012" y="418"/>
                  </a:cubicBezTo>
                  <a:cubicBezTo>
                    <a:pt x="4997" y="410"/>
                    <a:pt x="4997" y="410"/>
                    <a:pt x="4997" y="410"/>
                  </a:cubicBezTo>
                  <a:cubicBezTo>
                    <a:pt x="5005" y="389"/>
                    <a:pt x="5012" y="359"/>
                    <a:pt x="5027" y="330"/>
                  </a:cubicBezTo>
                  <a:cubicBezTo>
                    <a:pt x="5063" y="264"/>
                    <a:pt x="5056" y="227"/>
                    <a:pt x="5048" y="205"/>
                  </a:cubicBezTo>
                  <a:cubicBezTo>
                    <a:pt x="4909" y="257"/>
                    <a:pt x="4909" y="257"/>
                    <a:pt x="4909" y="257"/>
                  </a:cubicBezTo>
                  <a:cubicBezTo>
                    <a:pt x="4917" y="227"/>
                    <a:pt x="4917" y="227"/>
                    <a:pt x="4917" y="227"/>
                  </a:cubicBezTo>
                  <a:cubicBezTo>
                    <a:pt x="4917" y="227"/>
                    <a:pt x="4939" y="139"/>
                    <a:pt x="4990" y="103"/>
                  </a:cubicBezTo>
                  <a:cubicBezTo>
                    <a:pt x="5019" y="88"/>
                    <a:pt x="5048" y="74"/>
                    <a:pt x="5093" y="59"/>
                  </a:cubicBezTo>
                  <a:cubicBezTo>
                    <a:pt x="5114" y="51"/>
                    <a:pt x="5144" y="37"/>
                    <a:pt x="5173" y="22"/>
                  </a:cubicBezTo>
                  <a:cubicBezTo>
                    <a:pt x="5217" y="0"/>
                    <a:pt x="5268" y="0"/>
                    <a:pt x="5305" y="0"/>
                  </a:cubicBezTo>
                  <a:cubicBezTo>
                    <a:pt x="5327" y="0"/>
                    <a:pt x="5342" y="0"/>
                    <a:pt x="5342" y="0"/>
                  </a:cubicBezTo>
                  <a:cubicBezTo>
                    <a:pt x="5349" y="0"/>
                    <a:pt x="5349" y="0"/>
                    <a:pt x="5349" y="0"/>
                  </a:cubicBezTo>
                  <a:cubicBezTo>
                    <a:pt x="5356" y="15"/>
                    <a:pt x="5356" y="15"/>
                    <a:pt x="5356" y="15"/>
                  </a:cubicBezTo>
                  <a:cubicBezTo>
                    <a:pt x="5356" y="15"/>
                    <a:pt x="5364" y="81"/>
                    <a:pt x="5312" y="132"/>
                  </a:cubicBezTo>
                  <a:cubicBezTo>
                    <a:pt x="5283" y="161"/>
                    <a:pt x="5268" y="191"/>
                    <a:pt x="5268" y="227"/>
                  </a:cubicBezTo>
                  <a:cubicBezTo>
                    <a:pt x="5268" y="235"/>
                    <a:pt x="5268" y="235"/>
                    <a:pt x="5268" y="235"/>
                  </a:cubicBezTo>
                  <a:cubicBezTo>
                    <a:pt x="5268" y="242"/>
                    <a:pt x="5268" y="242"/>
                    <a:pt x="5268" y="242"/>
                  </a:cubicBezTo>
                  <a:cubicBezTo>
                    <a:pt x="5203" y="323"/>
                    <a:pt x="5188" y="330"/>
                    <a:pt x="5180" y="330"/>
                  </a:cubicBezTo>
                  <a:cubicBezTo>
                    <a:pt x="5166" y="337"/>
                    <a:pt x="5158" y="345"/>
                    <a:pt x="5144" y="359"/>
                  </a:cubicBezTo>
                  <a:cubicBezTo>
                    <a:pt x="5122" y="381"/>
                    <a:pt x="5107" y="396"/>
                    <a:pt x="5093" y="403"/>
                  </a:cubicBezTo>
                  <a:cubicBezTo>
                    <a:pt x="5063" y="418"/>
                    <a:pt x="5048" y="418"/>
                    <a:pt x="5027" y="425"/>
                  </a:cubicBezTo>
                  <a:cubicBezTo>
                    <a:pt x="4983" y="440"/>
                    <a:pt x="4983" y="440"/>
                    <a:pt x="4983" y="440"/>
                  </a:cubicBezTo>
                  <a:lnTo>
                    <a:pt x="4997" y="4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3" name="Freeform 32"/>
            <p:cNvSpPr>
              <a:spLocks noChangeArrowheads="1"/>
            </p:cNvSpPr>
            <p:nvPr/>
          </p:nvSpPr>
          <p:spPr bwMode="auto">
            <a:xfrm>
              <a:off x="6438102" y="4261498"/>
              <a:ext cx="463272" cy="441385"/>
            </a:xfrm>
            <a:custGeom>
              <a:avLst/>
              <a:gdLst>
                <a:gd name="T0" fmla="*/ 908 w 1202"/>
                <a:gd name="T1" fmla="*/ 1165 h 1166"/>
                <a:gd name="T2" fmla="*/ 733 w 1202"/>
                <a:gd name="T3" fmla="*/ 1026 h 1166"/>
                <a:gd name="T4" fmla="*/ 652 w 1202"/>
                <a:gd name="T5" fmla="*/ 1011 h 1166"/>
                <a:gd name="T6" fmla="*/ 578 w 1202"/>
                <a:gd name="T7" fmla="*/ 1070 h 1166"/>
                <a:gd name="T8" fmla="*/ 491 w 1202"/>
                <a:gd name="T9" fmla="*/ 1128 h 1166"/>
                <a:gd name="T10" fmla="*/ 388 w 1202"/>
                <a:gd name="T11" fmla="*/ 1026 h 1166"/>
                <a:gd name="T12" fmla="*/ 366 w 1202"/>
                <a:gd name="T13" fmla="*/ 989 h 1166"/>
                <a:gd name="T14" fmla="*/ 285 w 1202"/>
                <a:gd name="T15" fmla="*/ 1048 h 1166"/>
                <a:gd name="T16" fmla="*/ 190 w 1202"/>
                <a:gd name="T17" fmla="*/ 989 h 1166"/>
                <a:gd name="T18" fmla="*/ 139 w 1202"/>
                <a:gd name="T19" fmla="*/ 769 h 1166"/>
                <a:gd name="T20" fmla="*/ 51 w 1202"/>
                <a:gd name="T21" fmla="*/ 652 h 1166"/>
                <a:gd name="T22" fmla="*/ 29 w 1202"/>
                <a:gd name="T23" fmla="*/ 645 h 1166"/>
                <a:gd name="T24" fmla="*/ 29 w 1202"/>
                <a:gd name="T25" fmla="*/ 505 h 1166"/>
                <a:gd name="T26" fmla="*/ 80 w 1202"/>
                <a:gd name="T27" fmla="*/ 396 h 1166"/>
                <a:gd name="T28" fmla="*/ 161 w 1202"/>
                <a:gd name="T29" fmla="*/ 469 h 1166"/>
                <a:gd name="T30" fmla="*/ 183 w 1202"/>
                <a:gd name="T31" fmla="*/ 527 h 1166"/>
                <a:gd name="T32" fmla="*/ 249 w 1202"/>
                <a:gd name="T33" fmla="*/ 484 h 1166"/>
                <a:gd name="T34" fmla="*/ 307 w 1202"/>
                <a:gd name="T35" fmla="*/ 410 h 1166"/>
                <a:gd name="T36" fmla="*/ 505 w 1202"/>
                <a:gd name="T37" fmla="*/ 293 h 1166"/>
                <a:gd name="T38" fmla="*/ 549 w 1202"/>
                <a:gd name="T39" fmla="*/ 227 h 1166"/>
                <a:gd name="T40" fmla="*/ 623 w 1202"/>
                <a:gd name="T41" fmla="*/ 212 h 1166"/>
                <a:gd name="T42" fmla="*/ 681 w 1202"/>
                <a:gd name="T43" fmla="*/ 154 h 1166"/>
                <a:gd name="T44" fmla="*/ 769 w 1202"/>
                <a:gd name="T45" fmla="*/ 73 h 1166"/>
                <a:gd name="T46" fmla="*/ 908 w 1202"/>
                <a:gd name="T47" fmla="*/ 0 h 1166"/>
                <a:gd name="T48" fmla="*/ 923 w 1202"/>
                <a:gd name="T49" fmla="*/ 7 h 1166"/>
                <a:gd name="T50" fmla="*/ 850 w 1202"/>
                <a:gd name="T51" fmla="*/ 212 h 1166"/>
                <a:gd name="T52" fmla="*/ 938 w 1202"/>
                <a:gd name="T53" fmla="*/ 300 h 1166"/>
                <a:gd name="T54" fmla="*/ 1004 w 1202"/>
                <a:gd name="T55" fmla="*/ 403 h 1166"/>
                <a:gd name="T56" fmla="*/ 952 w 1202"/>
                <a:gd name="T57" fmla="*/ 505 h 1166"/>
                <a:gd name="T58" fmla="*/ 967 w 1202"/>
                <a:gd name="T59" fmla="*/ 550 h 1166"/>
                <a:gd name="T60" fmla="*/ 872 w 1202"/>
                <a:gd name="T61" fmla="*/ 586 h 1166"/>
                <a:gd name="T62" fmla="*/ 872 w 1202"/>
                <a:gd name="T63" fmla="*/ 645 h 1166"/>
                <a:gd name="T64" fmla="*/ 1033 w 1202"/>
                <a:gd name="T65" fmla="*/ 828 h 1166"/>
                <a:gd name="T66" fmla="*/ 1187 w 1202"/>
                <a:gd name="T67" fmla="*/ 989 h 1166"/>
                <a:gd name="T68" fmla="*/ 1201 w 1202"/>
                <a:gd name="T69" fmla="*/ 1062 h 1166"/>
                <a:gd name="T70" fmla="*/ 1143 w 1202"/>
                <a:gd name="T71" fmla="*/ 1070 h 1166"/>
                <a:gd name="T72" fmla="*/ 1055 w 1202"/>
                <a:gd name="T73" fmla="*/ 1128 h 1166"/>
                <a:gd name="T74" fmla="*/ 923 w 1202"/>
                <a:gd name="T75" fmla="*/ 1165 h 1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02" h="1166">
                  <a:moveTo>
                    <a:pt x="908" y="1165"/>
                  </a:moveTo>
                  <a:lnTo>
                    <a:pt x="908" y="1165"/>
                  </a:lnTo>
                  <a:cubicBezTo>
                    <a:pt x="850" y="1165"/>
                    <a:pt x="776" y="1084"/>
                    <a:pt x="733" y="1026"/>
                  </a:cubicBezTo>
                  <a:lnTo>
                    <a:pt x="733" y="1026"/>
                  </a:lnTo>
                  <a:cubicBezTo>
                    <a:pt x="710" y="996"/>
                    <a:pt x="696" y="996"/>
                    <a:pt x="688" y="996"/>
                  </a:cubicBezTo>
                  <a:cubicBezTo>
                    <a:pt x="681" y="996"/>
                    <a:pt x="666" y="1004"/>
                    <a:pt x="652" y="1011"/>
                  </a:cubicBezTo>
                  <a:cubicBezTo>
                    <a:pt x="637" y="1018"/>
                    <a:pt x="637" y="1018"/>
                    <a:pt x="637" y="1018"/>
                  </a:cubicBezTo>
                  <a:cubicBezTo>
                    <a:pt x="608" y="1033"/>
                    <a:pt x="593" y="1048"/>
                    <a:pt x="578" y="1070"/>
                  </a:cubicBezTo>
                  <a:cubicBezTo>
                    <a:pt x="571" y="1077"/>
                    <a:pt x="557" y="1092"/>
                    <a:pt x="535" y="1106"/>
                  </a:cubicBezTo>
                  <a:cubicBezTo>
                    <a:pt x="520" y="1121"/>
                    <a:pt x="505" y="1128"/>
                    <a:pt x="491" y="1128"/>
                  </a:cubicBezTo>
                  <a:cubicBezTo>
                    <a:pt x="447" y="1128"/>
                    <a:pt x="410" y="1099"/>
                    <a:pt x="395" y="1070"/>
                  </a:cubicBezTo>
                  <a:cubicBezTo>
                    <a:pt x="388" y="1055"/>
                    <a:pt x="388" y="1041"/>
                    <a:pt x="388" y="1026"/>
                  </a:cubicBezTo>
                  <a:cubicBezTo>
                    <a:pt x="381" y="1004"/>
                    <a:pt x="381" y="996"/>
                    <a:pt x="373" y="996"/>
                  </a:cubicBezTo>
                  <a:cubicBezTo>
                    <a:pt x="366" y="996"/>
                    <a:pt x="366" y="989"/>
                    <a:pt x="366" y="989"/>
                  </a:cubicBezTo>
                  <a:cubicBezTo>
                    <a:pt x="351" y="989"/>
                    <a:pt x="329" y="1011"/>
                    <a:pt x="307" y="1026"/>
                  </a:cubicBezTo>
                  <a:cubicBezTo>
                    <a:pt x="300" y="1033"/>
                    <a:pt x="293" y="1041"/>
                    <a:pt x="285" y="1048"/>
                  </a:cubicBezTo>
                  <a:cubicBezTo>
                    <a:pt x="271" y="1055"/>
                    <a:pt x="264" y="1062"/>
                    <a:pt x="256" y="1062"/>
                  </a:cubicBezTo>
                  <a:cubicBezTo>
                    <a:pt x="227" y="1062"/>
                    <a:pt x="212" y="1026"/>
                    <a:pt x="190" y="989"/>
                  </a:cubicBezTo>
                  <a:cubicBezTo>
                    <a:pt x="183" y="974"/>
                    <a:pt x="168" y="960"/>
                    <a:pt x="161" y="945"/>
                  </a:cubicBezTo>
                  <a:cubicBezTo>
                    <a:pt x="124" y="909"/>
                    <a:pt x="132" y="828"/>
                    <a:pt x="139" y="769"/>
                  </a:cubicBezTo>
                  <a:cubicBezTo>
                    <a:pt x="146" y="725"/>
                    <a:pt x="102" y="689"/>
                    <a:pt x="66" y="659"/>
                  </a:cubicBezTo>
                  <a:cubicBezTo>
                    <a:pt x="58" y="652"/>
                    <a:pt x="58" y="652"/>
                    <a:pt x="51" y="652"/>
                  </a:cubicBezTo>
                  <a:cubicBezTo>
                    <a:pt x="51" y="652"/>
                    <a:pt x="44" y="645"/>
                    <a:pt x="36" y="645"/>
                  </a:cubicBezTo>
                  <a:cubicBezTo>
                    <a:pt x="29" y="645"/>
                    <a:pt x="29" y="645"/>
                    <a:pt x="29" y="645"/>
                  </a:cubicBezTo>
                  <a:cubicBezTo>
                    <a:pt x="22" y="630"/>
                    <a:pt x="22" y="630"/>
                    <a:pt x="22" y="630"/>
                  </a:cubicBezTo>
                  <a:cubicBezTo>
                    <a:pt x="22" y="623"/>
                    <a:pt x="0" y="550"/>
                    <a:pt x="29" y="505"/>
                  </a:cubicBezTo>
                  <a:cubicBezTo>
                    <a:pt x="44" y="484"/>
                    <a:pt x="51" y="462"/>
                    <a:pt x="58" y="440"/>
                  </a:cubicBezTo>
                  <a:cubicBezTo>
                    <a:pt x="66" y="425"/>
                    <a:pt x="73" y="403"/>
                    <a:pt x="80" y="396"/>
                  </a:cubicBezTo>
                  <a:cubicBezTo>
                    <a:pt x="87" y="381"/>
                    <a:pt x="102" y="381"/>
                    <a:pt x="102" y="381"/>
                  </a:cubicBezTo>
                  <a:cubicBezTo>
                    <a:pt x="139" y="381"/>
                    <a:pt x="161" y="462"/>
                    <a:pt x="161" y="469"/>
                  </a:cubicBezTo>
                  <a:cubicBezTo>
                    <a:pt x="161" y="476"/>
                    <a:pt x="161" y="476"/>
                    <a:pt x="161" y="476"/>
                  </a:cubicBezTo>
                  <a:cubicBezTo>
                    <a:pt x="168" y="491"/>
                    <a:pt x="176" y="527"/>
                    <a:pt x="183" y="527"/>
                  </a:cubicBezTo>
                  <a:cubicBezTo>
                    <a:pt x="183" y="527"/>
                    <a:pt x="190" y="527"/>
                    <a:pt x="205" y="513"/>
                  </a:cubicBezTo>
                  <a:cubicBezTo>
                    <a:pt x="219" y="498"/>
                    <a:pt x="242" y="491"/>
                    <a:pt x="249" y="484"/>
                  </a:cubicBezTo>
                  <a:cubicBezTo>
                    <a:pt x="278" y="476"/>
                    <a:pt x="285" y="469"/>
                    <a:pt x="300" y="432"/>
                  </a:cubicBezTo>
                  <a:cubicBezTo>
                    <a:pt x="307" y="410"/>
                    <a:pt x="307" y="410"/>
                    <a:pt x="307" y="410"/>
                  </a:cubicBezTo>
                  <a:cubicBezTo>
                    <a:pt x="329" y="359"/>
                    <a:pt x="344" y="315"/>
                    <a:pt x="395" y="315"/>
                  </a:cubicBezTo>
                  <a:cubicBezTo>
                    <a:pt x="432" y="315"/>
                    <a:pt x="469" y="315"/>
                    <a:pt x="505" y="293"/>
                  </a:cubicBezTo>
                  <a:cubicBezTo>
                    <a:pt x="520" y="286"/>
                    <a:pt x="520" y="271"/>
                    <a:pt x="527" y="264"/>
                  </a:cubicBezTo>
                  <a:cubicBezTo>
                    <a:pt x="535" y="249"/>
                    <a:pt x="542" y="242"/>
                    <a:pt x="549" y="227"/>
                  </a:cubicBezTo>
                  <a:cubicBezTo>
                    <a:pt x="571" y="212"/>
                    <a:pt x="586" y="212"/>
                    <a:pt x="601" y="212"/>
                  </a:cubicBezTo>
                  <a:cubicBezTo>
                    <a:pt x="623" y="212"/>
                    <a:pt x="623" y="212"/>
                    <a:pt x="623" y="212"/>
                  </a:cubicBezTo>
                  <a:cubicBezTo>
                    <a:pt x="630" y="212"/>
                    <a:pt x="637" y="212"/>
                    <a:pt x="645" y="205"/>
                  </a:cubicBezTo>
                  <a:cubicBezTo>
                    <a:pt x="666" y="198"/>
                    <a:pt x="674" y="183"/>
                    <a:pt x="681" y="154"/>
                  </a:cubicBezTo>
                  <a:cubicBezTo>
                    <a:pt x="688" y="117"/>
                    <a:pt x="703" y="88"/>
                    <a:pt x="747" y="81"/>
                  </a:cubicBezTo>
                  <a:cubicBezTo>
                    <a:pt x="754" y="81"/>
                    <a:pt x="762" y="73"/>
                    <a:pt x="769" y="73"/>
                  </a:cubicBezTo>
                  <a:cubicBezTo>
                    <a:pt x="791" y="73"/>
                    <a:pt x="798" y="73"/>
                    <a:pt x="820" y="51"/>
                  </a:cubicBezTo>
                  <a:cubicBezTo>
                    <a:pt x="857" y="15"/>
                    <a:pt x="908" y="0"/>
                    <a:pt x="908" y="0"/>
                  </a:cubicBezTo>
                  <a:cubicBezTo>
                    <a:pt x="916" y="0"/>
                    <a:pt x="916" y="0"/>
                    <a:pt x="916" y="0"/>
                  </a:cubicBezTo>
                  <a:cubicBezTo>
                    <a:pt x="923" y="7"/>
                    <a:pt x="923" y="7"/>
                    <a:pt x="923" y="7"/>
                  </a:cubicBezTo>
                  <a:cubicBezTo>
                    <a:pt x="930" y="15"/>
                    <a:pt x="974" y="88"/>
                    <a:pt x="930" y="124"/>
                  </a:cubicBezTo>
                  <a:cubicBezTo>
                    <a:pt x="886" y="154"/>
                    <a:pt x="850" y="198"/>
                    <a:pt x="850" y="212"/>
                  </a:cubicBezTo>
                  <a:cubicBezTo>
                    <a:pt x="850" y="234"/>
                    <a:pt x="886" y="278"/>
                    <a:pt x="916" y="293"/>
                  </a:cubicBezTo>
                  <a:cubicBezTo>
                    <a:pt x="923" y="293"/>
                    <a:pt x="930" y="300"/>
                    <a:pt x="938" y="300"/>
                  </a:cubicBezTo>
                  <a:cubicBezTo>
                    <a:pt x="974" y="315"/>
                    <a:pt x="1018" y="337"/>
                    <a:pt x="1018" y="366"/>
                  </a:cubicBezTo>
                  <a:cubicBezTo>
                    <a:pt x="1026" y="374"/>
                    <a:pt x="1018" y="388"/>
                    <a:pt x="1004" y="403"/>
                  </a:cubicBezTo>
                  <a:cubicBezTo>
                    <a:pt x="982" y="432"/>
                    <a:pt x="974" y="454"/>
                    <a:pt x="967" y="469"/>
                  </a:cubicBezTo>
                  <a:cubicBezTo>
                    <a:pt x="959" y="484"/>
                    <a:pt x="952" y="491"/>
                    <a:pt x="952" y="505"/>
                  </a:cubicBezTo>
                  <a:cubicBezTo>
                    <a:pt x="938" y="520"/>
                    <a:pt x="952" y="535"/>
                    <a:pt x="952" y="535"/>
                  </a:cubicBezTo>
                  <a:cubicBezTo>
                    <a:pt x="967" y="550"/>
                    <a:pt x="967" y="550"/>
                    <a:pt x="967" y="550"/>
                  </a:cubicBezTo>
                  <a:cubicBezTo>
                    <a:pt x="952" y="557"/>
                    <a:pt x="952" y="557"/>
                    <a:pt x="952" y="557"/>
                  </a:cubicBezTo>
                  <a:cubicBezTo>
                    <a:pt x="945" y="564"/>
                    <a:pt x="901" y="586"/>
                    <a:pt x="872" y="586"/>
                  </a:cubicBezTo>
                  <a:cubicBezTo>
                    <a:pt x="864" y="586"/>
                    <a:pt x="864" y="586"/>
                    <a:pt x="864" y="586"/>
                  </a:cubicBezTo>
                  <a:cubicBezTo>
                    <a:pt x="864" y="601"/>
                    <a:pt x="864" y="623"/>
                    <a:pt x="872" y="645"/>
                  </a:cubicBezTo>
                  <a:cubicBezTo>
                    <a:pt x="879" y="689"/>
                    <a:pt x="894" y="755"/>
                    <a:pt x="916" y="755"/>
                  </a:cubicBezTo>
                  <a:cubicBezTo>
                    <a:pt x="982" y="755"/>
                    <a:pt x="1026" y="791"/>
                    <a:pt x="1033" y="828"/>
                  </a:cubicBezTo>
                  <a:cubicBezTo>
                    <a:pt x="1040" y="857"/>
                    <a:pt x="1062" y="886"/>
                    <a:pt x="1092" y="894"/>
                  </a:cubicBezTo>
                  <a:cubicBezTo>
                    <a:pt x="1128" y="909"/>
                    <a:pt x="1179" y="974"/>
                    <a:pt x="1187" y="989"/>
                  </a:cubicBezTo>
                  <a:lnTo>
                    <a:pt x="1187" y="989"/>
                  </a:lnTo>
                  <a:cubicBezTo>
                    <a:pt x="1201" y="1062"/>
                    <a:pt x="1201" y="1062"/>
                    <a:pt x="1201" y="1062"/>
                  </a:cubicBezTo>
                  <a:cubicBezTo>
                    <a:pt x="1172" y="1062"/>
                    <a:pt x="1172" y="1062"/>
                    <a:pt x="1172" y="1062"/>
                  </a:cubicBezTo>
                  <a:cubicBezTo>
                    <a:pt x="1165" y="1062"/>
                    <a:pt x="1150" y="1070"/>
                    <a:pt x="1143" y="1070"/>
                  </a:cubicBezTo>
                  <a:cubicBezTo>
                    <a:pt x="1106" y="1077"/>
                    <a:pt x="1092" y="1084"/>
                    <a:pt x="1069" y="1114"/>
                  </a:cubicBezTo>
                  <a:cubicBezTo>
                    <a:pt x="1055" y="1128"/>
                    <a:pt x="1055" y="1128"/>
                    <a:pt x="1055" y="1128"/>
                  </a:cubicBezTo>
                  <a:cubicBezTo>
                    <a:pt x="1026" y="1158"/>
                    <a:pt x="996" y="1158"/>
                    <a:pt x="959" y="1158"/>
                  </a:cubicBezTo>
                  <a:cubicBezTo>
                    <a:pt x="952" y="1158"/>
                    <a:pt x="938" y="1165"/>
                    <a:pt x="923" y="1165"/>
                  </a:cubicBezTo>
                  <a:cubicBezTo>
                    <a:pt x="916" y="1165"/>
                    <a:pt x="916" y="1165"/>
                    <a:pt x="908" y="116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4" name="Freeform 33"/>
            <p:cNvSpPr>
              <a:spLocks noChangeArrowheads="1"/>
            </p:cNvSpPr>
            <p:nvPr/>
          </p:nvSpPr>
          <p:spPr bwMode="auto">
            <a:xfrm>
              <a:off x="6432631" y="4256026"/>
              <a:ext cx="472391" cy="454153"/>
            </a:xfrm>
            <a:custGeom>
              <a:avLst/>
              <a:gdLst>
                <a:gd name="T0" fmla="*/ 931 w 1232"/>
                <a:gd name="T1" fmla="*/ 125 h 1196"/>
                <a:gd name="T2" fmla="*/ 1011 w 1232"/>
                <a:gd name="T3" fmla="*/ 411 h 1196"/>
                <a:gd name="T4" fmla="*/ 887 w 1232"/>
                <a:gd name="T5" fmla="*/ 587 h 1196"/>
                <a:gd name="T6" fmla="*/ 872 w 1232"/>
                <a:gd name="T7" fmla="*/ 660 h 1196"/>
                <a:gd name="T8" fmla="*/ 1107 w 1232"/>
                <a:gd name="T9" fmla="*/ 924 h 1196"/>
                <a:gd name="T10" fmla="*/ 1187 w 1232"/>
                <a:gd name="T11" fmla="*/ 1063 h 1196"/>
                <a:gd name="T12" fmla="*/ 931 w 1232"/>
                <a:gd name="T13" fmla="*/ 1165 h 1196"/>
                <a:gd name="T14" fmla="*/ 703 w 1232"/>
                <a:gd name="T15" fmla="*/ 997 h 1196"/>
                <a:gd name="T16" fmla="*/ 506 w 1232"/>
                <a:gd name="T17" fmla="*/ 1129 h 1196"/>
                <a:gd name="T18" fmla="*/ 381 w 1232"/>
                <a:gd name="T19" fmla="*/ 989 h 1196"/>
                <a:gd name="T20" fmla="*/ 183 w 1232"/>
                <a:gd name="T21" fmla="*/ 953 h 1196"/>
                <a:gd name="T22" fmla="*/ 51 w 1232"/>
                <a:gd name="T23" fmla="*/ 645 h 1196"/>
                <a:gd name="T24" fmla="*/ 110 w 1232"/>
                <a:gd name="T25" fmla="*/ 418 h 1196"/>
                <a:gd name="T26" fmla="*/ 198 w 1232"/>
                <a:gd name="T27" fmla="*/ 557 h 1196"/>
                <a:gd name="T28" fmla="*/ 410 w 1232"/>
                <a:gd name="T29" fmla="*/ 345 h 1196"/>
                <a:gd name="T30" fmla="*/ 616 w 1232"/>
                <a:gd name="T31" fmla="*/ 242 h 1196"/>
                <a:gd name="T32" fmla="*/ 711 w 1232"/>
                <a:gd name="T33" fmla="*/ 169 h 1196"/>
                <a:gd name="T34" fmla="*/ 923 w 1232"/>
                <a:gd name="T35" fmla="*/ 30 h 1196"/>
                <a:gd name="T36" fmla="*/ 923 w 1232"/>
                <a:gd name="T37" fmla="*/ 0 h 1196"/>
                <a:gd name="T38" fmla="*/ 755 w 1232"/>
                <a:gd name="T39" fmla="*/ 81 h 1196"/>
                <a:gd name="T40" fmla="*/ 638 w 1232"/>
                <a:gd name="T41" fmla="*/ 213 h 1196"/>
                <a:gd name="T42" fmla="*/ 557 w 1232"/>
                <a:gd name="T43" fmla="*/ 235 h 1196"/>
                <a:gd name="T44" fmla="*/ 410 w 1232"/>
                <a:gd name="T45" fmla="*/ 315 h 1196"/>
                <a:gd name="T46" fmla="*/ 264 w 1232"/>
                <a:gd name="T47" fmla="*/ 484 h 1196"/>
                <a:gd name="T48" fmla="*/ 191 w 1232"/>
                <a:gd name="T49" fmla="*/ 484 h 1196"/>
                <a:gd name="T50" fmla="*/ 117 w 1232"/>
                <a:gd name="T51" fmla="*/ 381 h 1196"/>
                <a:gd name="T52" fmla="*/ 29 w 1232"/>
                <a:gd name="T53" fmla="*/ 513 h 1196"/>
                <a:gd name="T54" fmla="*/ 29 w 1232"/>
                <a:gd name="T55" fmla="*/ 667 h 1196"/>
                <a:gd name="T56" fmla="*/ 73 w 1232"/>
                <a:gd name="T57" fmla="*/ 689 h 1196"/>
                <a:gd name="T58" fmla="*/ 191 w 1232"/>
                <a:gd name="T59" fmla="*/ 1011 h 1196"/>
                <a:gd name="T60" fmla="*/ 337 w 1232"/>
                <a:gd name="T61" fmla="*/ 1056 h 1196"/>
                <a:gd name="T62" fmla="*/ 381 w 1232"/>
                <a:gd name="T63" fmla="*/ 1041 h 1196"/>
                <a:gd name="T64" fmla="*/ 564 w 1232"/>
                <a:gd name="T65" fmla="*/ 1136 h 1196"/>
                <a:gd name="T66" fmla="*/ 674 w 1232"/>
                <a:gd name="T67" fmla="*/ 1041 h 1196"/>
                <a:gd name="T68" fmla="*/ 733 w 1232"/>
                <a:gd name="T69" fmla="*/ 1056 h 1196"/>
                <a:gd name="T70" fmla="*/ 982 w 1232"/>
                <a:gd name="T71" fmla="*/ 1187 h 1196"/>
                <a:gd name="T72" fmla="*/ 1158 w 1232"/>
                <a:gd name="T73" fmla="*/ 1099 h 1196"/>
                <a:gd name="T74" fmla="*/ 1231 w 1232"/>
                <a:gd name="T75" fmla="*/ 1092 h 1196"/>
                <a:gd name="T76" fmla="*/ 1216 w 1232"/>
                <a:gd name="T77" fmla="*/ 997 h 1196"/>
                <a:gd name="T78" fmla="*/ 1062 w 1232"/>
                <a:gd name="T79" fmla="*/ 843 h 1196"/>
                <a:gd name="T80" fmla="*/ 901 w 1232"/>
                <a:gd name="T81" fmla="*/ 660 h 1196"/>
                <a:gd name="T82" fmla="*/ 974 w 1232"/>
                <a:gd name="T83" fmla="*/ 587 h 1196"/>
                <a:gd name="T84" fmla="*/ 982 w 1232"/>
                <a:gd name="T85" fmla="*/ 535 h 1196"/>
                <a:gd name="T86" fmla="*/ 1033 w 1232"/>
                <a:gd name="T87" fmla="*/ 425 h 1196"/>
                <a:gd name="T88" fmla="*/ 938 w 1232"/>
                <a:gd name="T89" fmla="*/ 293 h 1196"/>
                <a:gd name="T90" fmla="*/ 953 w 1232"/>
                <a:gd name="T91" fmla="*/ 15 h 1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32" h="1196">
                  <a:moveTo>
                    <a:pt x="923" y="30"/>
                  </a:moveTo>
                  <a:lnTo>
                    <a:pt x="923" y="30"/>
                  </a:lnTo>
                  <a:cubicBezTo>
                    <a:pt x="923" y="30"/>
                    <a:pt x="967" y="103"/>
                    <a:pt x="931" y="125"/>
                  </a:cubicBezTo>
                  <a:cubicBezTo>
                    <a:pt x="901" y="154"/>
                    <a:pt x="850" y="206"/>
                    <a:pt x="850" y="227"/>
                  </a:cubicBezTo>
                  <a:cubicBezTo>
                    <a:pt x="850" y="257"/>
                    <a:pt x="894" y="308"/>
                    <a:pt x="923" y="323"/>
                  </a:cubicBezTo>
                  <a:cubicBezTo>
                    <a:pt x="960" y="337"/>
                    <a:pt x="1055" y="367"/>
                    <a:pt x="1011" y="411"/>
                  </a:cubicBezTo>
                  <a:cubicBezTo>
                    <a:pt x="967" y="447"/>
                    <a:pt x="967" y="484"/>
                    <a:pt x="953" y="506"/>
                  </a:cubicBezTo>
                  <a:cubicBezTo>
                    <a:pt x="931" y="535"/>
                    <a:pt x="960" y="557"/>
                    <a:pt x="960" y="557"/>
                  </a:cubicBezTo>
                  <a:cubicBezTo>
                    <a:pt x="960" y="557"/>
                    <a:pt x="916" y="587"/>
                    <a:pt x="887" y="587"/>
                  </a:cubicBezTo>
                  <a:cubicBezTo>
                    <a:pt x="879" y="587"/>
                    <a:pt x="879" y="587"/>
                    <a:pt x="872" y="587"/>
                  </a:cubicBezTo>
                  <a:lnTo>
                    <a:pt x="872" y="587"/>
                  </a:lnTo>
                  <a:cubicBezTo>
                    <a:pt x="850" y="587"/>
                    <a:pt x="872" y="660"/>
                    <a:pt x="872" y="660"/>
                  </a:cubicBezTo>
                  <a:cubicBezTo>
                    <a:pt x="872" y="660"/>
                    <a:pt x="879" y="784"/>
                    <a:pt x="931" y="784"/>
                  </a:cubicBezTo>
                  <a:cubicBezTo>
                    <a:pt x="982" y="784"/>
                    <a:pt x="1026" y="814"/>
                    <a:pt x="1033" y="850"/>
                  </a:cubicBezTo>
                  <a:cubicBezTo>
                    <a:pt x="1048" y="887"/>
                    <a:pt x="1070" y="916"/>
                    <a:pt x="1107" y="924"/>
                  </a:cubicBezTo>
                  <a:cubicBezTo>
                    <a:pt x="1136" y="931"/>
                    <a:pt x="1187" y="1011"/>
                    <a:pt x="1187" y="1011"/>
                  </a:cubicBezTo>
                  <a:cubicBezTo>
                    <a:pt x="1194" y="1063"/>
                    <a:pt x="1194" y="1063"/>
                    <a:pt x="1194" y="1063"/>
                  </a:cubicBezTo>
                  <a:cubicBezTo>
                    <a:pt x="1187" y="1063"/>
                    <a:pt x="1187" y="1063"/>
                    <a:pt x="1187" y="1063"/>
                  </a:cubicBezTo>
                  <a:cubicBezTo>
                    <a:pt x="1172" y="1063"/>
                    <a:pt x="1165" y="1070"/>
                    <a:pt x="1158" y="1070"/>
                  </a:cubicBezTo>
                  <a:cubicBezTo>
                    <a:pt x="1107" y="1077"/>
                    <a:pt x="1099" y="1099"/>
                    <a:pt x="1062" y="1129"/>
                  </a:cubicBezTo>
                  <a:cubicBezTo>
                    <a:pt x="1026" y="1165"/>
                    <a:pt x="997" y="1158"/>
                    <a:pt x="931" y="1165"/>
                  </a:cubicBezTo>
                  <a:cubicBezTo>
                    <a:pt x="931" y="1165"/>
                    <a:pt x="931" y="1165"/>
                    <a:pt x="923" y="1165"/>
                  </a:cubicBezTo>
                  <a:cubicBezTo>
                    <a:pt x="865" y="1165"/>
                    <a:pt x="799" y="1077"/>
                    <a:pt x="755" y="1026"/>
                  </a:cubicBezTo>
                  <a:cubicBezTo>
                    <a:pt x="733" y="1004"/>
                    <a:pt x="718" y="997"/>
                    <a:pt x="703" y="997"/>
                  </a:cubicBezTo>
                  <a:cubicBezTo>
                    <a:pt x="689" y="997"/>
                    <a:pt x="674" y="1004"/>
                    <a:pt x="645" y="1019"/>
                  </a:cubicBezTo>
                  <a:cubicBezTo>
                    <a:pt x="593" y="1048"/>
                    <a:pt x="586" y="1077"/>
                    <a:pt x="542" y="1114"/>
                  </a:cubicBezTo>
                  <a:cubicBezTo>
                    <a:pt x="528" y="1121"/>
                    <a:pt x="520" y="1129"/>
                    <a:pt x="506" y="1129"/>
                  </a:cubicBezTo>
                  <a:cubicBezTo>
                    <a:pt x="469" y="1129"/>
                    <a:pt x="432" y="1099"/>
                    <a:pt x="425" y="1077"/>
                  </a:cubicBezTo>
                  <a:cubicBezTo>
                    <a:pt x="410" y="1048"/>
                    <a:pt x="425" y="1004"/>
                    <a:pt x="388" y="997"/>
                  </a:cubicBezTo>
                  <a:cubicBezTo>
                    <a:pt x="388" y="989"/>
                    <a:pt x="381" y="989"/>
                    <a:pt x="381" y="989"/>
                  </a:cubicBezTo>
                  <a:cubicBezTo>
                    <a:pt x="352" y="989"/>
                    <a:pt x="322" y="1026"/>
                    <a:pt x="286" y="1056"/>
                  </a:cubicBezTo>
                  <a:cubicBezTo>
                    <a:pt x="279" y="1056"/>
                    <a:pt x="279" y="1063"/>
                    <a:pt x="271" y="1063"/>
                  </a:cubicBezTo>
                  <a:cubicBezTo>
                    <a:pt x="242" y="1063"/>
                    <a:pt x="212" y="982"/>
                    <a:pt x="183" y="953"/>
                  </a:cubicBezTo>
                  <a:cubicBezTo>
                    <a:pt x="154" y="916"/>
                    <a:pt x="161" y="843"/>
                    <a:pt x="169" y="792"/>
                  </a:cubicBezTo>
                  <a:cubicBezTo>
                    <a:pt x="176" y="740"/>
                    <a:pt x="132" y="696"/>
                    <a:pt x="95" y="660"/>
                  </a:cubicBezTo>
                  <a:cubicBezTo>
                    <a:pt x="81" y="652"/>
                    <a:pt x="81" y="652"/>
                    <a:pt x="51" y="645"/>
                  </a:cubicBezTo>
                  <a:cubicBezTo>
                    <a:pt x="51" y="638"/>
                    <a:pt x="51" y="638"/>
                    <a:pt x="51" y="638"/>
                  </a:cubicBezTo>
                  <a:cubicBezTo>
                    <a:pt x="51" y="638"/>
                    <a:pt x="29" y="572"/>
                    <a:pt x="59" y="528"/>
                  </a:cubicBezTo>
                  <a:cubicBezTo>
                    <a:pt x="81" y="484"/>
                    <a:pt x="95" y="440"/>
                    <a:pt x="110" y="418"/>
                  </a:cubicBezTo>
                  <a:cubicBezTo>
                    <a:pt x="110" y="411"/>
                    <a:pt x="117" y="411"/>
                    <a:pt x="117" y="411"/>
                  </a:cubicBezTo>
                  <a:cubicBezTo>
                    <a:pt x="132" y="411"/>
                    <a:pt x="154" y="447"/>
                    <a:pt x="161" y="484"/>
                  </a:cubicBezTo>
                  <a:cubicBezTo>
                    <a:pt x="169" y="513"/>
                    <a:pt x="176" y="557"/>
                    <a:pt x="198" y="557"/>
                  </a:cubicBezTo>
                  <a:cubicBezTo>
                    <a:pt x="205" y="557"/>
                    <a:pt x="212" y="550"/>
                    <a:pt x="227" y="542"/>
                  </a:cubicBezTo>
                  <a:cubicBezTo>
                    <a:pt x="279" y="499"/>
                    <a:pt x="308" y="520"/>
                    <a:pt x="330" y="447"/>
                  </a:cubicBezTo>
                  <a:cubicBezTo>
                    <a:pt x="359" y="381"/>
                    <a:pt x="366" y="345"/>
                    <a:pt x="410" y="345"/>
                  </a:cubicBezTo>
                  <a:cubicBezTo>
                    <a:pt x="447" y="345"/>
                    <a:pt x="491" y="345"/>
                    <a:pt x="528" y="323"/>
                  </a:cubicBezTo>
                  <a:cubicBezTo>
                    <a:pt x="557" y="293"/>
                    <a:pt x="550" y="279"/>
                    <a:pt x="579" y="257"/>
                  </a:cubicBezTo>
                  <a:cubicBezTo>
                    <a:pt x="586" y="242"/>
                    <a:pt x="601" y="242"/>
                    <a:pt x="616" y="242"/>
                  </a:cubicBezTo>
                  <a:cubicBezTo>
                    <a:pt x="623" y="242"/>
                    <a:pt x="630" y="242"/>
                    <a:pt x="638" y="242"/>
                  </a:cubicBezTo>
                  <a:cubicBezTo>
                    <a:pt x="645" y="242"/>
                    <a:pt x="652" y="242"/>
                    <a:pt x="660" y="235"/>
                  </a:cubicBezTo>
                  <a:cubicBezTo>
                    <a:pt x="696" y="227"/>
                    <a:pt x="703" y="206"/>
                    <a:pt x="711" y="169"/>
                  </a:cubicBezTo>
                  <a:cubicBezTo>
                    <a:pt x="718" y="132"/>
                    <a:pt x="733" y="118"/>
                    <a:pt x="762" y="110"/>
                  </a:cubicBezTo>
                  <a:cubicBezTo>
                    <a:pt x="799" y="103"/>
                    <a:pt x="813" y="110"/>
                    <a:pt x="850" y="74"/>
                  </a:cubicBezTo>
                  <a:cubicBezTo>
                    <a:pt x="879" y="44"/>
                    <a:pt x="923" y="30"/>
                    <a:pt x="923" y="30"/>
                  </a:cubicBezTo>
                  <a:lnTo>
                    <a:pt x="938" y="0"/>
                  </a:lnTo>
                  <a:lnTo>
                    <a:pt x="938" y="0"/>
                  </a:lnTo>
                  <a:cubicBezTo>
                    <a:pt x="923" y="0"/>
                    <a:pt x="923" y="0"/>
                    <a:pt x="923" y="0"/>
                  </a:cubicBezTo>
                  <a:cubicBezTo>
                    <a:pt x="916" y="0"/>
                    <a:pt x="865" y="15"/>
                    <a:pt x="828" y="51"/>
                  </a:cubicBezTo>
                  <a:cubicBezTo>
                    <a:pt x="813" y="74"/>
                    <a:pt x="806" y="74"/>
                    <a:pt x="784" y="74"/>
                  </a:cubicBezTo>
                  <a:cubicBezTo>
                    <a:pt x="777" y="74"/>
                    <a:pt x="769" y="81"/>
                    <a:pt x="755" y="81"/>
                  </a:cubicBezTo>
                  <a:cubicBezTo>
                    <a:pt x="703" y="96"/>
                    <a:pt x="689" y="125"/>
                    <a:pt x="681" y="161"/>
                  </a:cubicBezTo>
                  <a:cubicBezTo>
                    <a:pt x="674" y="198"/>
                    <a:pt x="667" y="206"/>
                    <a:pt x="652" y="206"/>
                  </a:cubicBezTo>
                  <a:cubicBezTo>
                    <a:pt x="652" y="206"/>
                    <a:pt x="645" y="213"/>
                    <a:pt x="638" y="213"/>
                  </a:cubicBezTo>
                  <a:lnTo>
                    <a:pt x="630" y="213"/>
                  </a:lnTo>
                  <a:cubicBezTo>
                    <a:pt x="623" y="206"/>
                    <a:pt x="623" y="206"/>
                    <a:pt x="616" y="206"/>
                  </a:cubicBezTo>
                  <a:cubicBezTo>
                    <a:pt x="601" y="206"/>
                    <a:pt x="579" y="213"/>
                    <a:pt x="557" y="235"/>
                  </a:cubicBezTo>
                  <a:cubicBezTo>
                    <a:pt x="542" y="249"/>
                    <a:pt x="535" y="257"/>
                    <a:pt x="528" y="271"/>
                  </a:cubicBezTo>
                  <a:cubicBezTo>
                    <a:pt x="528" y="279"/>
                    <a:pt x="520" y="286"/>
                    <a:pt x="506" y="301"/>
                  </a:cubicBezTo>
                  <a:cubicBezTo>
                    <a:pt x="484" y="315"/>
                    <a:pt x="447" y="315"/>
                    <a:pt x="410" y="315"/>
                  </a:cubicBezTo>
                  <a:cubicBezTo>
                    <a:pt x="344" y="315"/>
                    <a:pt x="330" y="367"/>
                    <a:pt x="308" y="425"/>
                  </a:cubicBezTo>
                  <a:cubicBezTo>
                    <a:pt x="300" y="440"/>
                    <a:pt x="300" y="440"/>
                    <a:pt x="300" y="440"/>
                  </a:cubicBezTo>
                  <a:cubicBezTo>
                    <a:pt x="293" y="469"/>
                    <a:pt x="279" y="477"/>
                    <a:pt x="264" y="484"/>
                  </a:cubicBezTo>
                  <a:cubicBezTo>
                    <a:pt x="249" y="491"/>
                    <a:pt x="227" y="506"/>
                    <a:pt x="212" y="520"/>
                  </a:cubicBezTo>
                  <a:cubicBezTo>
                    <a:pt x="205" y="520"/>
                    <a:pt x="205" y="520"/>
                    <a:pt x="205" y="528"/>
                  </a:cubicBezTo>
                  <a:cubicBezTo>
                    <a:pt x="198" y="513"/>
                    <a:pt x="191" y="499"/>
                    <a:pt x="191" y="484"/>
                  </a:cubicBezTo>
                  <a:cubicBezTo>
                    <a:pt x="191" y="477"/>
                    <a:pt x="191" y="477"/>
                    <a:pt x="191" y="477"/>
                  </a:cubicBezTo>
                  <a:cubicBezTo>
                    <a:pt x="191" y="462"/>
                    <a:pt x="169" y="381"/>
                    <a:pt x="117" y="381"/>
                  </a:cubicBezTo>
                  <a:lnTo>
                    <a:pt x="117" y="381"/>
                  </a:lnTo>
                  <a:cubicBezTo>
                    <a:pt x="110" y="381"/>
                    <a:pt x="95" y="381"/>
                    <a:pt x="81" y="396"/>
                  </a:cubicBezTo>
                  <a:cubicBezTo>
                    <a:pt x="73" y="411"/>
                    <a:pt x="66" y="432"/>
                    <a:pt x="59" y="447"/>
                  </a:cubicBezTo>
                  <a:cubicBezTo>
                    <a:pt x="51" y="469"/>
                    <a:pt x="44" y="491"/>
                    <a:pt x="29" y="513"/>
                  </a:cubicBezTo>
                  <a:cubicBezTo>
                    <a:pt x="0" y="565"/>
                    <a:pt x="15" y="638"/>
                    <a:pt x="22" y="645"/>
                  </a:cubicBezTo>
                  <a:cubicBezTo>
                    <a:pt x="22" y="652"/>
                    <a:pt x="22" y="652"/>
                    <a:pt x="22" y="652"/>
                  </a:cubicBezTo>
                  <a:cubicBezTo>
                    <a:pt x="29" y="667"/>
                    <a:pt x="29" y="667"/>
                    <a:pt x="29" y="667"/>
                  </a:cubicBezTo>
                  <a:cubicBezTo>
                    <a:pt x="44" y="674"/>
                    <a:pt x="44" y="674"/>
                    <a:pt x="44" y="674"/>
                  </a:cubicBezTo>
                  <a:cubicBezTo>
                    <a:pt x="51" y="674"/>
                    <a:pt x="59" y="682"/>
                    <a:pt x="66" y="682"/>
                  </a:cubicBezTo>
                  <a:cubicBezTo>
                    <a:pt x="66" y="682"/>
                    <a:pt x="66" y="682"/>
                    <a:pt x="73" y="689"/>
                  </a:cubicBezTo>
                  <a:cubicBezTo>
                    <a:pt x="125" y="726"/>
                    <a:pt x="147" y="755"/>
                    <a:pt x="139" y="784"/>
                  </a:cubicBezTo>
                  <a:cubicBezTo>
                    <a:pt x="132" y="843"/>
                    <a:pt x="117" y="931"/>
                    <a:pt x="161" y="975"/>
                  </a:cubicBezTo>
                  <a:cubicBezTo>
                    <a:pt x="176" y="982"/>
                    <a:pt x="183" y="997"/>
                    <a:pt x="191" y="1011"/>
                  </a:cubicBezTo>
                  <a:cubicBezTo>
                    <a:pt x="212" y="1056"/>
                    <a:pt x="234" y="1092"/>
                    <a:pt x="271" y="1092"/>
                  </a:cubicBezTo>
                  <a:cubicBezTo>
                    <a:pt x="286" y="1092"/>
                    <a:pt x="293" y="1085"/>
                    <a:pt x="308" y="1077"/>
                  </a:cubicBezTo>
                  <a:cubicBezTo>
                    <a:pt x="315" y="1070"/>
                    <a:pt x="330" y="1063"/>
                    <a:pt x="337" y="1056"/>
                  </a:cubicBezTo>
                  <a:cubicBezTo>
                    <a:pt x="352" y="1041"/>
                    <a:pt x="366" y="1026"/>
                    <a:pt x="381" y="1026"/>
                  </a:cubicBezTo>
                  <a:lnTo>
                    <a:pt x="381" y="1026"/>
                  </a:lnTo>
                  <a:cubicBezTo>
                    <a:pt x="381" y="1026"/>
                    <a:pt x="381" y="1033"/>
                    <a:pt x="381" y="1041"/>
                  </a:cubicBezTo>
                  <a:cubicBezTo>
                    <a:pt x="388" y="1056"/>
                    <a:pt x="388" y="1077"/>
                    <a:pt x="396" y="1092"/>
                  </a:cubicBezTo>
                  <a:cubicBezTo>
                    <a:pt x="410" y="1121"/>
                    <a:pt x="454" y="1158"/>
                    <a:pt x="506" y="1158"/>
                  </a:cubicBezTo>
                  <a:cubicBezTo>
                    <a:pt x="528" y="1158"/>
                    <a:pt x="542" y="1151"/>
                    <a:pt x="564" y="1136"/>
                  </a:cubicBezTo>
                  <a:cubicBezTo>
                    <a:pt x="579" y="1121"/>
                    <a:pt x="593" y="1107"/>
                    <a:pt x="608" y="1092"/>
                  </a:cubicBezTo>
                  <a:cubicBezTo>
                    <a:pt x="623" y="1070"/>
                    <a:pt x="638" y="1056"/>
                    <a:pt x="660" y="1048"/>
                  </a:cubicBezTo>
                  <a:cubicBezTo>
                    <a:pt x="674" y="1041"/>
                    <a:pt x="674" y="1041"/>
                    <a:pt x="674" y="1041"/>
                  </a:cubicBezTo>
                  <a:cubicBezTo>
                    <a:pt x="689" y="1033"/>
                    <a:pt x="703" y="1026"/>
                    <a:pt x="703" y="1026"/>
                  </a:cubicBezTo>
                  <a:cubicBezTo>
                    <a:pt x="711" y="1026"/>
                    <a:pt x="718" y="1026"/>
                    <a:pt x="733" y="1048"/>
                  </a:cubicBezTo>
                  <a:cubicBezTo>
                    <a:pt x="733" y="1056"/>
                    <a:pt x="733" y="1056"/>
                    <a:pt x="733" y="1056"/>
                  </a:cubicBezTo>
                  <a:cubicBezTo>
                    <a:pt x="784" y="1107"/>
                    <a:pt x="857" y="1195"/>
                    <a:pt x="923" y="1195"/>
                  </a:cubicBezTo>
                  <a:cubicBezTo>
                    <a:pt x="931" y="1195"/>
                    <a:pt x="931" y="1195"/>
                    <a:pt x="938" y="1195"/>
                  </a:cubicBezTo>
                  <a:cubicBezTo>
                    <a:pt x="953" y="1195"/>
                    <a:pt x="967" y="1187"/>
                    <a:pt x="982" y="1187"/>
                  </a:cubicBezTo>
                  <a:cubicBezTo>
                    <a:pt x="1019" y="1187"/>
                    <a:pt x="1048" y="1187"/>
                    <a:pt x="1084" y="1151"/>
                  </a:cubicBezTo>
                  <a:cubicBezTo>
                    <a:pt x="1092" y="1143"/>
                    <a:pt x="1092" y="1143"/>
                    <a:pt x="1099" y="1136"/>
                  </a:cubicBezTo>
                  <a:cubicBezTo>
                    <a:pt x="1121" y="1114"/>
                    <a:pt x="1129" y="1107"/>
                    <a:pt x="1158" y="1099"/>
                  </a:cubicBezTo>
                  <a:cubicBezTo>
                    <a:pt x="1172" y="1099"/>
                    <a:pt x="1180" y="1099"/>
                    <a:pt x="1187" y="1092"/>
                  </a:cubicBezTo>
                  <a:cubicBezTo>
                    <a:pt x="1202" y="1092"/>
                    <a:pt x="1202" y="1092"/>
                    <a:pt x="1202" y="1092"/>
                  </a:cubicBezTo>
                  <a:cubicBezTo>
                    <a:pt x="1231" y="1092"/>
                    <a:pt x="1231" y="1092"/>
                    <a:pt x="1231" y="1092"/>
                  </a:cubicBezTo>
                  <a:cubicBezTo>
                    <a:pt x="1231" y="1056"/>
                    <a:pt x="1231" y="1056"/>
                    <a:pt x="1231" y="1056"/>
                  </a:cubicBezTo>
                  <a:cubicBezTo>
                    <a:pt x="1216" y="1004"/>
                    <a:pt x="1216" y="1004"/>
                    <a:pt x="1216" y="1004"/>
                  </a:cubicBezTo>
                  <a:cubicBezTo>
                    <a:pt x="1216" y="997"/>
                    <a:pt x="1216" y="997"/>
                    <a:pt x="1216" y="997"/>
                  </a:cubicBezTo>
                  <a:lnTo>
                    <a:pt x="1216" y="997"/>
                  </a:lnTo>
                  <a:cubicBezTo>
                    <a:pt x="1202" y="975"/>
                    <a:pt x="1150" y="909"/>
                    <a:pt x="1114" y="894"/>
                  </a:cubicBezTo>
                  <a:cubicBezTo>
                    <a:pt x="1092" y="894"/>
                    <a:pt x="1070" y="865"/>
                    <a:pt x="1062" y="843"/>
                  </a:cubicBezTo>
                  <a:cubicBezTo>
                    <a:pt x="1055" y="792"/>
                    <a:pt x="997" y="748"/>
                    <a:pt x="931" y="748"/>
                  </a:cubicBezTo>
                  <a:cubicBezTo>
                    <a:pt x="923" y="748"/>
                    <a:pt x="909" y="704"/>
                    <a:pt x="901" y="660"/>
                  </a:cubicBezTo>
                  <a:lnTo>
                    <a:pt x="901" y="660"/>
                  </a:lnTo>
                  <a:cubicBezTo>
                    <a:pt x="901" y="652"/>
                    <a:pt x="901" y="652"/>
                    <a:pt x="901" y="652"/>
                  </a:cubicBezTo>
                  <a:cubicBezTo>
                    <a:pt x="901" y="645"/>
                    <a:pt x="894" y="630"/>
                    <a:pt x="894" y="616"/>
                  </a:cubicBezTo>
                  <a:cubicBezTo>
                    <a:pt x="931" y="616"/>
                    <a:pt x="967" y="594"/>
                    <a:pt x="974" y="587"/>
                  </a:cubicBezTo>
                  <a:cubicBezTo>
                    <a:pt x="1011" y="565"/>
                    <a:pt x="1011" y="565"/>
                    <a:pt x="1011" y="565"/>
                  </a:cubicBezTo>
                  <a:cubicBezTo>
                    <a:pt x="982" y="535"/>
                    <a:pt x="982" y="535"/>
                    <a:pt x="982" y="535"/>
                  </a:cubicBezTo>
                  <a:lnTo>
                    <a:pt x="982" y="535"/>
                  </a:lnTo>
                  <a:lnTo>
                    <a:pt x="974" y="528"/>
                  </a:lnTo>
                  <a:cubicBezTo>
                    <a:pt x="982" y="513"/>
                    <a:pt x="989" y="506"/>
                    <a:pt x="997" y="491"/>
                  </a:cubicBezTo>
                  <a:cubicBezTo>
                    <a:pt x="1004" y="469"/>
                    <a:pt x="1011" y="455"/>
                    <a:pt x="1033" y="425"/>
                  </a:cubicBezTo>
                  <a:cubicBezTo>
                    <a:pt x="1055" y="411"/>
                    <a:pt x="1055" y="389"/>
                    <a:pt x="1048" y="374"/>
                  </a:cubicBezTo>
                  <a:cubicBezTo>
                    <a:pt x="1041" y="337"/>
                    <a:pt x="997" y="323"/>
                    <a:pt x="960" y="301"/>
                  </a:cubicBezTo>
                  <a:cubicBezTo>
                    <a:pt x="953" y="301"/>
                    <a:pt x="945" y="301"/>
                    <a:pt x="938" y="293"/>
                  </a:cubicBezTo>
                  <a:cubicBezTo>
                    <a:pt x="909" y="279"/>
                    <a:pt x="879" y="242"/>
                    <a:pt x="879" y="227"/>
                  </a:cubicBezTo>
                  <a:cubicBezTo>
                    <a:pt x="879" y="220"/>
                    <a:pt x="916" y="176"/>
                    <a:pt x="953" y="154"/>
                  </a:cubicBezTo>
                  <a:cubicBezTo>
                    <a:pt x="997" y="118"/>
                    <a:pt x="974" y="59"/>
                    <a:pt x="953" y="15"/>
                  </a:cubicBezTo>
                  <a:cubicBezTo>
                    <a:pt x="938" y="0"/>
                    <a:pt x="938" y="0"/>
                    <a:pt x="938" y="0"/>
                  </a:cubicBezTo>
                  <a:lnTo>
                    <a:pt x="923" y="3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17">
                <a:defRPr/>
              </a:pPr>
              <a:endParaRPr lang="en-US" sz="900">
                <a:latin typeface="Calibri" panose="020F0502020204030204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F0CD6F8-66A2-BFFC-BC11-C6414ADA08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ap: Germany</a:t>
            </a:r>
          </a:p>
        </p:txBody>
      </p:sp>
      <p:grpSp>
        <p:nvGrpSpPr>
          <p:cNvPr id="10" name="Gruppieren 96">
            <a:extLst>
              <a:ext uri="{FF2B5EF4-FFF2-40B4-BE49-F238E27FC236}">
                <a16:creationId xmlns:a16="http://schemas.microsoft.com/office/drawing/2014/main" id="{8B638DAD-AF30-50E5-44E0-7439CAADD144}"/>
              </a:ext>
            </a:extLst>
          </p:cNvPr>
          <p:cNvGrpSpPr>
            <a:grpSpLocks/>
          </p:cNvGrpSpPr>
          <p:nvPr/>
        </p:nvGrpSpPr>
        <p:grpSpPr>
          <a:xfrm>
            <a:off x="7108366" y="2331860"/>
            <a:ext cx="304976" cy="304976"/>
            <a:chOff x="3476538" y="3554481"/>
            <a:chExt cx="828675" cy="828675"/>
          </a:xfrm>
        </p:grpSpPr>
        <p:sp>
          <p:nvSpPr>
            <p:cNvPr id="11" name="Träne 97">
              <a:extLst>
                <a:ext uri="{FF2B5EF4-FFF2-40B4-BE49-F238E27FC236}">
                  <a16:creationId xmlns:a16="http://schemas.microsoft.com/office/drawing/2014/main" id="{B262D52D-00EB-49A7-9ECD-BA3B9E96C2DE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Ellipse 98">
              <a:extLst>
                <a:ext uri="{FF2B5EF4-FFF2-40B4-BE49-F238E27FC236}">
                  <a16:creationId xmlns:a16="http://schemas.microsoft.com/office/drawing/2014/main" id="{58954FE4-AE6B-1D3B-FCB0-E88845E2FD7C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9" name="Inhaltsplatzhalter 2">
            <a:extLst>
              <a:ext uri="{FF2B5EF4-FFF2-40B4-BE49-F238E27FC236}">
                <a16:creationId xmlns:a16="http://schemas.microsoft.com/office/drawing/2014/main" id="{A9011882-40F3-6592-3066-0DF894B8AC36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ontinen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Europe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b="1">
              <a:solidFill>
                <a:schemeClr val="accent1"/>
              </a:solidFill>
              <a:sym typeface="Futura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apital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Berlin</a:t>
            </a:r>
          </a:p>
          <a:p>
            <a:pPr>
              <a:spcBef>
                <a:spcPts val="0"/>
              </a:spcBef>
            </a:pPr>
            <a:endParaRPr lang="en-US" sz="1400"/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</a:rPr>
              <a:t>Official language(s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German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B64BF9D3-486C-E654-B71F-07AC0B37DAF6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</a:t>
            </a:r>
          </a:p>
        </p:txBody>
      </p:sp>
    </p:spTree>
    <p:extLst>
      <p:ext uri="{BB962C8B-B14F-4D97-AF65-F5344CB8AC3E}">
        <p14:creationId xmlns:p14="http://schemas.microsoft.com/office/powerpoint/2010/main" val="11938106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